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4.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5.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6.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62" r:id="rId6"/>
    <p:sldMasterId id="2147483681" r:id="rId7"/>
    <p:sldMasterId id="2147483725" r:id="rId8"/>
    <p:sldMasterId id="2147483738" r:id="rId9"/>
    <p:sldMasterId id="2147483766" r:id="rId10"/>
    <p:sldMasterId id="2147483779" r:id="rId11"/>
  </p:sldMasterIdLst>
  <p:notesMasterIdLst>
    <p:notesMasterId r:id="rId38"/>
  </p:notesMasterIdLst>
  <p:handoutMasterIdLst>
    <p:handoutMasterId r:id="rId39"/>
  </p:handoutMasterIdLst>
  <p:sldIdLst>
    <p:sldId id="345" r:id="rId12"/>
    <p:sldId id="454" r:id="rId13"/>
    <p:sldId id="470" r:id="rId14"/>
    <p:sldId id="471" r:id="rId15"/>
    <p:sldId id="457" r:id="rId16"/>
    <p:sldId id="485" r:id="rId17"/>
    <p:sldId id="424" r:id="rId18"/>
    <p:sldId id="425" r:id="rId19"/>
    <p:sldId id="2142533609" r:id="rId20"/>
    <p:sldId id="2142533548" r:id="rId21"/>
    <p:sldId id="306" r:id="rId22"/>
    <p:sldId id="2142533604" r:id="rId23"/>
    <p:sldId id="2142533605" r:id="rId24"/>
    <p:sldId id="307" r:id="rId25"/>
    <p:sldId id="313" r:id="rId26"/>
    <p:sldId id="2142533602" r:id="rId27"/>
    <p:sldId id="348" r:id="rId28"/>
    <p:sldId id="351" r:id="rId29"/>
    <p:sldId id="2142533589" r:id="rId30"/>
    <p:sldId id="2142533549" r:id="rId31"/>
    <p:sldId id="459" r:id="rId32"/>
    <p:sldId id="344" r:id="rId33"/>
    <p:sldId id="2142533592" r:id="rId34"/>
    <p:sldId id="2142533606" r:id="rId35"/>
    <p:sldId id="2142533608" r:id="rId36"/>
    <p:sldId id="2142533610" r:id="rId37"/>
  </p:sldIdLst>
  <p:sldSz cx="12190413" cy="6858000"/>
  <p:notesSz cx="6858000" cy="9144000"/>
  <p:custDataLst>
    <p:tags r:id="rId40"/>
  </p:custDataLst>
  <p:defaultTextStyle>
    <a:defPPr>
      <a:defRPr lang="da-DK"/>
    </a:defPPr>
    <a:lvl1pPr algn="l" rtl="0" fontAlgn="base">
      <a:spcBef>
        <a:spcPct val="50000"/>
      </a:spcBef>
      <a:spcAft>
        <a:spcPct val="0"/>
      </a:spcAft>
      <a:defRPr sz="1600" kern="1200">
        <a:solidFill>
          <a:schemeClr val="tx1"/>
        </a:solidFill>
        <a:latin typeface="Verdana" pitchFamily="34" charset="0"/>
        <a:ea typeface="ＭＳ Ｐゴシック" pitchFamily="-80" charset="-128"/>
        <a:cs typeface="+mn-cs"/>
      </a:defRPr>
    </a:lvl1pPr>
    <a:lvl2pPr marL="457200" algn="l" rtl="0" fontAlgn="base">
      <a:spcBef>
        <a:spcPct val="50000"/>
      </a:spcBef>
      <a:spcAft>
        <a:spcPct val="0"/>
      </a:spcAft>
      <a:defRPr sz="1600" kern="1200">
        <a:solidFill>
          <a:schemeClr val="tx1"/>
        </a:solidFill>
        <a:latin typeface="Verdana" pitchFamily="34" charset="0"/>
        <a:ea typeface="ＭＳ Ｐゴシック" pitchFamily="-80" charset="-128"/>
        <a:cs typeface="+mn-cs"/>
      </a:defRPr>
    </a:lvl2pPr>
    <a:lvl3pPr marL="914400" algn="l" rtl="0" fontAlgn="base">
      <a:spcBef>
        <a:spcPct val="50000"/>
      </a:spcBef>
      <a:spcAft>
        <a:spcPct val="0"/>
      </a:spcAft>
      <a:defRPr sz="1600" kern="1200">
        <a:solidFill>
          <a:schemeClr val="tx1"/>
        </a:solidFill>
        <a:latin typeface="Verdana" pitchFamily="34" charset="0"/>
        <a:ea typeface="ＭＳ Ｐゴシック" pitchFamily="-80" charset="-128"/>
        <a:cs typeface="+mn-cs"/>
      </a:defRPr>
    </a:lvl3pPr>
    <a:lvl4pPr marL="1371600" algn="l" rtl="0" fontAlgn="base">
      <a:spcBef>
        <a:spcPct val="50000"/>
      </a:spcBef>
      <a:spcAft>
        <a:spcPct val="0"/>
      </a:spcAft>
      <a:defRPr sz="1600" kern="1200">
        <a:solidFill>
          <a:schemeClr val="tx1"/>
        </a:solidFill>
        <a:latin typeface="Verdana" pitchFamily="34" charset="0"/>
        <a:ea typeface="ＭＳ Ｐゴシック" pitchFamily="-80" charset="-128"/>
        <a:cs typeface="+mn-cs"/>
      </a:defRPr>
    </a:lvl4pPr>
    <a:lvl5pPr marL="1828800" algn="l" rtl="0" fontAlgn="base">
      <a:spcBef>
        <a:spcPct val="50000"/>
      </a:spcBef>
      <a:spcAft>
        <a:spcPct val="0"/>
      </a:spcAft>
      <a:defRPr sz="1600" kern="1200">
        <a:solidFill>
          <a:schemeClr val="tx1"/>
        </a:solidFill>
        <a:latin typeface="Verdana" pitchFamily="34" charset="0"/>
        <a:ea typeface="ＭＳ Ｐゴシック" pitchFamily="-80" charset="-128"/>
        <a:cs typeface="+mn-cs"/>
      </a:defRPr>
    </a:lvl5pPr>
    <a:lvl6pPr marL="2286000" algn="l" defTabSz="914400" rtl="0" eaLnBrk="1" latinLnBrk="0" hangingPunct="1">
      <a:defRPr sz="1600" kern="1200">
        <a:solidFill>
          <a:schemeClr val="tx1"/>
        </a:solidFill>
        <a:latin typeface="Verdana" pitchFamily="34" charset="0"/>
        <a:ea typeface="ＭＳ Ｐゴシック" pitchFamily="-80" charset="-128"/>
        <a:cs typeface="+mn-cs"/>
      </a:defRPr>
    </a:lvl6pPr>
    <a:lvl7pPr marL="2743200" algn="l" defTabSz="914400" rtl="0" eaLnBrk="1" latinLnBrk="0" hangingPunct="1">
      <a:defRPr sz="1600" kern="1200">
        <a:solidFill>
          <a:schemeClr val="tx1"/>
        </a:solidFill>
        <a:latin typeface="Verdana" pitchFamily="34" charset="0"/>
        <a:ea typeface="ＭＳ Ｐゴシック" pitchFamily="-80" charset="-128"/>
        <a:cs typeface="+mn-cs"/>
      </a:defRPr>
    </a:lvl7pPr>
    <a:lvl8pPr marL="3200400" algn="l" defTabSz="914400" rtl="0" eaLnBrk="1" latinLnBrk="0" hangingPunct="1">
      <a:defRPr sz="1600" kern="1200">
        <a:solidFill>
          <a:schemeClr val="tx1"/>
        </a:solidFill>
        <a:latin typeface="Verdana" pitchFamily="34" charset="0"/>
        <a:ea typeface="ＭＳ Ｐゴシック" pitchFamily="-80" charset="-128"/>
        <a:cs typeface="+mn-cs"/>
      </a:defRPr>
    </a:lvl8pPr>
    <a:lvl9pPr marL="3657600" algn="l" defTabSz="914400" rtl="0" eaLnBrk="1" latinLnBrk="0" hangingPunct="1">
      <a:defRPr sz="1600" kern="1200">
        <a:solidFill>
          <a:schemeClr val="tx1"/>
        </a:solidFill>
        <a:latin typeface="Verdana" pitchFamily="34" charset="0"/>
        <a:ea typeface="ＭＳ Ｐゴシック" pitchFamily="-80" charset="-128"/>
        <a:cs typeface="+mn-cs"/>
      </a:defRPr>
    </a:lvl9pPr>
  </p:defaultTextStyle>
  <p:extLst>
    <p:ext uri="{521415D9-36F7-43E2-AB2F-B90AF26B5E84}">
      <p14:sectionLst xmlns:p14="http://schemas.microsoft.com/office/powerpoint/2010/main">
        <p14:section name="Default Section" id="{6CBD0189-3D73-41CD-9842-F84DB1EB84BD}">
          <p14:sldIdLst>
            <p14:sldId id="345"/>
            <p14:sldId id="454"/>
            <p14:sldId id="470"/>
            <p14:sldId id="471"/>
            <p14:sldId id="457"/>
            <p14:sldId id="485"/>
            <p14:sldId id="424"/>
            <p14:sldId id="425"/>
            <p14:sldId id="2142533609"/>
            <p14:sldId id="2142533548"/>
            <p14:sldId id="306"/>
            <p14:sldId id="2142533604"/>
            <p14:sldId id="2142533605"/>
            <p14:sldId id="307"/>
            <p14:sldId id="313"/>
            <p14:sldId id="2142533602"/>
            <p14:sldId id="348"/>
            <p14:sldId id="351"/>
            <p14:sldId id="2142533589"/>
            <p14:sldId id="2142533549"/>
            <p14:sldId id="459"/>
          </p14:sldIdLst>
        </p14:section>
        <p14:section name="CSA at Project Level" id="{30CA3082-9111-4974-A674-90FECAB06420}">
          <p14:sldIdLst>
            <p14:sldId id="344"/>
            <p14:sldId id="2142533592"/>
          </p14:sldIdLst>
        </p14:section>
        <p14:section name="Ny CSA at WDS project level, 22/8-23" id="{A764DFCC-319E-4E34-8BF5-A592DC1774C9}">
          <p14:sldIdLst>
            <p14:sldId id="2142533606"/>
            <p14:sldId id="2142533608"/>
            <p14:sldId id="2142533610"/>
          </p14:sldIdLst>
        </p14:section>
        <p14:section name="Slides til brug ved WDS+WLL konference i Skanderborg, 23/8-23" id="{2E5F5D6C-6CDE-4601-864D-62E70797180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BCB3"/>
    <a:srgbClr val="F6D04D"/>
    <a:srgbClr val="C5FFFF"/>
    <a:srgbClr val="000000"/>
    <a:srgbClr val="008737"/>
    <a:srgbClr val="2F3EEA"/>
    <a:srgbClr val="339933"/>
    <a:srgbClr val="FC7634"/>
    <a:srgbClr val="171748"/>
    <a:srgbClr val="1FD08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891" autoAdjust="0"/>
    <p:restoredTop sz="96395" autoAdjust="0"/>
  </p:normalViewPr>
  <p:slideViewPr>
    <p:cSldViewPr showGuides="1">
      <p:cViewPr>
        <p:scale>
          <a:sx n="57" d="100"/>
          <a:sy n="57" d="100"/>
        </p:scale>
        <p:origin x="236" y="84"/>
      </p:cViewPr>
      <p:guideLst/>
    </p:cSldViewPr>
  </p:slideViewPr>
  <p:notesTextViewPr>
    <p:cViewPr>
      <p:scale>
        <a:sx n="100" d="100"/>
        <a:sy n="100" d="100"/>
      </p:scale>
      <p:origin x="0" y="0"/>
    </p:cViewPr>
  </p:notesTextViewPr>
  <p:sorterViewPr>
    <p:cViewPr varScale="1">
      <p:scale>
        <a:sx n="100" d="100"/>
        <a:sy n="100" d="100"/>
      </p:scale>
      <p:origin x="0" y="0"/>
    </p:cViewPr>
  </p:sorterViewPr>
  <p:notesViewPr>
    <p:cSldViewPr showGuides="1">
      <p:cViewPr varScale="1">
        <p:scale>
          <a:sx n="69" d="100"/>
          <a:sy n="69" d="100"/>
        </p:scale>
        <p:origin x="3420"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handoutMaster" Target="handoutMasters/handoutMaster1.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viewProps" Target="viewProps.xml"/><Relationship Id="rId7" Type="http://schemas.openxmlformats.org/officeDocument/2006/relationships/slideMaster" Target="slideMasters/slideMaster2.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Master" Target="slideMasters/slideMaster6.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tags" Target="tags/tag1.xml"/><Relationship Id="rId5" Type="http://schemas.openxmlformats.org/officeDocument/2006/relationships/customXml" Target="../customXml/item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10" Type="http://schemas.openxmlformats.org/officeDocument/2006/relationships/slideMaster" Target="slideMasters/slideMaster5.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theme" Target="theme/theme1.xml"/><Relationship Id="rId8" Type="http://schemas.openxmlformats.org/officeDocument/2006/relationships/slideMaster" Target="slideMasters/slideMaster3.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3490" name="Rectangle 2"/>
          <p:cNvSpPr>
            <a:spLocks noGrp="1" noChangeArrowheads="1"/>
          </p:cNvSpPr>
          <p:nvPr>
            <p:ph type="hdr" sz="quarter"/>
          </p:nvPr>
        </p:nvSpPr>
        <p:spPr bwMode="auto">
          <a:xfrm>
            <a:off x="0" y="0"/>
            <a:ext cx="2971801"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0" hangingPunct="0">
              <a:spcBef>
                <a:spcPct val="0"/>
              </a:spcBef>
              <a:defRPr sz="1200"/>
            </a:lvl1pPr>
          </a:lstStyle>
          <a:p>
            <a:endParaRPr lang="da-DK" dirty="0">
              <a:latin typeface="Arial" panose="020B0604020202020204" pitchFamily="34" charset="0"/>
            </a:endParaRPr>
          </a:p>
        </p:txBody>
      </p:sp>
      <p:sp>
        <p:nvSpPr>
          <p:cNvPr id="63491" name="Rectangle 3"/>
          <p:cNvSpPr>
            <a:spLocks noGrp="1" noChangeArrowheads="1"/>
          </p:cNvSpPr>
          <p:nvPr>
            <p:ph type="dt" sz="quarter" idx="1"/>
          </p:nvPr>
        </p:nvSpPr>
        <p:spPr bwMode="auto">
          <a:xfrm>
            <a:off x="3884613" y="0"/>
            <a:ext cx="2971801"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0" hangingPunct="0">
              <a:spcBef>
                <a:spcPct val="0"/>
              </a:spcBef>
              <a:defRPr sz="1200"/>
            </a:lvl1pPr>
          </a:lstStyle>
          <a:p>
            <a:endParaRPr lang="da-DK" dirty="0">
              <a:latin typeface="Arial" panose="020B0604020202020204" pitchFamily="34" charset="0"/>
            </a:endParaRPr>
          </a:p>
        </p:txBody>
      </p:sp>
      <p:sp>
        <p:nvSpPr>
          <p:cNvPr id="63492" name="Rectangle 4"/>
          <p:cNvSpPr>
            <a:spLocks noGrp="1" noChangeArrowheads="1"/>
          </p:cNvSpPr>
          <p:nvPr>
            <p:ph type="ftr" sz="quarter" idx="2"/>
          </p:nvPr>
        </p:nvSpPr>
        <p:spPr bwMode="auto">
          <a:xfrm>
            <a:off x="0" y="8685213"/>
            <a:ext cx="2971801"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eaLnBrk="0" hangingPunct="0">
              <a:spcBef>
                <a:spcPct val="0"/>
              </a:spcBef>
              <a:defRPr sz="1200"/>
            </a:lvl1pPr>
          </a:lstStyle>
          <a:p>
            <a:endParaRPr lang="da-DK" dirty="0">
              <a:latin typeface="Arial" panose="020B0604020202020204" pitchFamily="34" charset="0"/>
            </a:endParaRPr>
          </a:p>
        </p:txBody>
      </p:sp>
      <p:sp>
        <p:nvSpPr>
          <p:cNvPr id="63493" name="Rectangle 5"/>
          <p:cNvSpPr>
            <a:spLocks noGrp="1" noChangeArrowheads="1"/>
          </p:cNvSpPr>
          <p:nvPr>
            <p:ph type="sldNum" sz="quarter" idx="3"/>
          </p:nvPr>
        </p:nvSpPr>
        <p:spPr bwMode="auto">
          <a:xfrm>
            <a:off x="3884613" y="8685213"/>
            <a:ext cx="2971801"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eaLnBrk="0" hangingPunct="0">
              <a:spcBef>
                <a:spcPct val="0"/>
              </a:spcBef>
              <a:defRPr sz="1200"/>
            </a:lvl1pPr>
          </a:lstStyle>
          <a:p>
            <a:fld id="{491ECFBD-4A0D-4BCF-98A8-E205F44719BF}" type="slidenum">
              <a:rPr lang="da-DK" smtClean="0">
                <a:latin typeface="Arial" panose="020B0604020202020204" pitchFamily="34" charset="0"/>
              </a:rPr>
              <a:pPr/>
              <a:t>‹#›</a:t>
            </a:fld>
            <a:endParaRPr lang="da-DK" dirty="0">
              <a:latin typeface="Arial" panose="020B0604020202020204" pitchFamily="34" charset="0"/>
            </a:endParaRPr>
          </a:p>
        </p:txBody>
      </p:sp>
    </p:spTree>
    <p:extLst>
      <p:ext uri="{BB962C8B-B14F-4D97-AF65-F5344CB8AC3E}">
        <p14:creationId xmlns:p14="http://schemas.microsoft.com/office/powerpoint/2010/main" val="1372809948"/>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2971801" cy="457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eaLnBrk="0" hangingPunct="0">
              <a:spcBef>
                <a:spcPct val="0"/>
              </a:spcBef>
              <a:defRPr sz="1200">
                <a:latin typeface="Arial" panose="020B0604020202020204" pitchFamily="34" charset="0"/>
              </a:defRPr>
            </a:lvl1pPr>
          </a:lstStyle>
          <a:p>
            <a:endParaRPr lang="da-DK" dirty="0"/>
          </a:p>
        </p:txBody>
      </p:sp>
      <p:sp>
        <p:nvSpPr>
          <p:cNvPr id="3075" name="Rectangle 3"/>
          <p:cNvSpPr>
            <a:spLocks noGrp="1" noChangeArrowheads="1"/>
          </p:cNvSpPr>
          <p:nvPr>
            <p:ph type="dt" idx="1"/>
          </p:nvPr>
        </p:nvSpPr>
        <p:spPr bwMode="auto">
          <a:xfrm>
            <a:off x="3886200" y="0"/>
            <a:ext cx="2971801" cy="457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algn="r" eaLnBrk="0" hangingPunct="0">
              <a:spcBef>
                <a:spcPct val="0"/>
              </a:spcBef>
              <a:defRPr sz="1200">
                <a:latin typeface="Arial" panose="020B0604020202020204" pitchFamily="34" charset="0"/>
              </a:defRPr>
            </a:lvl1pPr>
          </a:lstStyle>
          <a:p>
            <a:endParaRPr lang="da-DK" dirty="0"/>
          </a:p>
        </p:txBody>
      </p:sp>
      <p:sp>
        <p:nvSpPr>
          <p:cNvPr id="3076" name="Rectangle 4"/>
          <p:cNvSpPr>
            <a:spLocks noGrp="1" noRot="1" noChangeAspect="1" noChangeArrowheads="1" noTextEdit="1"/>
          </p:cNvSpPr>
          <p:nvPr>
            <p:ph type="sldImg" idx="2"/>
          </p:nvPr>
        </p:nvSpPr>
        <p:spPr bwMode="auto">
          <a:xfrm>
            <a:off x="381000" y="685800"/>
            <a:ext cx="6096000" cy="342900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914401" y="4343401"/>
            <a:ext cx="5029200" cy="411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3078" name="Rectangle 6"/>
          <p:cNvSpPr>
            <a:spLocks noGrp="1" noChangeArrowheads="1"/>
          </p:cNvSpPr>
          <p:nvPr>
            <p:ph type="ftr" sz="quarter" idx="4"/>
          </p:nvPr>
        </p:nvSpPr>
        <p:spPr bwMode="auto">
          <a:xfrm>
            <a:off x="0" y="8686800"/>
            <a:ext cx="2971801" cy="457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b" anchorCtr="0" compatLnSpc="1">
            <a:prstTxWarp prst="textNoShape">
              <a:avLst/>
            </a:prstTxWarp>
          </a:bodyPr>
          <a:lstStyle>
            <a:lvl1pPr eaLnBrk="0" hangingPunct="0">
              <a:spcBef>
                <a:spcPct val="0"/>
              </a:spcBef>
              <a:defRPr sz="1200">
                <a:latin typeface="Arial" panose="020B0604020202020204" pitchFamily="34" charset="0"/>
              </a:defRPr>
            </a:lvl1pPr>
          </a:lstStyle>
          <a:p>
            <a:endParaRPr lang="da-DK" dirty="0"/>
          </a:p>
        </p:txBody>
      </p:sp>
      <p:sp>
        <p:nvSpPr>
          <p:cNvPr id="3079" name="Rectangle 7"/>
          <p:cNvSpPr>
            <a:spLocks noGrp="1" noChangeArrowheads="1"/>
          </p:cNvSpPr>
          <p:nvPr>
            <p:ph type="sldNum" sz="quarter" idx="5"/>
          </p:nvPr>
        </p:nvSpPr>
        <p:spPr bwMode="auto">
          <a:xfrm>
            <a:off x="3886200" y="8686800"/>
            <a:ext cx="2971801" cy="457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b" anchorCtr="0" compatLnSpc="1">
            <a:prstTxWarp prst="textNoShape">
              <a:avLst/>
            </a:prstTxWarp>
          </a:bodyPr>
          <a:lstStyle>
            <a:lvl1pPr algn="r" eaLnBrk="0" hangingPunct="0">
              <a:spcBef>
                <a:spcPct val="0"/>
              </a:spcBef>
              <a:defRPr sz="1200">
                <a:latin typeface="Arial" panose="020B0604020202020204" pitchFamily="34" charset="0"/>
              </a:defRPr>
            </a:lvl1pPr>
          </a:lstStyle>
          <a:p>
            <a:fld id="{C734BB09-483B-4C4B-A5A4-C02A22055B01}" type="slidenum">
              <a:rPr lang="da-DK" smtClean="0"/>
              <a:pPr/>
              <a:t>‹#›</a:t>
            </a:fld>
            <a:endParaRPr lang="da-DK" dirty="0"/>
          </a:p>
        </p:txBody>
      </p:sp>
    </p:spTree>
    <p:extLst>
      <p:ext uri="{BB962C8B-B14F-4D97-AF65-F5344CB8AC3E}">
        <p14:creationId xmlns:p14="http://schemas.microsoft.com/office/powerpoint/2010/main" val="1277836070"/>
      </p:ext>
    </p:extLst>
  </p:cSld>
  <p:clrMap bg1="lt1" tx1="dk1" bg2="lt2" tx2="dk2" accent1="accent1" accent2="accent2" accent3="accent3" accent4="accent4" accent5="accent5" accent6="accent6" hlink="hlink" folHlink="folHlink"/>
  <p:hf hdr="0"/>
  <p:notesStyle>
    <a:lvl1pPr algn="l" rtl="0" fontAlgn="base">
      <a:spcBef>
        <a:spcPct val="30000"/>
      </a:spcBef>
      <a:spcAft>
        <a:spcPct val="0"/>
      </a:spcAft>
      <a:defRPr sz="1200" kern="1200">
        <a:solidFill>
          <a:schemeClr val="tx1"/>
        </a:solidFill>
        <a:latin typeface="Arial" panose="020B0604020202020204" pitchFamily="34" charset="0"/>
        <a:ea typeface="ＭＳ Ｐゴシック" pitchFamily="-80" charset="-128"/>
        <a:cs typeface="+mn-cs"/>
      </a:defRPr>
    </a:lvl1pPr>
    <a:lvl2pPr marL="457200" algn="l" rtl="0" fontAlgn="base">
      <a:spcBef>
        <a:spcPct val="30000"/>
      </a:spcBef>
      <a:spcAft>
        <a:spcPct val="0"/>
      </a:spcAft>
      <a:defRPr sz="1200" kern="1200">
        <a:solidFill>
          <a:schemeClr val="tx1"/>
        </a:solidFill>
        <a:latin typeface="Arial" panose="020B0604020202020204" pitchFamily="34" charset="0"/>
        <a:ea typeface="ＭＳ Ｐゴシック" pitchFamily="-80" charset="-128"/>
        <a:cs typeface="+mn-cs"/>
      </a:defRPr>
    </a:lvl2pPr>
    <a:lvl3pPr marL="914400" algn="l" rtl="0" fontAlgn="base">
      <a:spcBef>
        <a:spcPct val="30000"/>
      </a:spcBef>
      <a:spcAft>
        <a:spcPct val="0"/>
      </a:spcAft>
      <a:defRPr sz="1200" kern="1200">
        <a:solidFill>
          <a:schemeClr val="tx1"/>
        </a:solidFill>
        <a:latin typeface="Arial" panose="020B0604020202020204" pitchFamily="34" charset="0"/>
        <a:ea typeface="ＭＳ Ｐゴシック" pitchFamily="-80" charset="-128"/>
        <a:cs typeface="+mn-cs"/>
      </a:defRPr>
    </a:lvl3pPr>
    <a:lvl4pPr marL="1371600" algn="l" rtl="0" fontAlgn="base">
      <a:spcBef>
        <a:spcPct val="30000"/>
      </a:spcBef>
      <a:spcAft>
        <a:spcPct val="0"/>
      </a:spcAft>
      <a:defRPr sz="1200" kern="1200">
        <a:solidFill>
          <a:schemeClr val="tx1"/>
        </a:solidFill>
        <a:latin typeface="Arial" panose="020B0604020202020204" pitchFamily="34" charset="0"/>
        <a:ea typeface="ＭＳ Ｐゴシック" pitchFamily="-80" charset="-128"/>
        <a:cs typeface="+mn-cs"/>
      </a:defRPr>
    </a:lvl4pPr>
    <a:lvl5pPr marL="1828800" algn="l" rtl="0" fontAlgn="base">
      <a:spcBef>
        <a:spcPct val="30000"/>
      </a:spcBef>
      <a:spcAft>
        <a:spcPct val="0"/>
      </a:spcAft>
      <a:defRPr sz="1200" kern="1200">
        <a:solidFill>
          <a:schemeClr val="tx1"/>
        </a:solidFill>
        <a:latin typeface="Arial" panose="020B0604020202020204" pitchFamily="34" charset="0"/>
        <a:ea typeface="ＭＳ Ｐゴシック" pitchFamily="-80"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endParaRPr lang="da-DK" dirty="0"/>
          </a:p>
        </p:txBody>
      </p:sp>
      <p:sp>
        <p:nvSpPr>
          <p:cNvPr id="5" name="Footer Placeholder 4"/>
          <p:cNvSpPr>
            <a:spLocks noGrp="1"/>
          </p:cNvSpPr>
          <p:nvPr>
            <p:ph type="ftr" sz="quarter" idx="11"/>
          </p:nvPr>
        </p:nvSpPr>
        <p:spPr/>
        <p:txBody>
          <a:bodyPr/>
          <a:lstStyle/>
          <a:p>
            <a:endParaRPr lang="da-DK" dirty="0"/>
          </a:p>
        </p:txBody>
      </p:sp>
      <p:sp>
        <p:nvSpPr>
          <p:cNvPr id="6" name="Slide Number Placeholder 5"/>
          <p:cNvSpPr>
            <a:spLocks noGrp="1"/>
          </p:cNvSpPr>
          <p:nvPr>
            <p:ph type="sldNum" sz="quarter" idx="12"/>
          </p:nvPr>
        </p:nvSpPr>
        <p:spPr/>
        <p:txBody>
          <a:bodyPr/>
          <a:lstStyle/>
          <a:p>
            <a:fld id="{C734BB09-483B-4C4B-A5A4-C02A22055B01}" type="slidenum">
              <a:rPr lang="da-DK" smtClean="0"/>
              <a:pPr/>
              <a:t>1</a:t>
            </a:fld>
            <a:endParaRPr lang="da-DK" dirty="0"/>
          </a:p>
        </p:txBody>
      </p:sp>
    </p:spTree>
    <p:extLst>
      <p:ext uri="{BB962C8B-B14F-4D97-AF65-F5344CB8AC3E}">
        <p14:creationId xmlns:p14="http://schemas.microsoft.com/office/powerpoint/2010/main" val="8865838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The acceleration of the digital transformation makes data the most significant resource for our future. </a:t>
            </a:r>
          </a:p>
          <a:p>
            <a:r>
              <a:rPr lang="en-US" sz="1200" dirty="0"/>
              <a:t>Being able to access, use, and combine data is the key to prosperity and innovation in Europe and worldwide.</a:t>
            </a:r>
          </a:p>
          <a:p>
            <a:r>
              <a:rPr lang="en-US" sz="1200" dirty="0"/>
              <a:t>Understanding how to manage and safeguard people’s sovereignty over their own data is and will be vital for creating trust and confidence among actors in the data economy and therefore in the acceleration of digital transitions within and across sectors and scales</a:t>
            </a:r>
          </a:p>
          <a:p>
            <a:endParaRPr lang="da-DK" dirty="0"/>
          </a:p>
        </p:txBody>
      </p:sp>
      <p:sp>
        <p:nvSpPr>
          <p:cNvPr id="4" name="Slide Number Placeholder 3"/>
          <p:cNvSpPr>
            <a:spLocks noGrp="1"/>
          </p:cNvSpPr>
          <p:nvPr>
            <p:ph type="sldNum" sz="quarter" idx="10"/>
          </p:nvPr>
        </p:nvSpPr>
        <p:spPr/>
        <p:txBody>
          <a:bodyPr/>
          <a:lstStyle/>
          <a:p>
            <a:fld id="{C734BB09-483B-4C4B-A5A4-C02A22055B01}" type="slidenum">
              <a:rPr lang="da-DK" smtClean="0"/>
              <a:pPr/>
              <a:t>11</a:t>
            </a:fld>
            <a:endParaRPr lang="da-DK" dirty="0"/>
          </a:p>
        </p:txBody>
      </p:sp>
    </p:spTree>
    <p:extLst>
      <p:ext uri="{BB962C8B-B14F-4D97-AF65-F5344CB8AC3E}">
        <p14:creationId xmlns:p14="http://schemas.microsoft.com/office/powerpoint/2010/main" val="15621340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Arial" panose="020B0604020202020204" pitchFamily="34" charset="0"/>
                <a:ea typeface="ＭＳ Ｐゴシック" pitchFamily="-80" charset="-128"/>
                <a:cs typeface="+mn-cs"/>
              </a:rPr>
              <a:t>The OECD states that ‘one of the most frequently cited barriers to data sharing and reuse is the lack of common standards, or the proliferation of incompatible standards’. This is confirmed by the 2020 public consultation, where 91.5% of the respondents agreed that </a:t>
            </a:r>
            <a:r>
              <a:rPr lang="en-US" sz="1200" b="0" i="0" u="none" strike="noStrike" kern="1200" baseline="0" dirty="0" err="1">
                <a:solidFill>
                  <a:schemeClr val="tx1"/>
                </a:solidFill>
                <a:latin typeface="Arial" panose="020B0604020202020204" pitchFamily="34" charset="0"/>
                <a:ea typeface="ＭＳ Ｐゴシック" pitchFamily="-80" charset="-128"/>
                <a:cs typeface="+mn-cs"/>
              </a:rPr>
              <a:t>standardisation</a:t>
            </a:r>
            <a:r>
              <a:rPr lang="en-US" sz="1200" b="0" i="0" u="none" strike="noStrike" kern="1200" baseline="0" dirty="0">
                <a:solidFill>
                  <a:schemeClr val="tx1"/>
                </a:solidFill>
                <a:latin typeface="Arial" panose="020B0604020202020204" pitchFamily="34" charset="0"/>
                <a:ea typeface="ＭＳ Ｐゴシック" pitchFamily="-80" charset="-128"/>
                <a:cs typeface="+mn-cs"/>
              </a:rPr>
              <a:t> is necessary to improve interoperability and ultimately data reuse across sectors. Some 91.1% of respondents agreed that future </a:t>
            </a:r>
            <a:r>
              <a:rPr lang="en-US" sz="1200" b="0" i="0" u="none" strike="noStrike" kern="1200" baseline="0" dirty="0" err="1">
                <a:solidFill>
                  <a:schemeClr val="tx1"/>
                </a:solidFill>
                <a:latin typeface="Arial" panose="020B0604020202020204" pitchFamily="34" charset="0"/>
                <a:ea typeface="ＭＳ Ｐゴシック" pitchFamily="-80" charset="-128"/>
                <a:cs typeface="+mn-cs"/>
              </a:rPr>
              <a:t>standardisation</a:t>
            </a:r>
            <a:r>
              <a:rPr lang="en-US" sz="1200" b="0" i="0" u="none" strike="noStrike" kern="1200" baseline="0" dirty="0">
                <a:solidFill>
                  <a:schemeClr val="tx1"/>
                </a:solidFill>
                <a:latin typeface="Arial" panose="020B0604020202020204" pitchFamily="34" charset="0"/>
                <a:ea typeface="ＭＳ Ｐゴシック" pitchFamily="-80" charset="-128"/>
                <a:cs typeface="+mn-cs"/>
              </a:rPr>
              <a:t> activities need to better address the use of data across sectors of the economy or domains of society.</a:t>
            </a:r>
            <a:endParaRPr lang="da-DK" dirty="0"/>
          </a:p>
        </p:txBody>
      </p:sp>
      <p:sp>
        <p:nvSpPr>
          <p:cNvPr id="4" name="Slide Number Placeholder 3"/>
          <p:cNvSpPr>
            <a:spLocks noGrp="1"/>
          </p:cNvSpPr>
          <p:nvPr>
            <p:ph type="sldNum" sz="quarter" idx="10"/>
          </p:nvPr>
        </p:nvSpPr>
        <p:spPr/>
        <p:txBody>
          <a:bodyPr/>
          <a:lstStyle/>
          <a:p>
            <a:fld id="{C734BB09-483B-4C4B-A5A4-C02A22055B01}" type="slidenum">
              <a:rPr lang="da-DK" smtClean="0"/>
              <a:pPr/>
              <a:t>12</a:t>
            </a:fld>
            <a:endParaRPr lang="da-DK" dirty="0"/>
          </a:p>
        </p:txBody>
      </p:sp>
    </p:spTree>
    <p:extLst>
      <p:ext uri="{BB962C8B-B14F-4D97-AF65-F5344CB8AC3E}">
        <p14:creationId xmlns:p14="http://schemas.microsoft.com/office/powerpoint/2010/main" val="3949981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b="1" dirty="0"/>
              <a:t>References</a:t>
            </a:r>
          </a:p>
          <a:p>
            <a:endParaRPr lang="da-DK" dirty="0"/>
          </a:p>
          <a:p>
            <a:r>
              <a:rPr lang="en-US" sz="1200" b="0" i="0" u="none" strike="noStrike" baseline="0" dirty="0">
                <a:solidFill>
                  <a:srgbClr val="000000"/>
                </a:solidFill>
                <a:latin typeface="Calibri" panose="020F0502020204030204" pitchFamily="34" charset="0"/>
              </a:rPr>
              <a:t>European Commission, 2020b. “Accompanying the Document Proposal for a REGULATION OF THE EUROPEAN PARLIAMENT AND OF THE COUNCIL on European Data Governance (Data Governance Act).” </a:t>
            </a:r>
            <a:r>
              <a:rPr lang="en-US" sz="1200" b="0" i="1" u="none" strike="noStrike" baseline="0" dirty="0">
                <a:solidFill>
                  <a:srgbClr val="000000"/>
                </a:solidFill>
                <a:latin typeface="Calibri" panose="020F0502020204030204" pitchFamily="34" charset="0"/>
              </a:rPr>
              <a:t>European Union: European Commission</a:t>
            </a:r>
            <a:r>
              <a:rPr lang="en-US" sz="1200" b="0" i="0" u="none" strike="noStrike" baseline="0" dirty="0">
                <a:solidFill>
                  <a:srgbClr val="000000"/>
                </a:solidFill>
                <a:latin typeface="Calibri" panose="020F0502020204030204" pitchFamily="34" charset="0"/>
              </a:rPr>
              <a:t>. Brussels. https://eur-lex.europa.eu/legal-content/EN/TXT/?uri=CELEX:52020SC0295 </a:t>
            </a:r>
            <a:endParaRPr lang="da-DK" dirty="0"/>
          </a:p>
          <a:p>
            <a:endParaRPr lang="en-US" sz="1200" b="1" dirty="0"/>
          </a:p>
          <a:p>
            <a:endParaRPr lang="en-US" sz="1200" b="1" dirty="0"/>
          </a:p>
        </p:txBody>
      </p:sp>
      <p:sp>
        <p:nvSpPr>
          <p:cNvPr id="4" name="Slide Number Placeholder 3"/>
          <p:cNvSpPr>
            <a:spLocks noGrp="1"/>
          </p:cNvSpPr>
          <p:nvPr>
            <p:ph type="sldNum" sz="quarter" idx="10"/>
          </p:nvPr>
        </p:nvSpPr>
        <p:spPr/>
        <p:txBody>
          <a:bodyPr/>
          <a:lstStyle/>
          <a:p>
            <a:fld id="{C734BB09-483B-4C4B-A5A4-C02A22055B01}" type="slidenum">
              <a:rPr lang="da-DK" smtClean="0"/>
              <a:pPr/>
              <a:t>14</a:t>
            </a:fld>
            <a:endParaRPr lang="da-DK" dirty="0"/>
          </a:p>
        </p:txBody>
      </p:sp>
    </p:spTree>
    <p:extLst>
      <p:ext uri="{BB962C8B-B14F-4D97-AF65-F5344CB8AC3E}">
        <p14:creationId xmlns:p14="http://schemas.microsoft.com/office/powerpoint/2010/main" val="35464460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Immaginari socio-tecnici: ”immaginari collettivi e condivisi, istituzionalmente stabilizzate e</a:t>
            </a:r>
            <a:r>
              <a:rPr lang="it-IT" baseline="0" dirty="0"/>
              <a:t> in grado di contribuire alla creazione di scenari desiderabili futuri</a:t>
            </a:r>
            <a:r>
              <a:rPr lang="it-IT" dirty="0"/>
              <a:t>, animati dalla comprensione condivisa di forme di vita sociale e di ordine sociale ottenibili attraverso e di supporto ai progressi della scienza e della tecnologia" </a:t>
            </a:r>
          </a:p>
          <a:p>
            <a:endParaRPr lang="it-IT" dirty="0"/>
          </a:p>
          <a:p>
            <a:r>
              <a:rPr lang="it-IT" dirty="0"/>
              <a:t>Esplorando le politiche epistemiche - cioè quelle politiche legata ai processi di creazione della conoscenza, flussi di conoscenza e modalità di azione – alla base delle </a:t>
            </a:r>
            <a:r>
              <a:rPr lang="it-IT" baseline="0" dirty="0"/>
              <a:t>strutture</a:t>
            </a:r>
            <a:r>
              <a:rPr lang="it-IT" dirty="0"/>
              <a:t> di </a:t>
            </a:r>
            <a:r>
              <a:rPr lang="it-IT" dirty="0" err="1"/>
              <a:t>governance</a:t>
            </a:r>
            <a:r>
              <a:rPr lang="it-IT" dirty="0"/>
              <a:t> – quindi</a:t>
            </a:r>
            <a:r>
              <a:rPr lang="it-IT" baseline="0" dirty="0"/>
              <a:t> tali da facilitare</a:t>
            </a:r>
            <a:r>
              <a:rPr lang="it-IT" dirty="0"/>
              <a:t> la stabilizzazione degli immaginari sociotecnici.</a:t>
            </a:r>
            <a:endParaRPr lang="en-US" dirty="0"/>
          </a:p>
        </p:txBody>
      </p:sp>
      <p:sp>
        <p:nvSpPr>
          <p:cNvPr id="4" name="Slide Number Placeholder 3"/>
          <p:cNvSpPr>
            <a:spLocks noGrp="1"/>
          </p:cNvSpPr>
          <p:nvPr>
            <p:ph type="sldNum" sz="quarter" idx="10"/>
          </p:nvPr>
        </p:nvSpPr>
        <p:spPr/>
        <p:txBody>
          <a:bodyPr/>
          <a:lstStyle/>
          <a:p>
            <a:fld id="{4B8E6588-0AB6-401A-A789-E9A1982DF07E}" type="slidenum">
              <a:rPr lang="da-DK" smtClean="0"/>
              <a:t>21</a:t>
            </a:fld>
            <a:endParaRPr lang="da-DK"/>
          </a:p>
        </p:txBody>
      </p:sp>
    </p:spTree>
    <p:extLst>
      <p:ext uri="{BB962C8B-B14F-4D97-AF65-F5344CB8AC3E}">
        <p14:creationId xmlns:p14="http://schemas.microsoft.com/office/powerpoint/2010/main" val="14384488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0" lang="da-DK"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80" charset="-128"/>
              <a:cs typeface="+mn-cs"/>
            </a:endParaRPr>
          </a:p>
        </p:txBody>
      </p:sp>
      <p:sp>
        <p:nvSpPr>
          <p:cNvPr id="5" name="Footer Placeholder 4"/>
          <p:cNvSpPr>
            <a:spLocks noGrp="1"/>
          </p:cNvSpPr>
          <p:nvPr>
            <p:ph type="ftr" sz="quarter" idx="11"/>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a-DK"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80" charset="-128"/>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C734BB09-483B-4C4B-A5A4-C02A22055B01}" type="slidenum">
              <a:rPr kumimoji="0" lang="da-DK"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pitchFamily="-80"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22</a:t>
            </a:fld>
            <a:endParaRPr kumimoji="0" lang="da-DK"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80" charset="-128"/>
              <a:cs typeface="+mn-cs"/>
            </a:endParaRPr>
          </a:p>
        </p:txBody>
      </p:sp>
    </p:spTree>
    <p:extLst>
      <p:ext uri="{BB962C8B-B14F-4D97-AF65-F5344CB8AC3E}">
        <p14:creationId xmlns:p14="http://schemas.microsoft.com/office/powerpoint/2010/main" val="110051474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defTabSz="995707">
              <a:defRPr/>
            </a:pPr>
            <a:endParaRPr lang="da-DK" dirty="0">
              <a:solidFill>
                <a:srgbClr val="000000"/>
              </a:solidFill>
            </a:endParaRPr>
          </a:p>
        </p:txBody>
      </p:sp>
      <p:sp>
        <p:nvSpPr>
          <p:cNvPr id="5" name="Footer Placeholder 4"/>
          <p:cNvSpPr>
            <a:spLocks noGrp="1"/>
          </p:cNvSpPr>
          <p:nvPr>
            <p:ph type="ftr" sz="quarter" idx="11"/>
          </p:nvPr>
        </p:nvSpPr>
        <p:spPr/>
        <p:txBody>
          <a:bodyPr/>
          <a:lstStyle/>
          <a:p>
            <a:pPr defTabSz="995707">
              <a:defRPr/>
            </a:pPr>
            <a:endParaRPr lang="da-DK" dirty="0">
              <a:solidFill>
                <a:srgbClr val="000000"/>
              </a:solidFill>
            </a:endParaRPr>
          </a:p>
        </p:txBody>
      </p:sp>
      <p:sp>
        <p:nvSpPr>
          <p:cNvPr id="6" name="Slide Number Placeholder 5"/>
          <p:cNvSpPr>
            <a:spLocks noGrp="1"/>
          </p:cNvSpPr>
          <p:nvPr>
            <p:ph type="sldNum" sz="quarter" idx="12"/>
          </p:nvPr>
        </p:nvSpPr>
        <p:spPr/>
        <p:txBody>
          <a:bodyPr/>
          <a:lstStyle/>
          <a:p>
            <a:pPr defTabSz="995707">
              <a:defRPr/>
            </a:pPr>
            <a:fld id="{C734BB09-483B-4C4B-A5A4-C02A22055B01}" type="slidenum">
              <a:rPr lang="da-DK">
                <a:solidFill>
                  <a:srgbClr val="000000"/>
                </a:solidFill>
              </a:rPr>
              <a:pPr defTabSz="995707">
                <a:defRPr/>
              </a:pPr>
              <a:t>23</a:t>
            </a:fld>
            <a:endParaRPr lang="da-DK" dirty="0">
              <a:solidFill>
                <a:srgbClr val="000000"/>
              </a:solidFill>
            </a:endParaRPr>
          </a:p>
        </p:txBody>
      </p:sp>
    </p:spTree>
    <p:extLst>
      <p:ext uri="{BB962C8B-B14F-4D97-AF65-F5344CB8AC3E}">
        <p14:creationId xmlns:p14="http://schemas.microsoft.com/office/powerpoint/2010/main" val="41041263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Miljøportalen</a:t>
            </a:r>
            <a:r>
              <a:rPr lang="en-US" dirty="0"/>
              <a:t> has already a large experience in doing that in other fields and it started to develop infrastructures for data sharing in relation to specific water areas (e.g. wastewater and surface water). </a:t>
            </a:r>
            <a:endParaRPr lang="da-DK" dirty="0"/>
          </a:p>
        </p:txBody>
      </p:sp>
      <p:sp>
        <p:nvSpPr>
          <p:cNvPr id="4" name="Date Placeholder 3"/>
          <p:cNvSpPr>
            <a:spLocks noGrp="1"/>
          </p:cNvSpPr>
          <p:nvPr>
            <p:ph type="dt" idx="1"/>
          </p:nvPr>
        </p:nvSpPr>
        <p:spPr/>
        <p:txBody>
          <a:bodyPr/>
          <a:lstStyle/>
          <a:p>
            <a:endParaRPr lang="da-DK" dirty="0"/>
          </a:p>
        </p:txBody>
      </p:sp>
      <p:sp>
        <p:nvSpPr>
          <p:cNvPr id="5" name="Footer Placeholder 4"/>
          <p:cNvSpPr>
            <a:spLocks noGrp="1"/>
          </p:cNvSpPr>
          <p:nvPr>
            <p:ph type="ftr" sz="quarter" idx="4"/>
          </p:nvPr>
        </p:nvSpPr>
        <p:spPr/>
        <p:txBody>
          <a:bodyPr/>
          <a:lstStyle/>
          <a:p>
            <a:endParaRPr lang="da-DK" dirty="0"/>
          </a:p>
        </p:txBody>
      </p:sp>
      <p:sp>
        <p:nvSpPr>
          <p:cNvPr id="6" name="Slide Number Placeholder 5"/>
          <p:cNvSpPr>
            <a:spLocks noGrp="1"/>
          </p:cNvSpPr>
          <p:nvPr>
            <p:ph type="sldNum" sz="quarter" idx="5"/>
          </p:nvPr>
        </p:nvSpPr>
        <p:spPr/>
        <p:txBody>
          <a:bodyPr/>
          <a:lstStyle/>
          <a:p>
            <a:fld id="{C734BB09-483B-4C4B-A5A4-C02A22055B01}" type="slidenum">
              <a:rPr lang="da-DK" smtClean="0"/>
              <a:pPr/>
              <a:t>24</a:t>
            </a:fld>
            <a:endParaRPr lang="da-DK" dirty="0"/>
          </a:p>
        </p:txBody>
      </p:sp>
    </p:spTree>
    <p:extLst>
      <p:ext uri="{BB962C8B-B14F-4D97-AF65-F5344CB8AC3E}">
        <p14:creationId xmlns:p14="http://schemas.microsoft.com/office/powerpoint/2010/main" val="29546933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7388" y="1143000"/>
            <a:ext cx="5483225" cy="3086100"/>
          </a:xfrm>
        </p:spPr>
      </p:sp>
      <p:sp>
        <p:nvSpPr>
          <p:cNvPr id="3" name="Notes Placeholder 2"/>
          <p:cNvSpPr>
            <a:spLocks noGrp="1"/>
          </p:cNvSpPr>
          <p:nvPr>
            <p:ph type="body" idx="1"/>
          </p:nvPr>
        </p:nvSpPr>
        <p:spPr/>
        <p:txBody>
          <a:bodyPr/>
          <a:lstStyle/>
          <a:p>
            <a:endParaRPr lang="da-DK" dirty="0"/>
          </a:p>
          <a:p>
            <a:r>
              <a:rPr lang="da-DK" dirty="0"/>
              <a:t>Urban </a:t>
            </a:r>
            <a:r>
              <a:rPr lang="da-DK" baseline="0" dirty="0" err="1"/>
              <a:t>challenges</a:t>
            </a:r>
            <a:r>
              <a:rPr lang="da-DK" baseline="0" dirty="0"/>
              <a:t> most of all </a:t>
            </a:r>
            <a:r>
              <a:rPr lang="da-DK" baseline="0" dirty="0" err="1"/>
              <a:t>influenced</a:t>
            </a:r>
            <a:r>
              <a:rPr lang="da-DK" baseline="0" dirty="0"/>
              <a:t> by the </a:t>
            </a:r>
            <a:r>
              <a:rPr lang="da-DK" baseline="0" dirty="0" err="1"/>
              <a:t>increasing</a:t>
            </a:r>
            <a:r>
              <a:rPr lang="da-DK" baseline="0" dirty="0"/>
              <a:t> </a:t>
            </a:r>
            <a:r>
              <a:rPr lang="da-DK" baseline="0" dirty="0" err="1"/>
              <a:t>urbanization</a:t>
            </a:r>
            <a:r>
              <a:rPr lang="da-DK" baseline="0" dirty="0"/>
              <a:t> of the </a:t>
            </a:r>
            <a:r>
              <a:rPr lang="da-DK" baseline="0" dirty="0" err="1"/>
              <a:t>world</a:t>
            </a:r>
            <a:r>
              <a:rPr lang="da-DK" baseline="0" dirty="0"/>
              <a:t> population, </a:t>
            </a:r>
            <a:r>
              <a:rPr lang="da-DK" baseline="0" dirty="0" err="1"/>
              <a:t>which</a:t>
            </a:r>
            <a:r>
              <a:rPr lang="da-DK" baseline="0" dirty="0"/>
              <a:t> in the last </a:t>
            </a:r>
            <a:r>
              <a:rPr lang="da-DK" baseline="0" dirty="0" err="1"/>
              <a:t>century</a:t>
            </a:r>
            <a:r>
              <a:rPr lang="da-DK" baseline="0" dirty="0"/>
              <a:t> have </a:t>
            </a:r>
            <a:r>
              <a:rPr lang="da-DK" baseline="0" dirty="0" err="1"/>
              <a:t>drastically</a:t>
            </a:r>
            <a:r>
              <a:rPr lang="da-DK" baseline="0" dirty="0"/>
              <a:t> </a:t>
            </a:r>
            <a:r>
              <a:rPr lang="da-DK" baseline="0" dirty="0" err="1"/>
              <a:t>increased</a:t>
            </a:r>
            <a:r>
              <a:rPr lang="da-DK" baseline="0" dirty="0"/>
              <a:t> from 10% to 50% and </a:t>
            </a:r>
            <a:r>
              <a:rPr lang="da-DK" baseline="0" dirty="0" err="1"/>
              <a:t>that</a:t>
            </a:r>
            <a:r>
              <a:rPr lang="da-DK" baseline="0" dirty="0"/>
              <a:t> is </a:t>
            </a:r>
            <a:r>
              <a:rPr lang="da-DK" baseline="0" dirty="0" err="1"/>
              <a:t>expected</a:t>
            </a:r>
            <a:r>
              <a:rPr lang="da-DK" baseline="0" dirty="0"/>
              <a:t> to </a:t>
            </a:r>
            <a:r>
              <a:rPr lang="da-DK" baseline="0" dirty="0" err="1"/>
              <a:t>increase</a:t>
            </a:r>
            <a:r>
              <a:rPr lang="da-DK" baseline="0" dirty="0"/>
              <a:t> </a:t>
            </a:r>
            <a:r>
              <a:rPr lang="da-DK" baseline="0" dirty="0" err="1"/>
              <a:t>even</a:t>
            </a:r>
            <a:r>
              <a:rPr lang="da-DK" baseline="0" dirty="0"/>
              <a:t> </a:t>
            </a:r>
            <a:r>
              <a:rPr lang="da-DK" baseline="0" dirty="0" err="1"/>
              <a:t>further</a:t>
            </a:r>
            <a:r>
              <a:rPr lang="da-DK" baseline="0" dirty="0"/>
              <a:t> in the future. </a:t>
            </a:r>
          </a:p>
          <a:p>
            <a:endParaRPr lang="da-DK" baseline="0" dirty="0"/>
          </a:p>
          <a:p>
            <a:r>
              <a:rPr lang="en-GB" dirty="0"/>
              <a:t>In particular, urban utilities have been identified as an empirical theme of growing relevance in the field of sustainable transition (</a:t>
            </a:r>
            <a:r>
              <a:rPr lang="en-GB" dirty="0" err="1"/>
              <a:t>Bulkeley</a:t>
            </a:r>
            <a:r>
              <a:rPr lang="en-GB" dirty="0"/>
              <a:t> et al., 2011; </a:t>
            </a:r>
            <a:r>
              <a:rPr lang="en-GB" dirty="0" err="1"/>
              <a:t>Markard</a:t>
            </a:r>
            <a:r>
              <a:rPr lang="en-GB" dirty="0"/>
              <a:t> et al., 2012). On one hand, expectations on water utility services are changing as networked infrastructure are discovered to be critical in improving urban living and protect the natural environment at the same time (</a:t>
            </a:r>
            <a:r>
              <a:rPr lang="en-GB" dirty="0" err="1"/>
              <a:t>Kaika</a:t>
            </a:r>
            <a:r>
              <a:rPr lang="en-GB" dirty="0"/>
              <a:t> and </a:t>
            </a:r>
            <a:r>
              <a:rPr lang="en-GB" dirty="0" err="1"/>
              <a:t>Swyngedouw</a:t>
            </a:r>
            <a:r>
              <a:rPr lang="en-GB" dirty="0"/>
              <a:t>, 2000; </a:t>
            </a:r>
            <a:r>
              <a:rPr lang="en-GB" dirty="0" err="1"/>
              <a:t>Monstad</a:t>
            </a:r>
            <a:r>
              <a:rPr lang="en-GB" dirty="0"/>
              <a:t>, 2009). On the other hand, market oriented management </a:t>
            </a:r>
            <a:r>
              <a:rPr lang="en-GB" dirty="0" err="1"/>
              <a:t>approaches,influenced</a:t>
            </a:r>
            <a:r>
              <a:rPr lang="en-GB" dirty="0"/>
              <a:t> by the neoliberal paradigm, are drastically changing socio-technical priorities of utility management (Graham and Marvin, 2001). As a consequence, it becomes fundamental to develop better descriptions of the double interrelations of the on-going restructuring of both infrastructure networks and cities (</a:t>
            </a:r>
            <a:r>
              <a:rPr lang="en-GB" dirty="0" err="1"/>
              <a:t>Hodson</a:t>
            </a:r>
            <a:r>
              <a:rPr lang="en-GB" dirty="0"/>
              <a:t> and Marvin, 2006). </a:t>
            </a:r>
          </a:p>
          <a:p>
            <a:r>
              <a:rPr lang="en-GB" dirty="0"/>
              <a:t> </a:t>
            </a:r>
          </a:p>
          <a:p>
            <a:r>
              <a:rPr lang="da-DK" baseline="0" dirty="0"/>
              <a:t>   </a:t>
            </a:r>
            <a:endParaRPr lang="en-GB" dirty="0"/>
          </a:p>
        </p:txBody>
      </p:sp>
      <p:sp>
        <p:nvSpPr>
          <p:cNvPr id="4" name="Slide Number Placeholder 3"/>
          <p:cNvSpPr>
            <a:spLocks noGrp="1"/>
          </p:cNvSpPr>
          <p:nvPr>
            <p:ph type="sldNum" sz="quarter" idx="10"/>
          </p:nvPr>
        </p:nvSpPr>
        <p:spPr/>
        <p:txBody>
          <a:bodyPr/>
          <a:lstStyle/>
          <a:p>
            <a:pPr marL="0" marR="0" lvl="0" indent="0" algn="r" defTabSz="978271" rtl="0" eaLnBrk="1" fontAlgn="auto" latinLnBrk="0" hangingPunct="1">
              <a:lnSpc>
                <a:spcPct val="100000"/>
              </a:lnSpc>
              <a:spcBef>
                <a:spcPts val="0"/>
              </a:spcBef>
              <a:spcAft>
                <a:spcPts val="0"/>
              </a:spcAft>
              <a:buClrTx/>
              <a:buSzTx/>
              <a:buFontTx/>
              <a:buNone/>
              <a:tabLst/>
              <a:defRPr/>
            </a:pPr>
            <a:fld id="{4B8E6588-0AB6-401A-A789-E9A1982DF07E}"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78271" rtl="0" eaLnBrk="1" fontAlgn="auto" latinLnBrk="0" hangingPunct="1">
                <a:lnSpc>
                  <a:spcPct val="100000"/>
                </a:lnSpc>
                <a:spcBef>
                  <a:spcPts val="0"/>
                </a:spcBef>
                <a:spcAft>
                  <a:spcPts val="0"/>
                </a:spcAft>
                <a:buClrTx/>
                <a:buSzTx/>
                <a:buFontTx/>
                <a:buNone/>
                <a:tabLst/>
                <a:defRPr/>
              </a:pPr>
              <a:t>2</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93834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ffectLst/>
              </a:rPr>
              <a:t>Professor Katherine Richardson -</a:t>
            </a:r>
            <a:r>
              <a:rPr lang="en-US" baseline="0" dirty="0">
                <a:effectLst/>
              </a:rPr>
              <a:t> </a:t>
            </a:r>
            <a:r>
              <a:rPr lang="en-US" dirty="0">
                <a:effectLst/>
              </a:rPr>
              <a:t>Leader of Sustainability Science Centre</a:t>
            </a:r>
          </a:p>
        </p:txBody>
      </p:sp>
      <p:sp>
        <p:nvSpPr>
          <p:cNvPr id="4" name="Slide Number Placeholder 3"/>
          <p:cNvSpPr>
            <a:spLocks noGrp="1"/>
          </p:cNvSpPr>
          <p:nvPr>
            <p:ph type="sldNum" sz="quarter" idx="10"/>
          </p:nvPr>
        </p:nvSpPr>
        <p:spPr/>
        <p:txBody>
          <a:bodyPr/>
          <a:lstStyle/>
          <a:p>
            <a:pPr marL="0" marR="0" lvl="0" indent="0" algn="r" defTabSz="978271" rtl="0" eaLnBrk="1" fontAlgn="auto" latinLnBrk="0" hangingPunct="1">
              <a:lnSpc>
                <a:spcPct val="100000"/>
              </a:lnSpc>
              <a:spcBef>
                <a:spcPts val="0"/>
              </a:spcBef>
              <a:spcAft>
                <a:spcPts val="0"/>
              </a:spcAft>
              <a:buClrTx/>
              <a:buSzTx/>
              <a:buFontTx/>
              <a:buNone/>
              <a:tabLst/>
              <a:defRPr/>
            </a:pPr>
            <a:fld id="{72F1FD7C-7353-0748-B6BB-4A184990516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78271"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79506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10"/>
          </p:nvPr>
        </p:nvSpPr>
        <p:spPr/>
        <p:txBody>
          <a:bodyPr/>
          <a:lstStyle/>
          <a:p>
            <a:fld id="{72F1FD7C-7353-0748-B6BB-4A1849905161}" type="slidenum">
              <a:rPr lang="en-GB" smtClean="0"/>
              <a:t>4</a:t>
            </a:fld>
            <a:endParaRPr lang="en-GB"/>
          </a:p>
        </p:txBody>
      </p:sp>
    </p:spTree>
    <p:extLst>
      <p:ext uri="{BB962C8B-B14F-4D97-AF65-F5344CB8AC3E}">
        <p14:creationId xmlns:p14="http://schemas.microsoft.com/office/powerpoint/2010/main" val="40700662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10"/>
          </p:nvPr>
        </p:nvSpPr>
        <p:spPr/>
        <p:txBody>
          <a:bodyPr/>
          <a:lstStyle/>
          <a:p>
            <a:pPr marL="0" marR="0" lvl="0" indent="0" algn="r" defTabSz="978271" rtl="0" eaLnBrk="1" fontAlgn="auto" latinLnBrk="0" hangingPunct="1">
              <a:lnSpc>
                <a:spcPct val="100000"/>
              </a:lnSpc>
              <a:spcBef>
                <a:spcPts val="0"/>
              </a:spcBef>
              <a:spcAft>
                <a:spcPts val="0"/>
              </a:spcAft>
              <a:buClrTx/>
              <a:buSzTx/>
              <a:buFontTx/>
              <a:buNone/>
              <a:tabLst/>
              <a:defRPr/>
            </a:pPr>
            <a:fld id="{72F1FD7C-7353-0748-B6BB-4A184990516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78271"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05594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EF311B-8B7B-E645-8898-516DC2E0AB6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71297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5"/>
          </p:nvPr>
        </p:nvSpPr>
        <p:spPr/>
        <p:txBody>
          <a:bodyPr/>
          <a:lstStyle/>
          <a:p>
            <a:pPr marL="0" marR="0" lvl="0" indent="0" algn="r" defTabSz="978271" rtl="0" eaLnBrk="1" fontAlgn="auto" latinLnBrk="0" hangingPunct="1">
              <a:lnSpc>
                <a:spcPct val="100000"/>
              </a:lnSpc>
              <a:spcBef>
                <a:spcPts val="0"/>
              </a:spcBef>
              <a:spcAft>
                <a:spcPts val="0"/>
              </a:spcAft>
              <a:buClrTx/>
              <a:buSzTx/>
              <a:buFontTx/>
              <a:buNone/>
              <a:tabLst/>
              <a:defRPr/>
            </a:pPr>
            <a:fld id="{72F1FD7C-7353-0748-B6BB-4A184990516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78271"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83572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5"/>
          </p:nvPr>
        </p:nvSpPr>
        <p:spPr/>
        <p:txBody>
          <a:bodyPr/>
          <a:lstStyle/>
          <a:p>
            <a:pPr marL="0" marR="0" lvl="0" indent="0" algn="r" defTabSz="978271" rtl="0" eaLnBrk="1" fontAlgn="auto" latinLnBrk="0" hangingPunct="1">
              <a:lnSpc>
                <a:spcPct val="100000"/>
              </a:lnSpc>
              <a:spcBef>
                <a:spcPts val="0"/>
              </a:spcBef>
              <a:spcAft>
                <a:spcPts val="0"/>
              </a:spcAft>
              <a:buClrTx/>
              <a:buSzTx/>
              <a:buFontTx/>
              <a:buNone/>
              <a:tabLst/>
              <a:defRPr/>
            </a:pPr>
            <a:fld id="{72F1FD7C-7353-0748-B6BB-4A184990516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78271"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08136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734BB09-483B-4C4B-A5A4-C02A22055B01}" type="slidenum">
              <a:rPr lang="da-DK" smtClean="0"/>
              <a:pPr/>
              <a:t>10</a:t>
            </a:fld>
            <a:endParaRPr lang="da-DK" dirty="0"/>
          </a:p>
        </p:txBody>
      </p:sp>
    </p:spTree>
    <p:extLst>
      <p:ext uri="{BB962C8B-B14F-4D97-AF65-F5344CB8AC3E}">
        <p14:creationId xmlns:p14="http://schemas.microsoft.com/office/powerpoint/2010/main" val="148245961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oleObject" Target="../embeddings/oleObject1.bin"/><Relationship Id="rId7" Type="http://schemas.openxmlformats.org/officeDocument/2006/relationships/image" Target="../media/image6.png"/><Relationship Id="rId2" Type="http://schemas.openxmlformats.org/officeDocument/2006/relationships/slideMaster" Target="../slideMasters/slideMaster6.xml"/><Relationship Id="rId1" Type="http://schemas.openxmlformats.org/officeDocument/2006/relationships/tags" Target="../tags/tag18.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emf"/></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xml"/></Relationships>
</file>

<file path=ppt/slideLayouts/_rels/slideLayout8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6.xml"/></Relationships>
</file>

<file path=ppt/slideLayouts/_rels/slideLayout98.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ront A">
    <p:bg>
      <p:bgPr>
        <a:solidFill>
          <a:srgbClr val="008737"/>
        </a:solidFill>
        <a:effectLst/>
      </p:bgPr>
    </p:bg>
    <p:spTree>
      <p:nvGrpSpPr>
        <p:cNvPr id="1" name=""/>
        <p:cNvGrpSpPr/>
        <p:nvPr/>
      </p:nvGrpSpPr>
      <p:grpSpPr>
        <a:xfrm>
          <a:off x="0" y="0"/>
          <a:ext cx="0" cy="0"/>
          <a:chOff x="0" y="0"/>
          <a:chExt cx="0" cy="0"/>
        </a:xfrm>
      </p:grpSpPr>
      <p:sp>
        <p:nvSpPr>
          <p:cNvPr id="2" name="Background"/>
          <p:cNvSpPr/>
          <p:nvPr userDrawn="1"/>
        </p:nvSpPr>
        <p:spPr bwMode="auto">
          <a:xfrm>
            <a:off x="0" y="-14069"/>
            <a:ext cx="0" cy="0"/>
          </a:xfrm>
          <a:prstGeom prst="rect">
            <a:avLst/>
          </a:prstGeom>
          <a:solidFill>
            <a:srgbClr val="008737"/>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da-DK" sz="1600" b="0" i="0" u="none" strike="noStrike" cap="none" normalizeH="0" baseline="0" dirty="0">
              <a:ln>
                <a:noFill/>
              </a:ln>
              <a:solidFill>
                <a:schemeClr val="tx1"/>
              </a:solidFill>
              <a:effectLst/>
              <a:latin typeface="Arial" panose="020B0604020202020204" pitchFamily="34" charset="0"/>
              <a:ea typeface="ＭＳ Ｐゴシック" pitchFamily="-80" charset="-128"/>
            </a:endParaRPr>
          </a:p>
        </p:txBody>
      </p:sp>
      <p:sp>
        <p:nvSpPr>
          <p:cNvPr id="11" name="Logo white">
            <a:extLst>
              <a:ext uri="{FF2B5EF4-FFF2-40B4-BE49-F238E27FC236}">
                <a16:creationId xmlns:a16="http://schemas.microsoft.com/office/drawing/2014/main" id="{275A6477-FE3A-4D40-B1FE-E46C11E344A5}"/>
              </a:ext>
            </a:extLst>
          </p:cNvPr>
          <p:cNvSpPr>
            <a:spLocks noChangeAspect="1"/>
          </p:cNvSpPr>
          <p:nvPr userDrawn="1">
            <p:custDataLst>
              <p:tags r:id="rId1"/>
            </p:custDataLst>
          </p:nvPr>
        </p:nvSpPr>
        <p:spPr bwMode="auto">
          <a:xfrm>
            <a:off x="252000" y="252000"/>
            <a:ext cx="419611" cy="612000"/>
          </a:xfrm>
          <a:custGeom>
            <a:avLst/>
            <a:gdLst>
              <a:gd name="connsiteX0" fmla="*/ 1050029 w 4933949"/>
              <a:gd name="connsiteY0" fmla="*/ 6094413 h 7196138"/>
              <a:gd name="connsiteX1" fmla="*/ 3883920 w 4933949"/>
              <a:gd name="connsiteY1" fmla="*/ 6094413 h 7196138"/>
              <a:gd name="connsiteX2" fmla="*/ 4933949 w 4933949"/>
              <a:gd name="connsiteY2" fmla="*/ 6645934 h 7196138"/>
              <a:gd name="connsiteX3" fmla="*/ 3883920 w 4933949"/>
              <a:gd name="connsiteY3" fmla="*/ 7196138 h 7196138"/>
              <a:gd name="connsiteX4" fmla="*/ 1050029 w 4933949"/>
              <a:gd name="connsiteY4" fmla="*/ 7196138 h 7196138"/>
              <a:gd name="connsiteX5" fmla="*/ 0 w 4933949"/>
              <a:gd name="connsiteY5" fmla="*/ 6645934 h 7196138"/>
              <a:gd name="connsiteX6" fmla="*/ 1050029 w 4933949"/>
              <a:gd name="connsiteY6" fmla="*/ 6094413 h 7196138"/>
              <a:gd name="connsiteX7" fmla="*/ 1050029 w 4933949"/>
              <a:gd name="connsiteY7" fmla="*/ 4730750 h 7196138"/>
              <a:gd name="connsiteX8" fmla="*/ 3883920 w 4933949"/>
              <a:gd name="connsiteY8" fmla="*/ 4730750 h 7196138"/>
              <a:gd name="connsiteX9" fmla="*/ 4933949 w 4933949"/>
              <a:gd name="connsiteY9" fmla="*/ 5283066 h 7196138"/>
              <a:gd name="connsiteX10" fmla="*/ 3883920 w 4933949"/>
              <a:gd name="connsiteY10" fmla="*/ 5834063 h 7196138"/>
              <a:gd name="connsiteX11" fmla="*/ 1050029 w 4933949"/>
              <a:gd name="connsiteY11" fmla="*/ 5834063 h 7196138"/>
              <a:gd name="connsiteX12" fmla="*/ 0 w 4933949"/>
              <a:gd name="connsiteY12" fmla="*/ 5283066 h 7196138"/>
              <a:gd name="connsiteX13" fmla="*/ 1050029 w 4933949"/>
              <a:gd name="connsiteY13" fmla="*/ 4730750 h 7196138"/>
              <a:gd name="connsiteX14" fmla="*/ 1050029 w 4933949"/>
              <a:gd name="connsiteY14" fmla="*/ 3368675 h 7196138"/>
              <a:gd name="connsiteX15" fmla="*/ 3883920 w 4933949"/>
              <a:gd name="connsiteY15" fmla="*/ 3368675 h 7196138"/>
              <a:gd name="connsiteX16" fmla="*/ 4933949 w 4933949"/>
              <a:gd name="connsiteY16" fmla="*/ 3920991 h 7196138"/>
              <a:gd name="connsiteX17" fmla="*/ 3883920 w 4933949"/>
              <a:gd name="connsiteY17" fmla="*/ 4471988 h 7196138"/>
              <a:gd name="connsiteX18" fmla="*/ 1050029 w 4933949"/>
              <a:gd name="connsiteY18" fmla="*/ 4471988 h 7196138"/>
              <a:gd name="connsiteX19" fmla="*/ 0 w 4933949"/>
              <a:gd name="connsiteY19" fmla="*/ 3920991 h 7196138"/>
              <a:gd name="connsiteX20" fmla="*/ 1050029 w 4933949"/>
              <a:gd name="connsiteY20" fmla="*/ 3368675 h 7196138"/>
              <a:gd name="connsiteX21" fmla="*/ 678543 w 4933949"/>
              <a:gd name="connsiteY21" fmla="*/ 305710 h 7196138"/>
              <a:gd name="connsiteX22" fmla="*/ 678543 w 4933949"/>
              <a:gd name="connsiteY22" fmla="*/ 2307316 h 7196138"/>
              <a:gd name="connsiteX23" fmla="*/ 909109 w 4933949"/>
              <a:gd name="connsiteY23" fmla="*/ 2307316 h 7196138"/>
              <a:gd name="connsiteX24" fmla="*/ 1119911 w 4933949"/>
              <a:gd name="connsiteY24" fmla="*/ 2234842 h 7196138"/>
              <a:gd name="connsiteX25" fmla="*/ 1198962 w 4933949"/>
              <a:gd name="connsiteY25" fmla="*/ 1615517 h 7196138"/>
              <a:gd name="connsiteX26" fmla="*/ 1198962 w 4933949"/>
              <a:gd name="connsiteY26" fmla="*/ 996191 h 7196138"/>
              <a:gd name="connsiteX27" fmla="*/ 1119911 w 4933949"/>
              <a:gd name="connsiteY27" fmla="*/ 378184 h 7196138"/>
              <a:gd name="connsiteX28" fmla="*/ 909109 w 4933949"/>
              <a:gd name="connsiteY28" fmla="*/ 305710 h 7196138"/>
              <a:gd name="connsiteX29" fmla="*/ 678543 w 4933949"/>
              <a:gd name="connsiteY29" fmla="*/ 305710 h 7196138"/>
              <a:gd name="connsiteX30" fmla="*/ 1842869 w 4933949"/>
              <a:gd name="connsiteY30" fmla="*/ 0 h 7196138"/>
              <a:gd name="connsiteX31" fmla="*/ 3073618 w 4933949"/>
              <a:gd name="connsiteY31" fmla="*/ 0 h 7196138"/>
              <a:gd name="connsiteX32" fmla="*/ 3114467 w 4933949"/>
              <a:gd name="connsiteY32" fmla="*/ 14495 h 7196138"/>
              <a:gd name="connsiteX33" fmla="*/ 3128962 w 4933949"/>
              <a:gd name="connsiteY33" fmla="*/ 54027 h 7196138"/>
              <a:gd name="connsiteX34" fmla="*/ 3128962 w 4933949"/>
              <a:gd name="connsiteY34" fmla="*/ 275402 h 7196138"/>
              <a:gd name="connsiteX35" fmla="*/ 3114467 w 4933949"/>
              <a:gd name="connsiteY35" fmla="*/ 314934 h 7196138"/>
              <a:gd name="connsiteX36" fmla="*/ 3073618 w 4933949"/>
              <a:gd name="connsiteY36" fmla="*/ 329429 h 7196138"/>
              <a:gd name="connsiteX37" fmla="*/ 2679620 w 4933949"/>
              <a:gd name="connsiteY37" fmla="*/ 329429 h 7196138"/>
              <a:gd name="connsiteX38" fmla="*/ 2679620 w 4933949"/>
              <a:gd name="connsiteY38" fmla="*/ 2558999 h 7196138"/>
              <a:gd name="connsiteX39" fmla="*/ 2665125 w 4933949"/>
              <a:gd name="connsiteY39" fmla="*/ 2598530 h 7196138"/>
              <a:gd name="connsiteX40" fmla="*/ 2625594 w 4933949"/>
              <a:gd name="connsiteY40" fmla="*/ 2613025 h 7196138"/>
              <a:gd name="connsiteX41" fmla="*/ 2290893 w 4933949"/>
              <a:gd name="connsiteY41" fmla="*/ 2613025 h 7196138"/>
              <a:gd name="connsiteX42" fmla="*/ 2250044 w 4933949"/>
              <a:gd name="connsiteY42" fmla="*/ 2598530 h 7196138"/>
              <a:gd name="connsiteX43" fmla="*/ 2235549 w 4933949"/>
              <a:gd name="connsiteY43" fmla="*/ 2558999 h 7196138"/>
              <a:gd name="connsiteX44" fmla="*/ 2235549 w 4933949"/>
              <a:gd name="connsiteY44" fmla="*/ 329429 h 7196138"/>
              <a:gd name="connsiteX45" fmla="*/ 1842869 w 4933949"/>
              <a:gd name="connsiteY45" fmla="*/ 329429 h 7196138"/>
              <a:gd name="connsiteX46" fmla="*/ 1802020 w 4933949"/>
              <a:gd name="connsiteY46" fmla="*/ 314934 h 7196138"/>
              <a:gd name="connsiteX47" fmla="*/ 1787525 w 4933949"/>
              <a:gd name="connsiteY47" fmla="*/ 275402 h 7196138"/>
              <a:gd name="connsiteX48" fmla="*/ 1787525 w 4933949"/>
              <a:gd name="connsiteY48" fmla="*/ 54027 h 7196138"/>
              <a:gd name="connsiteX49" fmla="*/ 1802020 w 4933949"/>
              <a:gd name="connsiteY49" fmla="*/ 14495 h 7196138"/>
              <a:gd name="connsiteX50" fmla="*/ 1842869 w 4933949"/>
              <a:gd name="connsiteY50" fmla="*/ 0 h 7196138"/>
              <a:gd name="connsiteX51" fmla="*/ 317544 w 4933949"/>
              <a:gd name="connsiteY51" fmla="*/ 0 h 7196138"/>
              <a:gd name="connsiteX52" fmla="*/ 972349 w 4933949"/>
              <a:gd name="connsiteY52" fmla="*/ 0 h 7196138"/>
              <a:gd name="connsiteX53" fmla="*/ 1476958 w 4933949"/>
              <a:gd name="connsiteY53" fmla="*/ 179209 h 7196138"/>
              <a:gd name="connsiteX54" fmla="*/ 1619250 w 4933949"/>
              <a:gd name="connsiteY54" fmla="*/ 1025181 h 7196138"/>
              <a:gd name="connsiteX55" fmla="*/ 1619250 w 4933949"/>
              <a:gd name="connsiteY55" fmla="*/ 1587845 h 7196138"/>
              <a:gd name="connsiteX56" fmla="*/ 1476958 w 4933949"/>
              <a:gd name="connsiteY56" fmla="*/ 2433816 h 7196138"/>
              <a:gd name="connsiteX57" fmla="*/ 972349 w 4933949"/>
              <a:gd name="connsiteY57" fmla="*/ 2613025 h 7196138"/>
              <a:gd name="connsiteX58" fmla="*/ 317544 w 4933949"/>
              <a:gd name="connsiteY58" fmla="*/ 2613025 h 7196138"/>
              <a:gd name="connsiteX59" fmla="*/ 278018 w 4933949"/>
              <a:gd name="connsiteY59" fmla="*/ 2598530 h 7196138"/>
              <a:gd name="connsiteX60" fmla="*/ 263525 w 4933949"/>
              <a:gd name="connsiteY60" fmla="*/ 2558999 h 7196138"/>
              <a:gd name="connsiteX61" fmla="*/ 263525 w 4933949"/>
              <a:gd name="connsiteY61" fmla="*/ 54027 h 7196138"/>
              <a:gd name="connsiteX62" fmla="*/ 278018 w 4933949"/>
              <a:gd name="connsiteY62" fmla="*/ 14495 h 7196138"/>
              <a:gd name="connsiteX63" fmla="*/ 317544 w 4933949"/>
              <a:gd name="connsiteY63" fmla="*/ 0 h 7196138"/>
              <a:gd name="connsiteX64" fmla="*/ 3359213 w 4933949"/>
              <a:gd name="connsiteY64" fmla="*/ 0 h 7196138"/>
              <a:gd name="connsiteX65" fmla="*/ 3664991 w 4933949"/>
              <a:gd name="connsiteY65" fmla="*/ 0 h 7196138"/>
              <a:gd name="connsiteX66" fmla="*/ 3705850 w 4933949"/>
              <a:gd name="connsiteY66" fmla="*/ 14497 h 7196138"/>
              <a:gd name="connsiteX67" fmla="*/ 3720348 w 4933949"/>
              <a:gd name="connsiteY67" fmla="*/ 54035 h 7196138"/>
              <a:gd name="connsiteX68" fmla="*/ 3720348 w 4933949"/>
              <a:gd name="connsiteY68" fmla="*/ 1903062 h 7196138"/>
              <a:gd name="connsiteX69" fmla="*/ 3798111 w 4933949"/>
              <a:gd name="connsiteY69" fmla="*/ 2279984 h 7196138"/>
              <a:gd name="connsiteX70" fmla="*/ 3976042 w 4933949"/>
              <a:gd name="connsiteY70" fmla="*/ 2349833 h 7196138"/>
              <a:gd name="connsiteX71" fmla="*/ 4163200 w 4933949"/>
              <a:gd name="connsiteY71" fmla="*/ 2279984 h 7196138"/>
              <a:gd name="connsiteX72" fmla="*/ 4240963 w 4933949"/>
              <a:gd name="connsiteY72" fmla="*/ 1903062 h 7196138"/>
              <a:gd name="connsiteX73" fmla="*/ 4240963 w 4933949"/>
              <a:gd name="connsiteY73" fmla="*/ 54035 h 7196138"/>
              <a:gd name="connsiteX74" fmla="*/ 4255461 w 4933949"/>
              <a:gd name="connsiteY74" fmla="*/ 14497 h 7196138"/>
              <a:gd name="connsiteX75" fmla="*/ 4295001 w 4933949"/>
              <a:gd name="connsiteY75" fmla="*/ 0 h 7196138"/>
              <a:gd name="connsiteX76" fmla="*/ 4602098 w 4933949"/>
              <a:gd name="connsiteY76" fmla="*/ 0 h 7196138"/>
              <a:gd name="connsiteX77" fmla="*/ 4641638 w 4933949"/>
              <a:gd name="connsiteY77" fmla="*/ 14497 h 7196138"/>
              <a:gd name="connsiteX78" fmla="*/ 4656136 w 4933949"/>
              <a:gd name="connsiteY78" fmla="*/ 54035 h 7196138"/>
              <a:gd name="connsiteX79" fmla="*/ 4656136 w 4933949"/>
              <a:gd name="connsiteY79" fmla="*/ 1904380 h 7196138"/>
              <a:gd name="connsiteX80" fmla="*/ 4507201 w 4933949"/>
              <a:gd name="connsiteY80" fmla="*/ 2459220 h 7196138"/>
              <a:gd name="connsiteX81" fmla="*/ 3981314 w 4933949"/>
              <a:gd name="connsiteY81" fmla="*/ 2646363 h 7196138"/>
              <a:gd name="connsiteX82" fmla="*/ 3447519 w 4933949"/>
              <a:gd name="connsiteY82" fmla="*/ 2459220 h 7196138"/>
              <a:gd name="connsiteX83" fmla="*/ 3305174 w 4933949"/>
              <a:gd name="connsiteY83" fmla="*/ 1904380 h 7196138"/>
              <a:gd name="connsiteX84" fmla="*/ 3305174 w 4933949"/>
              <a:gd name="connsiteY84" fmla="*/ 54035 h 7196138"/>
              <a:gd name="connsiteX85" fmla="*/ 3318354 w 4933949"/>
              <a:gd name="connsiteY85" fmla="*/ 14497 h 7196138"/>
              <a:gd name="connsiteX86" fmla="*/ 3359213 w 4933949"/>
              <a:gd name="connsiteY86" fmla="*/ 0 h 7196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933949" h="7196138">
                <a:moveTo>
                  <a:pt x="1050029" y="6094413"/>
                </a:moveTo>
                <a:cubicBezTo>
                  <a:pt x="2409664" y="6623557"/>
                  <a:pt x="2524285" y="6623557"/>
                  <a:pt x="3883920" y="6094413"/>
                </a:cubicBezTo>
                <a:cubicBezTo>
                  <a:pt x="3883920" y="6094413"/>
                  <a:pt x="3883920" y="6094413"/>
                  <a:pt x="4933949" y="6645934"/>
                </a:cubicBezTo>
                <a:cubicBezTo>
                  <a:pt x="4933949" y="6645934"/>
                  <a:pt x="4933949" y="6645934"/>
                  <a:pt x="3883920" y="7196138"/>
                </a:cubicBezTo>
                <a:cubicBezTo>
                  <a:pt x="2524285" y="6668311"/>
                  <a:pt x="2409664" y="6668311"/>
                  <a:pt x="1050029" y="7196138"/>
                </a:cubicBezTo>
                <a:cubicBezTo>
                  <a:pt x="1050029" y="7196138"/>
                  <a:pt x="1050029" y="7196138"/>
                  <a:pt x="0" y="6645934"/>
                </a:cubicBezTo>
                <a:cubicBezTo>
                  <a:pt x="0" y="6645934"/>
                  <a:pt x="0" y="6645934"/>
                  <a:pt x="1050029" y="6094413"/>
                </a:cubicBezTo>
                <a:close/>
                <a:moveTo>
                  <a:pt x="1050029" y="4730750"/>
                </a:moveTo>
                <a:cubicBezTo>
                  <a:pt x="2409664" y="5260657"/>
                  <a:pt x="2524285" y="5260657"/>
                  <a:pt x="3883920" y="4730750"/>
                </a:cubicBezTo>
                <a:cubicBezTo>
                  <a:pt x="3883920" y="4730750"/>
                  <a:pt x="3883920" y="4730750"/>
                  <a:pt x="4933949" y="5283066"/>
                </a:cubicBezTo>
                <a:cubicBezTo>
                  <a:pt x="4933949" y="5283066"/>
                  <a:pt x="4933949" y="5283066"/>
                  <a:pt x="3883920" y="5834063"/>
                </a:cubicBezTo>
                <a:cubicBezTo>
                  <a:pt x="2524285" y="5305475"/>
                  <a:pt x="2409664" y="5305475"/>
                  <a:pt x="1050029" y="5834063"/>
                </a:cubicBezTo>
                <a:cubicBezTo>
                  <a:pt x="1050029" y="5834063"/>
                  <a:pt x="1050029" y="5834063"/>
                  <a:pt x="0" y="5283066"/>
                </a:cubicBezTo>
                <a:cubicBezTo>
                  <a:pt x="0" y="5283066"/>
                  <a:pt x="0" y="5283066"/>
                  <a:pt x="1050029" y="4730750"/>
                </a:cubicBezTo>
                <a:close/>
                <a:moveTo>
                  <a:pt x="1050029" y="3368675"/>
                </a:moveTo>
                <a:cubicBezTo>
                  <a:pt x="2409664" y="3898582"/>
                  <a:pt x="2524285" y="3898582"/>
                  <a:pt x="3883920" y="3368675"/>
                </a:cubicBezTo>
                <a:cubicBezTo>
                  <a:pt x="3883920" y="3368675"/>
                  <a:pt x="3883920" y="3368675"/>
                  <a:pt x="4933949" y="3920991"/>
                </a:cubicBezTo>
                <a:cubicBezTo>
                  <a:pt x="4933949" y="3920991"/>
                  <a:pt x="4933949" y="3920991"/>
                  <a:pt x="3883920" y="4471988"/>
                </a:cubicBezTo>
                <a:cubicBezTo>
                  <a:pt x="2524285" y="3943400"/>
                  <a:pt x="2409664" y="3943400"/>
                  <a:pt x="1050029" y="4471988"/>
                </a:cubicBezTo>
                <a:cubicBezTo>
                  <a:pt x="1050029" y="4471988"/>
                  <a:pt x="1050029" y="4471988"/>
                  <a:pt x="0" y="3920991"/>
                </a:cubicBezTo>
                <a:cubicBezTo>
                  <a:pt x="0" y="3920991"/>
                  <a:pt x="0" y="3920991"/>
                  <a:pt x="1050029" y="3368675"/>
                </a:cubicBezTo>
                <a:close/>
                <a:moveTo>
                  <a:pt x="678543" y="305710"/>
                </a:moveTo>
                <a:lnTo>
                  <a:pt x="678543" y="2307316"/>
                </a:lnTo>
                <a:cubicBezTo>
                  <a:pt x="678543" y="2307316"/>
                  <a:pt x="678543" y="2307316"/>
                  <a:pt x="909109" y="2307316"/>
                </a:cubicBezTo>
                <a:cubicBezTo>
                  <a:pt x="1011875" y="2307316"/>
                  <a:pt x="1072481" y="2291503"/>
                  <a:pt x="1119911" y="2234842"/>
                </a:cubicBezTo>
                <a:cubicBezTo>
                  <a:pt x="1192375" y="2147873"/>
                  <a:pt x="1198962" y="1971299"/>
                  <a:pt x="1198962" y="1615517"/>
                </a:cubicBezTo>
                <a:cubicBezTo>
                  <a:pt x="1198962" y="1615517"/>
                  <a:pt x="1198962" y="1615517"/>
                  <a:pt x="1198962" y="996191"/>
                </a:cubicBezTo>
                <a:cubicBezTo>
                  <a:pt x="1198962" y="641727"/>
                  <a:pt x="1192375" y="465153"/>
                  <a:pt x="1119911" y="378184"/>
                </a:cubicBezTo>
                <a:cubicBezTo>
                  <a:pt x="1072481" y="321522"/>
                  <a:pt x="1011875" y="305710"/>
                  <a:pt x="909109" y="305710"/>
                </a:cubicBezTo>
                <a:cubicBezTo>
                  <a:pt x="909109" y="305710"/>
                  <a:pt x="909109" y="305710"/>
                  <a:pt x="678543" y="305710"/>
                </a:cubicBezTo>
                <a:close/>
                <a:moveTo>
                  <a:pt x="1842869" y="0"/>
                </a:moveTo>
                <a:cubicBezTo>
                  <a:pt x="1842869" y="0"/>
                  <a:pt x="1842869" y="0"/>
                  <a:pt x="3073618" y="0"/>
                </a:cubicBezTo>
                <a:cubicBezTo>
                  <a:pt x="3093384" y="0"/>
                  <a:pt x="3105243" y="5271"/>
                  <a:pt x="3114467" y="14495"/>
                </a:cubicBezTo>
                <a:cubicBezTo>
                  <a:pt x="3122374" y="22401"/>
                  <a:pt x="3128962" y="34261"/>
                  <a:pt x="3128962" y="54027"/>
                </a:cubicBezTo>
                <a:cubicBezTo>
                  <a:pt x="3128962" y="54027"/>
                  <a:pt x="3128962" y="54027"/>
                  <a:pt x="3128962" y="275402"/>
                </a:cubicBezTo>
                <a:cubicBezTo>
                  <a:pt x="3128962" y="295168"/>
                  <a:pt x="3122374" y="307028"/>
                  <a:pt x="3114467" y="314934"/>
                </a:cubicBezTo>
                <a:cubicBezTo>
                  <a:pt x="3105243" y="324158"/>
                  <a:pt x="3093384" y="329429"/>
                  <a:pt x="3073618" y="329429"/>
                </a:cubicBezTo>
                <a:cubicBezTo>
                  <a:pt x="3073618" y="329429"/>
                  <a:pt x="3073618" y="329429"/>
                  <a:pt x="2679620" y="329429"/>
                </a:cubicBezTo>
                <a:cubicBezTo>
                  <a:pt x="2679620" y="329429"/>
                  <a:pt x="2679620" y="329429"/>
                  <a:pt x="2679620" y="2558999"/>
                </a:cubicBezTo>
                <a:cubicBezTo>
                  <a:pt x="2679620" y="2578765"/>
                  <a:pt x="2674349" y="2590624"/>
                  <a:pt x="2665125" y="2598530"/>
                </a:cubicBezTo>
                <a:cubicBezTo>
                  <a:pt x="2657219" y="2607755"/>
                  <a:pt x="2645360" y="2613025"/>
                  <a:pt x="2625594" y="2613025"/>
                </a:cubicBezTo>
                <a:cubicBezTo>
                  <a:pt x="2625594" y="2613025"/>
                  <a:pt x="2625594" y="2613025"/>
                  <a:pt x="2290893" y="2613025"/>
                </a:cubicBezTo>
                <a:cubicBezTo>
                  <a:pt x="2271128" y="2613025"/>
                  <a:pt x="2259268" y="2607755"/>
                  <a:pt x="2250044" y="2598530"/>
                </a:cubicBezTo>
                <a:cubicBezTo>
                  <a:pt x="2240820" y="2590624"/>
                  <a:pt x="2235549" y="2578765"/>
                  <a:pt x="2235549" y="2558999"/>
                </a:cubicBezTo>
                <a:cubicBezTo>
                  <a:pt x="2235549" y="2558999"/>
                  <a:pt x="2235549" y="2558999"/>
                  <a:pt x="2235549" y="329429"/>
                </a:cubicBezTo>
                <a:cubicBezTo>
                  <a:pt x="2235549" y="329429"/>
                  <a:pt x="2235549" y="329429"/>
                  <a:pt x="1842869" y="329429"/>
                </a:cubicBezTo>
                <a:cubicBezTo>
                  <a:pt x="1823104" y="329429"/>
                  <a:pt x="1811244" y="324158"/>
                  <a:pt x="1802020" y="314934"/>
                </a:cubicBezTo>
                <a:cubicBezTo>
                  <a:pt x="1792796" y="307028"/>
                  <a:pt x="1787525" y="295168"/>
                  <a:pt x="1787525" y="275402"/>
                </a:cubicBezTo>
                <a:cubicBezTo>
                  <a:pt x="1787525" y="275402"/>
                  <a:pt x="1787525" y="275402"/>
                  <a:pt x="1787525" y="54027"/>
                </a:cubicBezTo>
                <a:cubicBezTo>
                  <a:pt x="1787525" y="34261"/>
                  <a:pt x="1792796" y="22401"/>
                  <a:pt x="1802020" y="14495"/>
                </a:cubicBezTo>
                <a:cubicBezTo>
                  <a:pt x="1811244" y="5271"/>
                  <a:pt x="1823104" y="0"/>
                  <a:pt x="1842869" y="0"/>
                </a:cubicBezTo>
                <a:close/>
                <a:moveTo>
                  <a:pt x="317544" y="0"/>
                </a:moveTo>
                <a:cubicBezTo>
                  <a:pt x="317544" y="0"/>
                  <a:pt x="317544" y="0"/>
                  <a:pt x="972349" y="0"/>
                </a:cubicBezTo>
                <a:cubicBezTo>
                  <a:pt x="1226630" y="0"/>
                  <a:pt x="1382097" y="57980"/>
                  <a:pt x="1476958" y="179209"/>
                </a:cubicBezTo>
                <a:cubicBezTo>
                  <a:pt x="1615298" y="345241"/>
                  <a:pt x="1619250" y="614055"/>
                  <a:pt x="1619250" y="1025181"/>
                </a:cubicBezTo>
                <a:cubicBezTo>
                  <a:pt x="1619250" y="1025181"/>
                  <a:pt x="1619250" y="1025181"/>
                  <a:pt x="1619250" y="1587845"/>
                </a:cubicBezTo>
                <a:cubicBezTo>
                  <a:pt x="1619250" y="1998971"/>
                  <a:pt x="1615298" y="2267784"/>
                  <a:pt x="1476958" y="2433816"/>
                </a:cubicBezTo>
                <a:cubicBezTo>
                  <a:pt x="1382097" y="2555046"/>
                  <a:pt x="1226630" y="2613025"/>
                  <a:pt x="972349" y="2613025"/>
                </a:cubicBezTo>
                <a:cubicBezTo>
                  <a:pt x="972349" y="2613025"/>
                  <a:pt x="972349" y="2613025"/>
                  <a:pt x="317544" y="2613025"/>
                </a:cubicBezTo>
                <a:cubicBezTo>
                  <a:pt x="297781" y="2613025"/>
                  <a:pt x="285923" y="2607755"/>
                  <a:pt x="278018" y="2598530"/>
                </a:cubicBezTo>
                <a:cubicBezTo>
                  <a:pt x="268795" y="2590624"/>
                  <a:pt x="263525" y="2578765"/>
                  <a:pt x="263525" y="2558999"/>
                </a:cubicBezTo>
                <a:cubicBezTo>
                  <a:pt x="263525" y="2558999"/>
                  <a:pt x="263525" y="2558999"/>
                  <a:pt x="263525" y="54027"/>
                </a:cubicBezTo>
                <a:cubicBezTo>
                  <a:pt x="263525" y="34261"/>
                  <a:pt x="268795" y="22401"/>
                  <a:pt x="278018" y="14495"/>
                </a:cubicBezTo>
                <a:cubicBezTo>
                  <a:pt x="285923" y="5271"/>
                  <a:pt x="297781" y="0"/>
                  <a:pt x="317544" y="0"/>
                </a:cubicBezTo>
                <a:close/>
                <a:moveTo>
                  <a:pt x="3359213" y="0"/>
                </a:moveTo>
                <a:cubicBezTo>
                  <a:pt x="3359213" y="0"/>
                  <a:pt x="3359213" y="0"/>
                  <a:pt x="3664991" y="0"/>
                </a:cubicBezTo>
                <a:cubicBezTo>
                  <a:pt x="3684762" y="0"/>
                  <a:pt x="3696624" y="5272"/>
                  <a:pt x="3705850" y="14497"/>
                </a:cubicBezTo>
                <a:cubicBezTo>
                  <a:pt x="3715076" y="22405"/>
                  <a:pt x="3720348" y="34266"/>
                  <a:pt x="3720348" y="54035"/>
                </a:cubicBezTo>
                <a:cubicBezTo>
                  <a:pt x="3720348" y="54035"/>
                  <a:pt x="3720348" y="54035"/>
                  <a:pt x="3720348" y="1903062"/>
                </a:cubicBezTo>
                <a:cubicBezTo>
                  <a:pt x="3720348" y="2103384"/>
                  <a:pt x="3738800" y="2214089"/>
                  <a:pt x="3798111" y="2279984"/>
                </a:cubicBezTo>
                <a:cubicBezTo>
                  <a:pt x="3841605" y="2328747"/>
                  <a:pt x="3899597" y="2349833"/>
                  <a:pt x="3976042" y="2349833"/>
                </a:cubicBezTo>
                <a:cubicBezTo>
                  <a:pt x="4060395" y="2349833"/>
                  <a:pt x="4121023" y="2326111"/>
                  <a:pt x="4163200" y="2279984"/>
                </a:cubicBezTo>
                <a:cubicBezTo>
                  <a:pt x="4226464" y="2211453"/>
                  <a:pt x="4240963" y="2096795"/>
                  <a:pt x="4240963" y="1903062"/>
                </a:cubicBezTo>
                <a:cubicBezTo>
                  <a:pt x="4240963" y="1903062"/>
                  <a:pt x="4240963" y="1903062"/>
                  <a:pt x="4240963" y="54035"/>
                </a:cubicBezTo>
                <a:cubicBezTo>
                  <a:pt x="4240963" y="34266"/>
                  <a:pt x="4246235" y="22405"/>
                  <a:pt x="4255461" y="14497"/>
                </a:cubicBezTo>
                <a:cubicBezTo>
                  <a:pt x="4263369" y="5272"/>
                  <a:pt x="4276549" y="0"/>
                  <a:pt x="4295001" y="0"/>
                </a:cubicBezTo>
                <a:cubicBezTo>
                  <a:pt x="4295001" y="0"/>
                  <a:pt x="4295001" y="0"/>
                  <a:pt x="4602098" y="0"/>
                </a:cubicBezTo>
                <a:cubicBezTo>
                  <a:pt x="4621868" y="0"/>
                  <a:pt x="4633730" y="5272"/>
                  <a:pt x="4641638" y="14497"/>
                </a:cubicBezTo>
                <a:cubicBezTo>
                  <a:pt x="4650864" y="22405"/>
                  <a:pt x="4656136" y="34266"/>
                  <a:pt x="4656136" y="54035"/>
                </a:cubicBezTo>
                <a:cubicBezTo>
                  <a:pt x="4656136" y="54035"/>
                  <a:pt x="4656136" y="54035"/>
                  <a:pt x="4656136" y="1904380"/>
                </a:cubicBezTo>
                <a:cubicBezTo>
                  <a:pt x="4656136" y="2153465"/>
                  <a:pt x="4627140" y="2319521"/>
                  <a:pt x="4507201" y="2459220"/>
                </a:cubicBezTo>
                <a:cubicBezTo>
                  <a:pt x="4405714" y="2577832"/>
                  <a:pt x="4239645" y="2646363"/>
                  <a:pt x="3981314" y="2646363"/>
                </a:cubicBezTo>
                <a:cubicBezTo>
                  <a:pt x="3726938" y="2646363"/>
                  <a:pt x="3559550" y="2581786"/>
                  <a:pt x="3447519" y="2459220"/>
                </a:cubicBezTo>
                <a:cubicBezTo>
                  <a:pt x="3340760" y="2341926"/>
                  <a:pt x="3305174" y="2173233"/>
                  <a:pt x="3305174" y="1904380"/>
                </a:cubicBezTo>
                <a:cubicBezTo>
                  <a:pt x="3305174" y="1904380"/>
                  <a:pt x="3305174" y="1904380"/>
                  <a:pt x="3305174" y="54035"/>
                </a:cubicBezTo>
                <a:cubicBezTo>
                  <a:pt x="3305174" y="34266"/>
                  <a:pt x="3310446" y="22405"/>
                  <a:pt x="3318354" y="14497"/>
                </a:cubicBezTo>
                <a:cubicBezTo>
                  <a:pt x="3327580" y="5272"/>
                  <a:pt x="3339442" y="0"/>
                  <a:pt x="3359213"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da-DK"/>
          </a:p>
        </p:txBody>
      </p:sp>
      <p:sp>
        <p:nvSpPr>
          <p:cNvPr id="114690" name="Rectangle 2"/>
          <p:cNvSpPr>
            <a:spLocks noGrp="1" noChangeArrowheads="1"/>
          </p:cNvSpPr>
          <p:nvPr>
            <p:ph type="ctrTitle"/>
          </p:nvPr>
        </p:nvSpPr>
        <p:spPr>
          <a:xfrm>
            <a:off x="249859" y="3545117"/>
            <a:ext cx="10840028" cy="2706458"/>
          </a:xfrm>
        </p:spPr>
        <p:txBody>
          <a:bodyPr anchor="t" anchorCtr="0"/>
          <a:lstStyle>
            <a:lvl1pPr>
              <a:lnSpc>
                <a:spcPct val="93000"/>
              </a:lnSpc>
              <a:defRPr sz="8000">
                <a:solidFill>
                  <a:schemeClr val="bg1"/>
                </a:solidFill>
              </a:defRPr>
            </a:lvl1pPr>
          </a:lstStyle>
          <a:p>
            <a:pPr lvl="0"/>
            <a:r>
              <a:rPr lang="da-DK" noProof="0"/>
              <a:t>Click to edit Master title style</a:t>
            </a:r>
            <a:endParaRPr lang="da-DK" noProof="0" dirty="0"/>
          </a:p>
        </p:txBody>
      </p:sp>
      <p:sp>
        <p:nvSpPr>
          <p:cNvPr id="114691" name="Rectangle 3"/>
          <p:cNvSpPr>
            <a:spLocks noGrp="1" noChangeArrowheads="1"/>
          </p:cNvSpPr>
          <p:nvPr>
            <p:ph type="subTitle" idx="1"/>
          </p:nvPr>
        </p:nvSpPr>
        <p:spPr>
          <a:xfrm>
            <a:off x="247072" y="1704975"/>
            <a:ext cx="10840028" cy="1660654"/>
          </a:xfrm>
        </p:spPr>
        <p:txBody>
          <a:bodyPr anchor="b" anchorCtr="0"/>
          <a:lstStyle>
            <a:lvl1pPr marL="0" indent="0">
              <a:lnSpc>
                <a:spcPct val="110000"/>
              </a:lnSpc>
              <a:spcBef>
                <a:spcPts val="0"/>
              </a:spcBef>
              <a:buFontTx/>
              <a:buNone/>
              <a:defRPr sz="3000">
                <a:solidFill>
                  <a:schemeClr val="bg1"/>
                </a:solidFill>
              </a:defRPr>
            </a:lvl1pPr>
          </a:lstStyle>
          <a:p>
            <a:pPr lvl="0"/>
            <a:r>
              <a:rPr lang="da-DK" noProof="0" dirty="0"/>
              <a:t>Click to edit Master subtitle style</a:t>
            </a:r>
            <a:endParaRPr lang="da-DK" dirty="0"/>
          </a:p>
        </p:txBody>
      </p:sp>
      <p:sp>
        <p:nvSpPr>
          <p:cNvPr id="3" name="Footer Placeholder 2">
            <a:extLst>
              <a:ext uri="{FF2B5EF4-FFF2-40B4-BE49-F238E27FC236}">
                <a16:creationId xmlns:a16="http://schemas.microsoft.com/office/drawing/2014/main" id="{F2117C6C-7BC3-4888-BC29-FAB17565D119}"/>
              </a:ext>
            </a:extLst>
          </p:cNvPr>
          <p:cNvSpPr>
            <a:spLocks noGrp="1"/>
          </p:cNvSpPr>
          <p:nvPr>
            <p:ph type="ftr" sz="quarter" idx="16"/>
          </p:nvPr>
        </p:nvSpPr>
        <p:spPr/>
        <p:txBody>
          <a:bodyPr/>
          <a:lstStyle>
            <a:lvl1pPr>
              <a:defRPr>
                <a:noFill/>
              </a:defRPr>
            </a:lvl1pPr>
          </a:lstStyle>
          <a:p>
            <a:endParaRPr lang="da-DK" dirty="0"/>
          </a:p>
        </p:txBody>
      </p:sp>
      <p:sp>
        <p:nvSpPr>
          <p:cNvPr id="4" name="Slide Number Placeholder 3">
            <a:extLst>
              <a:ext uri="{FF2B5EF4-FFF2-40B4-BE49-F238E27FC236}">
                <a16:creationId xmlns:a16="http://schemas.microsoft.com/office/drawing/2014/main" id="{E77E4668-D07F-4B96-9755-175402734855}"/>
              </a:ext>
            </a:extLst>
          </p:cNvPr>
          <p:cNvSpPr>
            <a:spLocks noGrp="1"/>
          </p:cNvSpPr>
          <p:nvPr>
            <p:ph type="sldNum" sz="quarter" idx="17"/>
          </p:nvPr>
        </p:nvSpPr>
        <p:spPr/>
        <p:txBody>
          <a:bodyPr/>
          <a:lstStyle>
            <a:lvl1pPr>
              <a:defRPr>
                <a:solidFill>
                  <a:schemeClr val="bg1"/>
                </a:solidFill>
              </a:defRPr>
            </a:lvl1pPr>
          </a:lstStyle>
          <a:p>
            <a:fld id="{103EA872-A674-449B-A120-B97244F8E91D}" type="slidenum">
              <a:rPr lang="da-DK" smtClean="0"/>
              <a:pPr/>
              <a:t>‹#›</a:t>
            </a:fld>
            <a:endParaRPr lang="da-DK" dirty="0"/>
          </a:p>
        </p:txBody>
      </p:sp>
    </p:spTree>
    <p:extLst>
      <p:ext uri="{BB962C8B-B14F-4D97-AF65-F5344CB8AC3E}">
        <p14:creationId xmlns:p14="http://schemas.microsoft.com/office/powerpoint/2010/main" val="322721454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56" userDrawn="1">
          <p15:clr>
            <a:srgbClr val="F26B43"/>
          </p15:clr>
        </p15:guide>
        <p15:guide id="2" pos="6984" userDrawn="1">
          <p15:clr>
            <a:srgbClr val="F26B43"/>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Front/Pause A ">
    <p:spTree>
      <p:nvGrpSpPr>
        <p:cNvPr id="1" name=""/>
        <p:cNvGrpSpPr/>
        <p:nvPr/>
      </p:nvGrpSpPr>
      <p:grpSpPr>
        <a:xfrm>
          <a:off x="0" y="0"/>
          <a:ext cx="0" cy="0"/>
          <a:chOff x="0" y="0"/>
          <a:chExt cx="0" cy="0"/>
        </a:xfrm>
      </p:grpSpPr>
      <p:sp>
        <p:nvSpPr>
          <p:cNvPr id="9" name="Background">
            <a:extLst>
              <a:ext uri="{FF2B5EF4-FFF2-40B4-BE49-F238E27FC236}">
                <a16:creationId xmlns:a16="http://schemas.microsoft.com/office/drawing/2014/main" id="{AF9D3C51-A276-4E1F-B6B6-FD6A4E17EE28}"/>
              </a:ext>
            </a:extLst>
          </p:cNvPr>
          <p:cNvSpPr/>
          <p:nvPr userDrawn="1"/>
        </p:nvSpPr>
        <p:spPr bwMode="auto">
          <a:xfrm>
            <a:off x="0" y="-3600"/>
            <a:ext cx="12193200" cy="6861600"/>
          </a:xfrm>
          <a:prstGeom prst="rect">
            <a:avLst/>
          </a:prstGeom>
          <a:solidFill>
            <a:srgbClr val="008737"/>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da-DK" sz="1600" b="0" i="0" u="none" strike="noStrike" cap="none" normalizeH="0" baseline="0" dirty="0">
              <a:ln>
                <a:noFill/>
              </a:ln>
              <a:solidFill>
                <a:schemeClr val="tx1"/>
              </a:solidFill>
              <a:effectLst/>
              <a:latin typeface="Arial" panose="020B0604020202020204" pitchFamily="34" charset="0"/>
              <a:ea typeface="ＭＳ Ｐゴシック" pitchFamily="-80" charset="-128"/>
            </a:endParaRPr>
          </a:p>
        </p:txBody>
      </p:sp>
      <p:sp>
        <p:nvSpPr>
          <p:cNvPr id="4" name="Date Placeholder 2">
            <a:extLst>
              <a:ext uri="{FF2B5EF4-FFF2-40B4-BE49-F238E27FC236}">
                <a16:creationId xmlns:a16="http://schemas.microsoft.com/office/drawing/2014/main" id="{C9776080-6230-4AB8-AB28-4D6744DD01F9}"/>
              </a:ext>
            </a:extLst>
          </p:cNvPr>
          <p:cNvSpPr>
            <a:spLocks noGrp="1"/>
          </p:cNvSpPr>
          <p:nvPr>
            <p:ph type="dt" sz="half" idx="10"/>
          </p:nvPr>
        </p:nvSpPr>
        <p:spPr>
          <a:xfrm>
            <a:off x="0" y="6912000"/>
            <a:ext cx="0" cy="0"/>
          </a:xfrm>
          <a:prstGeom prst="rect">
            <a:avLst/>
          </a:prstGeom>
        </p:spPr>
        <p:txBody>
          <a:bodyPr/>
          <a:lstStyle>
            <a:lvl1pPr>
              <a:defRPr>
                <a:noFill/>
              </a:defRPr>
            </a:lvl1pPr>
          </a:lstStyle>
          <a:p>
            <a:endParaRPr lang="da-DK" dirty="0"/>
          </a:p>
        </p:txBody>
      </p:sp>
      <p:sp>
        <p:nvSpPr>
          <p:cNvPr id="5" name="Footer Placeholder 3">
            <a:extLst>
              <a:ext uri="{FF2B5EF4-FFF2-40B4-BE49-F238E27FC236}">
                <a16:creationId xmlns:a16="http://schemas.microsoft.com/office/drawing/2014/main" id="{2B7FFAE6-D148-4A15-9DFC-7D71B82020C9}"/>
              </a:ext>
            </a:extLst>
          </p:cNvPr>
          <p:cNvSpPr>
            <a:spLocks noGrp="1"/>
          </p:cNvSpPr>
          <p:nvPr>
            <p:ph type="ftr" sz="quarter" idx="11"/>
          </p:nvPr>
        </p:nvSpPr>
        <p:spPr>
          <a:xfrm>
            <a:off x="0" y="6912000"/>
            <a:ext cx="0" cy="0"/>
          </a:xfrm>
        </p:spPr>
        <p:txBody>
          <a:bodyPr/>
          <a:lstStyle>
            <a:lvl1pPr>
              <a:defRPr>
                <a:noFill/>
              </a:defRPr>
            </a:lvl1pPr>
          </a:lstStyle>
          <a:p>
            <a:endParaRPr lang="da-DK" dirty="0"/>
          </a:p>
        </p:txBody>
      </p:sp>
      <p:sp>
        <p:nvSpPr>
          <p:cNvPr id="6" name="Slide Number Placeholder 4">
            <a:extLst>
              <a:ext uri="{FF2B5EF4-FFF2-40B4-BE49-F238E27FC236}">
                <a16:creationId xmlns:a16="http://schemas.microsoft.com/office/drawing/2014/main" id="{3125B57E-AFC7-4517-B327-461DB01D2867}"/>
              </a:ext>
            </a:extLst>
          </p:cNvPr>
          <p:cNvSpPr>
            <a:spLocks noGrp="1"/>
          </p:cNvSpPr>
          <p:nvPr>
            <p:ph type="sldNum" sz="quarter" idx="12"/>
          </p:nvPr>
        </p:nvSpPr>
        <p:spPr>
          <a:xfrm flipV="1">
            <a:off x="0" y="6912000"/>
            <a:ext cx="0" cy="0"/>
          </a:xfrm>
        </p:spPr>
        <p:txBody>
          <a:bodyPr/>
          <a:lstStyle>
            <a:lvl1pPr>
              <a:defRPr>
                <a:noFill/>
              </a:defRPr>
            </a:lvl1pPr>
          </a:lstStyle>
          <a:p>
            <a:fld id="{24C8C45C-947F-4981-8B3F-4F32E973C901}" type="slidenum">
              <a:rPr lang="da-DK" smtClean="0"/>
              <a:pPr/>
              <a:t>‹#›</a:t>
            </a:fld>
            <a:endParaRPr lang="da-DK" dirty="0"/>
          </a:p>
        </p:txBody>
      </p:sp>
      <p:sp>
        <p:nvSpPr>
          <p:cNvPr id="10" name="Logo color">
            <a:extLst>
              <a:ext uri="{FF2B5EF4-FFF2-40B4-BE49-F238E27FC236}">
                <a16:creationId xmlns:a16="http://schemas.microsoft.com/office/drawing/2014/main" id="{B0EE486B-843B-49D6-90AE-5093AB56E30F}"/>
              </a:ext>
            </a:extLst>
          </p:cNvPr>
          <p:cNvSpPr>
            <a:spLocks noChangeAspect="1"/>
          </p:cNvSpPr>
          <p:nvPr userDrawn="1">
            <p:custDataLst>
              <p:tags r:id="rId1"/>
            </p:custDataLst>
          </p:nvPr>
        </p:nvSpPr>
        <p:spPr bwMode="auto">
          <a:xfrm>
            <a:off x="2494806" y="5013176"/>
            <a:ext cx="792619" cy="1156030"/>
          </a:xfrm>
          <a:custGeom>
            <a:avLst/>
            <a:gdLst>
              <a:gd name="connsiteX0" fmla="*/ 1050029 w 4933949"/>
              <a:gd name="connsiteY0" fmla="*/ 6094413 h 7196138"/>
              <a:gd name="connsiteX1" fmla="*/ 3883920 w 4933949"/>
              <a:gd name="connsiteY1" fmla="*/ 6094413 h 7196138"/>
              <a:gd name="connsiteX2" fmla="*/ 4933949 w 4933949"/>
              <a:gd name="connsiteY2" fmla="*/ 6645934 h 7196138"/>
              <a:gd name="connsiteX3" fmla="*/ 3883920 w 4933949"/>
              <a:gd name="connsiteY3" fmla="*/ 7196138 h 7196138"/>
              <a:gd name="connsiteX4" fmla="*/ 1050029 w 4933949"/>
              <a:gd name="connsiteY4" fmla="*/ 7196138 h 7196138"/>
              <a:gd name="connsiteX5" fmla="*/ 0 w 4933949"/>
              <a:gd name="connsiteY5" fmla="*/ 6645934 h 7196138"/>
              <a:gd name="connsiteX6" fmla="*/ 1050029 w 4933949"/>
              <a:gd name="connsiteY6" fmla="*/ 6094413 h 7196138"/>
              <a:gd name="connsiteX7" fmla="*/ 1050029 w 4933949"/>
              <a:gd name="connsiteY7" fmla="*/ 4730750 h 7196138"/>
              <a:gd name="connsiteX8" fmla="*/ 3883920 w 4933949"/>
              <a:gd name="connsiteY8" fmla="*/ 4730750 h 7196138"/>
              <a:gd name="connsiteX9" fmla="*/ 4933949 w 4933949"/>
              <a:gd name="connsiteY9" fmla="*/ 5283066 h 7196138"/>
              <a:gd name="connsiteX10" fmla="*/ 3883920 w 4933949"/>
              <a:gd name="connsiteY10" fmla="*/ 5834063 h 7196138"/>
              <a:gd name="connsiteX11" fmla="*/ 1050029 w 4933949"/>
              <a:gd name="connsiteY11" fmla="*/ 5834063 h 7196138"/>
              <a:gd name="connsiteX12" fmla="*/ 0 w 4933949"/>
              <a:gd name="connsiteY12" fmla="*/ 5283066 h 7196138"/>
              <a:gd name="connsiteX13" fmla="*/ 1050029 w 4933949"/>
              <a:gd name="connsiteY13" fmla="*/ 4730750 h 7196138"/>
              <a:gd name="connsiteX14" fmla="*/ 1050029 w 4933949"/>
              <a:gd name="connsiteY14" fmla="*/ 3368675 h 7196138"/>
              <a:gd name="connsiteX15" fmla="*/ 3883920 w 4933949"/>
              <a:gd name="connsiteY15" fmla="*/ 3368675 h 7196138"/>
              <a:gd name="connsiteX16" fmla="*/ 4933949 w 4933949"/>
              <a:gd name="connsiteY16" fmla="*/ 3920991 h 7196138"/>
              <a:gd name="connsiteX17" fmla="*/ 3883920 w 4933949"/>
              <a:gd name="connsiteY17" fmla="*/ 4471988 h 7196138"/>
              <a:gd name="connsiteX18" fmla="*/ 1050029 w 4933949"/>
              <a:gd name="connsiteY18" fmla="*/ 4471988 h 7196138"/>
              <a:gd name="connsiteX19" fmla="*/ 0 w 4933949"/>
              <a:gd name="connsiteY19" fmla="*/ 3920991 h 7196138"/>
              <a:gd name="connsiteX20" fmla="*/ 1050029 w 4933949"/>
              <a:gd name="connsiteY20" fmla="*/ 3368675 h 7196138"/>
              <a:gd name="connsiteX21" fmla="*/ 678543 w 4933949"/>
              <a:gd name="connsiteY21" fmla="*/ 305710 h 7196138"/>
              <a:gd name="connsiteX22" fmla="*/ 678543 w 4933949"/>
              <a:gd name="connsiteY22" fmla="*/ 2307316 h 7196138"/>
              <a:gd name="connsiteX23" fmla="*/ 909109 w 4933949"/>
              <a:gd name="connsiteY23" fmla="*/ 2307316 h 7196138"/>
              <a:gd name="connsiteX24" fmla="*/ 1119911 w 4933949"/>
              <a:gd name="connsiteY24" fmla="*/ 2234842 h 7196138"/>
              <a:gd name="connsiteX25" fmla="*/ 1198962 w 4933949"/>
              <a:gd name="connsiteY25" fmla="*/ 1615517 h 7196138"/>
              <a:gd name="connsiteX26" fmla="*/ 1198962 w 4933949"/>
              <a:gd name="connsiteY26" fmla="*/ 996191 h 7196138"/>
              <a:gd name="connsiteX27" fmla="*/ 1119911 w 4933949"/>
              <a:gd name="connsiteY27" fmla="*/ 378184 h 7196138"/>
              <a:gd name="connsiteX28" fmla="*/ 909109 w 4933949"/>
              <a:gd name="connsiteY28" fmla="*/ 305710 h 7196138"/>
              <a:gd name="connsiteX29" fmla="*/ 678543 w 4933949"/>
              <a:gd name="connsiteY29" fmla="*/ 305710 h 7196138"/>
              <a:gd name="connsiteX30" fmla="*/ 1842869 w 4933949"/>
              <a:gd name="connsiteY30" fmla="*/ 0 h 7196138"/>
              <a:gd name="connsiteX31" fmla="*/ 3073618 w 4933949"/>
              <a:gd name="connsiteY31" fmla="*/ 0 h 7196138"/>
              <a:gd name="connsiteX32" fmla="*/ 3114467 w 4933949"/>
              <a:gd name="connsiteY32" fmla="*/ 14495 h 7196138"/>
              <a:gd name="connsiteX33" fmla="*/ 3128962 w 4933949"/>
              <a:gd name="connsiteY33" fmla="*/ 54027 h 7196138"/>
              <a:gd name="connsiteX34" fmla="*/ 3128962 w 4933949"/>
              <a:gd name="connsiteY34" fmla="*/ 275402 h 7196138"/>
              <a:gd name="connsiteX35" fmla="*/ 3114467 w 4933949"/>
              <a:gd name="connsiteY35" fmla="*/ 314934 h 7196138"/>
              <a:gd name="connsiteX36" fmla="*/ 3073618 w 4933949"/>
              <a:gd name="connsiteY36" fmla="*/ 329429 h 7196138"/>
              <a:gd name="connsiteX37" fmla="*/ 2679620 w 4933949"/>
              <a:gd name="connsiteY37" fmla="*/ 329429 h 7196138"/>
              <a:gd name="connsiteX38" fmla="*/ 2679620 w 4933949"/>
              <a:gd name="connsiteY38" fmla="*/ 2558999 h 7196138"/>
              <a:gd name="connsiteX39" fmla="*/ 2665125 w 4933949"/>
              <a:gd name="connsiteY39" fmla="*/ 2598530 h 7196138"/>
              <a:gd name="connsiteX40" fmla="*/ 2625594 w 4933949"/>
              <a:gd name="connsiteY40" fmla="*/ 2613025 h 7196138"/>
              <a:gd name="connsiteX41" fmla="*/ 2290893 w 4933949"/>
              <a:gd name="connsiteY41" fmla="*/ 2613025 h 7196138"/>
              <a:gd name="connsiteX42" fmla="*/ 2250044 w 4933949"/>
              <a:gd name="connsiteY42" fmla="*/ 2598530 h 7196138"/>
              <a:gd name="connsiteX43" fmla="*/ 2235549 w 4933949"/>
              <a:gd name="connsiteY43" fmla="*/ 2558999 h 7196138"/>
              <a:gd name="connsiteX44" fmla="*/ 2235549 w 4933949"/>
              <a:gd name="connsiteY44" fmla="*/ 329429 h 7196138"/>
              <a:gd name="connsiteX45" fmla="*/ 1842869 w 4933949"/>
              <a:gd name="connsiteY45" fmla="*/ 329429 h 7196138"/>
              <a:gd name="connsiteX46" fmla="*/ 1802020 w 4933949"/>
              <a:gd name="connsiteY46" fmla="*/ 314934 h 7196138"/>
              <a:gd name="connsiteX47" fmla="*/ 1787525 w 4933949"/>
              <a:gd name="connsiteY47" fmla="*/ 275402 h 7196138"/>
              <a:gd name="connsiteX48" fmla="*/ 1787525 w 4933949"/>
              <a:gd name="connsiteY48" fmla="*/ 54027 h 7196138"/>
              <a:gd name="connsiteX49" fmla="*/ 1802020 w 4933949"/>
              <a:gd name="connsiteY49" fmla="*/ 14495 h 7196138"/>
              <a:gd name="connsiteX50" fmla="*/ 1842869 w 4933949"/>
              <a:gd name="connsiteY50" fmla="*/ 0 h 7196138"/>
              <a:gd name="connsiteX51" fmla="*/ 317544 w 4933949"/>
              <a:gd name="connsiteY51" fmla="*/ 0 h 7196138"/>
              <a:gd name="connsiteX52" fmla="*/ 972349 w 4933949"/>
              <a:gd name="connsiteY52" fmla="*/ 0 h 7196138"/>
              <a:gd name="connsiteX53" fmla="*/ 1476958 w 4933949"/>
              <a:gd name="connsiteY53" fmla="*/ 179209 h 7196138"/>
              <a:gd name="connsiteX54" fmla="*/ 1619250 w 4933949"/>
              <a:gd name="connsiteY54" fmla="*/ 1025181 h 7196138"/>
              <a:gd name="connsiteX55" fmla="*/ 1619250 w 4933949"/>
              <a:gd name="connsiteY55" fmla="*/ 1587845 h 7196138"/>
              <a:gd name="connsiteX56" fmla="*/ 1476958 w 4933949"/>
              <a:gd name="connsiteY56" fmla="*/ 2433816 h 7196138"/>
              <a:gd name="connsiteX57" fmla="*/ 972349 w 4933949"/>
              <a:gd name="connsiteY57" fmla="*/ 2613025 h 7196138"/>
              <a:gd name="connsiteX58" fmla="*/ 317544 w 4933949"/>
              <a:gd name="connsiteY58" fmla="*/ 2613025 h 7196138"/>
              <a:gd name="connsiteX59" fmla="*/ 278018 w 4933949"/>
              <a:gd name="connsiteY59" fmla="*/ 2598530 h 7196138"/>
              <a:gd name="connsiteX60" fmla="*/ 263525 w 4933949"/>
              <a:gd name="connsiteY60" fmla="*/ 2558999 h 7196138"/>
              <a:gd name="connsiteX61" fmla="*/ 263525 w 4933949"/>
              <a:gd name="connsiteY61" fmla="*/ 54027 h 7196138"/>
              <a:gd name="connsiteX62" fmla="*/ 278018 w 4933949"/>
              <a:gd name="connsiteY62" fmla="*/ 14495 h 7196138"/>
              <a:gd name="connsiteX63" fmla="*/ 317544 w 4933949"/>
              <a:gd name="connsiteY63" fmla="*/ 0 h 7196138"/>
              <a:gd name="connsiteX64" fmla="*/ 3359213 w 4933949"/>
              <a:gd name="connsiteY64" fmla="*/ 0 h 7196138"/>
              <a:gd name="connsiteX65" fmla="*/ 3664991 w 4933949"/>
              <a:gd name="connsiteY65" fmla="*/ 0 h 7196138"/>
              <a:gd name="connsiteX66" fmla="*/ 3705850 w 4933949"/>
              <a:gd name="connsiteY66" fmla="*/ 14497 h 7196138"/>
              <a:gd name="connsiteX67" fmla="*/ 3720348 w 4933949"/>
              <a:gd name="connsiteY67" fmla="*/ 54035 h 7196138"/>
              <a:gd name="connsiteX68" fmla="*/ 3720348 w 4933949"/>
              <a:gd name="connsiteY68" fmla="*/ 1903062 h 7196138"/>
              <a:gd name="connsiteX69" fmla="*/ 3798111 w 4933949"/>
              <a:gd name="connsiteY69" fmla="*/ 2279984 h 7196138"/>
              <a:gd name="connsiteX70" fmla="*/ 3976042 w 4933949"/>
              <a:gd name="connsiteY70" fmla="*/ 2349833 h 7196138"/>
              <a:gd name="connsiteX71" fmla="*/ 4163200 w 4933949"/>
              <a:gd name="connsiteY71" fmla="*/ 2279984 h 7196138"/>
              <a:gd name="connsiteX72" fmla="*/ 4240963 w 4933949"/>
              <a:gd name="connsiteY72" fmla="*/ 1903062 h 7196138"/>
              <a:gd name="connsiteX73" fmla="*/ 4240963 w 4933949"/>
              <a:gd name="connsiteY73" fmla="*/ 54035 h 7196138"/>
              <a:gd name="connsiteX74" fmla="*/ 4255461 w 4933949"/>
              <a:gd name="connsiteY74" fmla="*/ 14497 h 7196138"/>
              <a:gd name="connsiteX75" fmla="*/ 4295001 w 4933949"/>
              <a:gd name="connsiteY75" fmla="*/ 0 h 7196138"/>
              <a:gd name="connsiteX76" fmla="*/ 4602098 w 4933949"/>
              <a:gd name="connsiteY76" fmla="*/ 0 h 7196138"/>
              <a:gd name="connsiteX77" fmla="*/ 4641638 w 4933949"/>
              <a:gd name="connsiteY77" fmla="*/ 14497 h 7196138"/>
              <a:gd name="connsiteX78" fmla="*/ 4656136 w 4933949"/>
              <a:gd name="connsiteY78" fmla="*/ 54035 h 7196138"/>
              <a:gd name="connsiteX79" fmla="*/ 4656136 w 4933949"/>
              <a:gd name="connsiteY79" fmla="*/ 1904380 h 7196138"/>
              <a:gd name="connsiteX80" fmla="*/ 4507201 w 4933949"/>
              <a:gd name="connsiteY80" fmla="*/ 2459220 h 7196138"/>
              <a:gd name="connsiteX81" fmla="*/ 3981314 w 4933949"/>
              <a:gd name="connsiteY81" fmla="*/ 2646363 h 7196138"/>
              <a:gd name="connsiteX82" fmla="*/ 3447519 w 4933949"/>
              <a:gd name="connsiteY82" fmla="*/ 2459220 h 7196138"/>
              <a:gd name="connsiteX83" fmla="*/ 3305174 w 4933949"/>
              <a:gd name="connsiteY83" fmla="*/ 1904380 h 7196138"/>
              <a:gd name="connsiteX84" fmla="*/ 3305174 w 4933949"/>
              <a:gd name="connsiteY84" fmla="*/ 54035 h 7196138"/>
              <a:gd name="connsiteX85" fmla="*/ 3318354 w 4933949"/>
              <a:gd name="connsiteY85" fmla="*/ 14497 h 7196138"/>
              <a:gd name="connsiteX86" fmla="*/ 3359213 w 4933949"/>
              <a:gd name="connsiteY86" fmla="*/ 0 h 7196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933949" h="7196138">
                <a:moveTo>
                  <a:pt x="1050029" y="6094413"/>
                </a:moveTo>
                <a:cubicBezTo>
                  <a:pt x="2409664" y="6623557"/>
                  <a:pt x="2524285" y="6623557"/>
                  <a:pt x="3883920" y="6094413"/>
                </a:cubicBezTo>
                <a:cubicBezTo>
                  <a:pt x="3883920" y="6094413"/>
                  <a:pt x="3883920" y="6094413"/>
                  <a:pt x="4933949" y="6645934"/>
                </a:cubicBezTo>
                <a:cubicBezTo>
                  <a:pt x="4933949" y="6645934"/>
                  <a:pt x="4933949" y="6645934"/>
                  <a:pt x="3883920" y="7196138"/>
                </a:cubicBezTo>
                <a:cubicBezTo>
                  <a:pt x="2524285" y="6668311"/>
                  <a:pt x="2409664" y="6668311"/>
                  <a:pt x="1050029" y="7196138"/>
                </a:cubicBezTo>
                <a:cubicBezTo>
                  <a:pt x="1050029" y="7196138"/>
                  <a:pt x="1050029" y="7196138"/>
                  <a:pt x="0" y="6645934"/>
                </a:cubicBezTo>
                <a:cubicBezTo>
                  <a:pt x="0" y="6645934"/>
                  <a:pt x="0" y="6645934"/>
                  <a:pt x="1050029" y="6094413"/>
                </a:cubicBezTo>
                <a:close/>
                <a:moveTo>
                  <a:pt x="1050029" y="4730750"/>
                </a:moveTo>
                <a:cubicBezTo>
                  <a:pt x="2409664" y="5260657"/>
                  <a:pt x="2524285" y="5260657"/>
                  <a:pt x="3883920" y="4730750"/>
                </a:cubicBezTo>
                <a:cubicBezTo>
                  <a:pt x="3883920" y="4730750"/>
                  <a:pt x="3883920" y="4730750"/>
                  <a:pt x="4933949" y="5283066"/>
                </a:cubicBezTo>
                <a:cubicBezTo>
                  <a:pt x="4933949" y="5283066"/>
                  <a:pt x="4933949" y="5283066"/>
                  <a:pt x="3883920" y="5834063"/>
                </a:cubicBezTo>
                <a:cubicBezTo>
                  <a:pt x="2524285" y="5305475"/>
                  <a:pt x="2409664" y="5305475"/>
                  <a:pt x="1050029" y="5834063"/>
                </a:cubicBezTo>
                <a:cubicBezTo>
                  <a:pt x="1050029" y="5834063"/>
                  <a:pt x="1050029" y="5834063"/>
                  <a:pt x="0" y="5283066"/>
                </a:cubicBezTo>
                <a:cubicBezTo>
                  <a:pt x="0" y="5283066"/>
                  <a:pt x="0" y="5283066"/>
                  <a:pt x="1050029" y="4730750"/>
                </a:cubicBezTo>
                <a:close/>
                <a:moveTo>
                  <a:pt x="1050029" y="3368675"/>
                </a:moveTo>
                <a:cubicBezTo>
                  <a:pt x="2409664" y="3898582"/>
                  <a:pt x="2524285" y="3898582"/>
                  <a:pt x="3883920" y="3368675"/>
                </a:cubicBezTo>
                <a:cubicBezTo>
                  <a:pt x="3883920" y="3368675"/>
                  <a:pt x="3883920" y="3368675"/>
                  <a:pt x="4933949" y="3920991"/>
                </a:cubicBezTo>
                <a:cubicBezTo>
                  <a:pt x="4933949" y="3920991"/>
                  <a:pt x="4933949" y="3920991"/>
                  <a:pt x="3883920" y="4471988"/>
                </a:cubicBezTo>
                <a:cubicBezTo>
                  <a:pt x="2524285" y="3943400"/>
                  <a:pt x="2409664" y="3943400"/>
                  <a:pt x="1050029" y="4471988"/>
                </a:cubicBezTo>
                <a:cubicBezTo>
                  <a:pt x="1050029" y="4471988"/>
                  <a:pt x="1050029" y="4471988"/>
                  <a:pt x="0" y="3920991"/>
                </a:cubicBezTo>
                <a:cubicBezTo>
                  <a:pt x="0" y="3920991"/>
                  <a:pt x="0" y="3920991"/>
                  <a:pt x="1050029" y="3368675"/>
                </a:cubicBezTo>
                <a:close/>
                <a:moveTo>
                  <a:pt x="678543" y="305710"/>
                </a:moveTo>
                <a:lnTo>
                  <a:pt x="678543" y="2307316"/>
                </a:lnTo>
                <a:cubicBezTo>
                  <a:pt x="678543" y="2307316"/>
                  <a:pt x="678543" y="2307316"/>
                  <a:pt x="909109" y="2307316"/>
                </a:cubicBezTo>
                <a:cubicBezTo>
                  <a:pt x="1011875" y="2307316"/>
                  <a:pt x="1072481" y="2291503"/>
                  <a:pt x="1119911" y="2234842"/>
                </a:cubicBezTo>
                <a:cubicBezTo>
                  <a:pt x="1192375" y="2147873"/>
                  <a:pt x="1198962" y="1971299"/>
                  <a:pt x="1198962" y="1615517"/>
                </a:cubicBezTo>
                <a:cubicBezTo>
                  <a:pt x="1198962" y="1615517"/>
                  <a:pt x="1198962" y="1615517"/>
                  <a:pt x="1198962" y="996191"/>
                </a:cubicBezTo>
                <a:cubicBezTo>
                  <a:pt x="1198962" y="641727"/>
                  <a:pt x="1192375" y="465153"/>
                  <a:pt x="1119911" y="378184"/>
                </a:cubicBezTo>
                <a:cubicBezTo>
                  <a:pt x="1072481" y="321522"/>
                  <a:pt x="1011875" y="305710"/>
                  <a:pt x="909109" y="305710"/>
                </a:cubicBezTo>
                <a:cubicBezTo>
                  <a:pt x="909109" y="305710"/>
                  <a:pt x="909109" y="305710"/>
                  <a:pt x="678543" y="305710"/>
                </a:cubicBezTo>
                <a:close/>
                <a:moveTo>
                  <a:pt x="1842869" y="0"/>
                </a:moveTo>
                <a:cubicBezTo>
                  <a:pt x="1842869" y="0"/>
                  <a:pt x="1842869" y="0"/>
                  <a:pt x="3073618" y="0"/>
                </a:cubicBezTo>
                <a:cubicBezTo>
                  <a:pt x="3093384" y="0"/>
                  <a:pt x="3105243" y="5271"/>
                  <a:pt x="3114467" y="14495"/>
                </a:cubicBezTo>
                <a:cubicBezTo>
                  <a:pt x="3122374" y="22401"/>
                  <a:pt x="3128962" y="34261"/>
                  <a:pt x="3128962" y="54027"/>
                </a:cubicBezTo>
                <a:cubicBezTo>
                  <a:pt x="3128962" y="54027"/>
                  <a:pt x="3128962" y="54027"/>
                  <a:pt x="3128962" y="275402"/>
                </a:cubicBezTo>
                <a:cubicBezTo>
                  <a:pt x="3128962" y="295168"/>
                  <a:pt x="3122374" y="307028"/>
                  <a:pt x="3114467" y="314934"/>
                </a:cubicBezTo>
                <a:cubicBezTo>
                  <a:pt x="3105243" y="324158"/>
                  <a:pt x="3093384" y="329429"/>
                  <a:pt x="3073618" y="329429"/>
                </a:cubicBezTo>
                <a:cubicBezTo>
                  <a:pt x="3073618" y="329429"/>
                  <a:pt x="3073618" y="329429"/>
                  <a:pt x="2679620" y="329429"/>
                </a:cubicBezTo>
                <a:cubicBezTo>
                  <a:pt x="2679620" y="329429"/>
                  <a:pt x="2679620" y="329429"/>
                  <a:pt x="2679620" y="2558999"/>
                </a:cubicBezTo>
                <a:cubicBezTo>
                  <a:pt x="2679620" y="2578765"/>
                  <a:pt x="2674349" y="2590624"/>
                  <a:pt x="2665125" y="2598530"/>
                </a:cubicBezTo>
                <a:cubicBezTo>
                  <a:pt x="2657219" y="2607755"/>
                  <a:pt x="2645360" y="2613025"/>
                  <a:pt x="2625594" y="2613025"/>
                </a:cubicBezTo>
                <a:cubicBezTo>
                  <a:pt x="2625594" y="2613025"/>
                  <a:pt x="2625594" y="2613025"/>
                  <a:pt x="2290893" y="2613025"/>
                </a:cubicBezTo>
                <a:cubicBezTo>
                  <a:pt x="2271128" y="2613025"/>
                  <a:pt x="2259268" y="2607755"/>
                  <a:pt x="2250044" y="2598530"/>
                </a:cubicBezTo>
                <a:cubicBezTo>
                  <a:pt x="2240820" y="2590624"/>
                  <a:pt x="2235549" y="2578765"/>
                  <a:pt x="2235549" y="2558999"/>
                </a:cubicBezTo>
                <a:cubicBezTo>
                  <a:pt x="2235549" y="2558999"/>
                  <a:pt x="2235549" y="2558999"/>
                  <a:pt x="2235549" y="329429"/>
                </a:cubicBezTo>
                <a:cubicBezTo>
                  <a:pt x="2235549" y="329429"/>
                  <a:pt x="2235549" y="329429"/>
                  <a:pt x="1842869" y="329429"/>
                </a:cubicBezTo>
                <a:cubicBezTo>
                  <a:pt x="1823104" y="329429"/>
                  <a:pt x="1811244" y="324158"/>
                  <a:pt x="1802020" y="314934"/>
                </a:cubicBezTo>
                <a:cubicBezTo>
                  <a:pt x="1792796" y="307028"/>
                  <a:pt x="1787525" y="295168"/>
                  <a:pt x="1787525" y="275402"/>
                </a:cubicBezTo>
                <a:cubicBezTo>
                  <a:pt x="1787525" y="275402"/>
                  <a:pt x="1787525" y="275402"/>
                  <a:pt x="1787525" y="54027"/>
                </a:cubicBezTo>
                <a:cubicBezTo>
                  <a:pt x="1787525" y="34261"/>
                  <a:pt x="1792796" y="22401"/>
                  <a:pt x="1802020" y="14495"/>
                </a:cubicBezTo>
                <a:cubicBezTo>
                  <a:pt x="1811244" y="5271"/>
                  <a:pt x="1823104" y="0"/>
                  <a:pt x="1842869" y="0"/>
                </a:cubicBezTo>
                <a:close/>
                <a:moveTo>
                  <a:pt x="317544" y="0"/>
                </a:moveTo>
                <a:cubicBezTo>
                  <a:pt x="317544" y="0"/>
                  <a:pt x="317544" y="0"/>
                  <a:pt x="972349" y="0"/>
                </a:cubicBezTo>
                <a:cubicBezTo>
                  <a:pt x="1226630" y="0"/>
                  <a:pt x="1382097" y="57980"/>
                  <a:pt x="1476958" y="179209"/>
                </a:cubicBezTo>
                <a:cubicBezTo>
                  <a:pt x="1615298" y="345241"/>
                  <a:pt x="1619250" y="614055"/>
                  <a:pt x="1619250" y="1025181"/>
                </a:cubicBezTo>
                <a:cubicBezTo>
                  <a:pt x="1619250" y="1025181"/>
                  <a:pt x="1619250" y="1025181"/>
                  <a:pt x="1619250" y="1587845"/>
                </a:cubicBezTo>
                <a:cubicBezTo>
                  <a:pt x="1619250" y="1998971"/>
                  <a:pt x="1615298" y="2267784"/>
                  <a:pt x="1476958" y="2433816"/>
                </a:cubicBezTo>
                <a:cubicBezTo>
                  <a:pt x="1382097" y="2555046"/>
                  <a:pt x="1226630" y="2613025"/>
                  <a:pt x="972349" y="2613025"/>
                </a:cubicBezTo>
                <a:cubicBezTo>
                  <a:pt x="972349" y="2613025"/>
                  <a:pt x="972349" y="2613025"/>
                  <a:pt x="317544" y="2613025"/>
                </a:cubicBezTo>
                <a:cubicBezTo>
                  <a:pt x="297781" y="2613025"/>
                  <a:pt x="285923" y="2607755"/>
                  <a:pt x="278018" y="2598530"/>
                </a:cubicBezTo>
                <a:cubicBezTo>
                  <a:pt x="268795" y="2590624"/>
                  <a:pt x="263525" y="2578765"/>
                  <a:pt x="263525" y="2558999"/>
                </a:cubicBezTo>
                <a:cubicBezTo>
                  <a:pt x="263525" y="2558999"/>
                  <a:pt x="263525" y="2558999"/>
                  <a:pt x="263525" y="54027"/>
                </a:cubicBezTo>
                <a:cubicBezTo>
                  <a:pt x="263525" y="34261"/>
                  <a:pt x="268795" y="22401"/>
                  <a:pt x="278018" y="14495"/>
                </a:cubicBezTo>
                <a:cubicBezTo>
                  <a:pt x="285923" y="5271"/>
                  <a:pt x="297781" y="0"/>
                  <a:pt x="317544" y="0"/>
                </a:cubicBezTo>
                <a:close/>
                <a:moveTo>
                  <a:pt x="3359213" y="0"/>
                </a:moveTo>
                <a:cubicBezTo>
                  <a:pt x="3359213" y="0"/>
                  <a:pt x="3359213" y="0"/>
                  <a:pt x="3664991" y="0"/>
                </a:cubicBezTo>
                <a:cubicBezTo>
                  <a:pt x="3684762" y="0"/>
                  <a:pt x="3696624" y="5272"/>
                  <a:pt x="3705850" y="14497"/>
                </a:cubicBezTo>
                <a:cubicBezTo>
                  <a:pt x="3715076" y="22405"/>
                  <a:pt x="3720348" y="34266"/>
                  <a:pt x="3720348" y="54035"/>
                </a:cubicBezTo>
                <a:cubicBezTo>
                  <a:pt x="3720348" y="54035"/>
                  <a:pt x="3720348" y="54035"/>
                  <a:pt x="3720348" y="1903062"/>
                </a:cubicBezTo>
                <a:cubicBezTo>
                  <a:pt x="3720348" y="2103384"/>
                  <a:pt x="3738800" y="2214089"/>
                  <a:pt x="3798111" y="2279984"/>
                </a:cubicBezTo>
                <a:cubicBezTo>
                  <a:pt x="3841605" y="2328747"/>
                  <a:pt x="3899597" y="2349833"/>
                  <a:pt x="3976042" y="2349833"/>
                </a:cubicBezTo>
                <a:cubicBezTo>
                  <a:pt x="4060395" y="2349833"/>
                  <a:pt x="4121023" y="2326111"/>
                  <a:pt x="4163200" y="2279984"/>
                </a:cubicBezTo>
                <a:cubicBezTo>
                  <a:pt x="4226464" y="2211453"/>
                  <a:pt x="4240963" y="2096795"/>
                  <a:pt x="4240963" y="1903062"/>
                </a:cubicBezTo>
                <a:cubicBezTo>
                  <a:pt x="4240963" y="1903062"/>
                  <a:pt x="4240963" y="1903062"/>
                  <a:pt x="4240963" y="54035"/>
                </a:cubicBezTo>
                <a:cubicBezTo>
                  <a:pt x="4240963" y="34266"/>
                  <a:pt x="4246235" y="22405"/>
                  <a:pt x="4255461" y="14497"/>
                </a:cubicBezTo>
                <a:cubicBezTo>
                  <a:pt x="4263369" y="5272"/>
                  <a:pt x="4276549" y="0"/>
                  <a:pt x="4295001" y="0"/>
                </a:cubicBezTo>
                <a:cubicBezTo>
                  <a:pt x="4295001" y="0"/>
                  <a:pt x="4295001" y="0"/>
                  <a:pt x="4602098" y="0"/>
                </a:cubicBezTo>
                <a:cubicBezTo>
                  <a:pt x="4621868" y="0"/>
                  <a:pt x="4633730" y="5272"/>
                  <a:pt x="4641638" y="14497"/>
                </a:cubicBezTo>
                <a:cubicBezTo>
                  <a:pt x="4650864" y="22405"/>
                  <a:pt x="4656136" y="34266"/>
                  <a:pt x="4656136" y="54035"/>
                </a:cubicBezTo>
                <a:cubicBezTo>
                  <a:pt x="4656136" y="54035"/>
                  <a:pt x="4656136" y="54035"/>
                  <a:pt x="4656136" y="1904380"/>
                </a:cubicBezTo>
                <a:cubicBezTo>
                  <a:pt x="4656136" y="2153465"/>
                  <a:pt x="4627140" y="2319521"/>
                  <a:pt x="4507201" y="2459220"/>
                </a:cubicBezTo>
                <a:cubicBezTo>
                  <a:pt x="4405714" y="2577832"/>
                  <a:pt x="4239645" y="2646363"/>
                  <a:pt x="3981314" y="2646363"/>
                </a:cubicBezTo>
                <a:cubicBezTo>
                  <a:pt x="3726938" y="2646363"/>
                  <a:pt x="3559550" y="2581786"/>
                  <a:pt x="3447519" y="2459220"/>
                </a:cubicBezTo>
                <a:cubicBezTo>
                  <a:pt x="3340760" y="2341926"/>
                  <a:pt x="3305174" y="2173233"/>
                  <a:pt x="3305174" y="1904380"/>
                </a:cubicBezTo>
                <a:cubicBezTo>
                  <a:pt x="3305174" y="1904380"/>
                  <a:pt x="3305174" y="1904380"/>
                  <a:pt x="3305174" y="54035"/>
                </a:cubicBezTo>
                <a:cubicBezTo>
                  <a:pt x="3305174" y="34266"/>
                  <a:pt x="3310446" y="22405"/>
                  <a:pt x="3318354" y="14497"/>
                </a:cubicBezTo>
                <a:cubicBezTo>
                  <a:pt x="3327580" y="5272"/>
                  <a:pt x="3339442" y="0"/>
                  <a:pt x="3359213"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da-DK"/>
          </a:p>
        </p:txBody>
      </p:sp>
    </p:spTree>
    <p:extLst>
      <p:ext uri="{BB962C8B-B14F-4D97-AF65-F5344CB8AC3E}">
        <p14:creationId xmlns:p14="http://schemas.microsoft.com/office/powerpoint/2010/main" val="232178610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9439047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A17E48-9619-4FB9-9F5E-DE804AC38BE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2C5B0EA-45B8-418E-86BE-8E1FBC25D8E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8298F85-8084-48F2-A2C7-7DFED0F2D217}"/>
              </a:ext>
            </a:extLst>
          </p:cNvPr>
          <p:cNvSpPr>
            <a:spLocks noGrp="1"/>
          </p:cNvSpPr>
          <p:nvPr>
            <p:ph type="dt" sz="half" idx="10"/>
          </p:nvPr>
        </p:nvSpPr>
        <p:spPr/>
        <p:txBody>
          <a:bodyPr/>
          <a:lstStyle/>
          <a:p>
            <a:pPr defTabSz="914309" fontAlgn="auto">
              <a:spcBef>
                <a:spcPts val="0"/>
              </a:spcBef>
              <a:spcAft>
                <a:spcPts val="0"/>
              </a:spcAft>
            </a:pPr>
            <a:fld id="{7E831AF1-21FE-49CA-B4F1-49194137C219}" type="datetimeFigureOut">
              <a:rPr lang="en-US" sz="1800" smtClean="0">
                <a:solidFill>
                  <a:srgbClr val="000000"/>
                </a:solidFill>
                <a:latin typeface="Arial"/>
                <a:ea typeface="+mn-ea"/>
              </a:rPr>
              <a:pPr defTabSz="914309" fontAlgn="auto">
                <a:spcBef>
                  <a:spcPts val="0"/>
                </a:spcBef>
                <a:spcAft>
                  <a:spcPts val="0"/>
                </a:spcAft>
              </a:pPr>
              <a:t>7/7/2025</a:t>
            </a:fld>
            <a:endParaRPr lang="en-US" sz="1800">
              <a:solidFill>
                <a:srgbClr val="000000"/>
              </a:solidFill>
              <a:latin typeface="Arial"/>
              <a:ea typeface="+mn-ea"/>
            </a:endParaRPr>
          </a:p>
        </p:txBody>
      </p:sp>
      <p:sp>
        <p:nvSpPr>
          <p:cNvPr id="5" name="Footer Placeholder 4">
            <a:extLst>
              <a:ext uri="{FF2B5EF4-FFF2-40B4-BE49-F238E27FC236}">
                <a16:creationId xmlns:a16="http://schemas.microsoft.com/office/drawing/2014/main" id="{D6B441CE-34E8-4144-A9A7-055598DD51CF}"/>
              </a:ext>
            </a:extLst>
          </p:cNvPr>
          <p:cNvSpPr>
            <a:spLocks noGrp="1"/>
          </p:cNvSpPr>
          <p:nvPr>
            <p:ph type="ftr" sz="quarter" idx="11"/>
          </p:nvPr>
        </p:nvSpPr>
        <p:spPr/>
        <p:txBody>
          <a:bodyPr/>
          <a:lstStyle/>
          <a:p>
            <a:pPr defTabSz="914309" fontAlgn="auto">
              <a:spcAft>
                <a:spcPts val="0"/>
              </a:spcAft>
            </a:pPr>
            <a:endParaRPr lang="en-US">
              <a:ea typeface="+mn-ea"/>
            </a:endParaRPr>
          </a:p>
        </p:txBody>
      </p:sp>
      <p:sp>
        <p:nvSpPr>
          <p:cNvPr id="6" name="Slide Number Placeholder 5">
            <a:extLst>
              <a:ext uri="{FF2B5EF4-FFF2-40B4-BE49-F238E27FC236}">
                <a16:creationId xmlns:a16="http://schemas.microsoft.com/office/drawing/2014/main" id="{E9C91C40-19F2-446C-8701-9C4598D663ED}"/>
              </a:ext>
            </a:extLst>
          </p:cNvPr>
          <p:cNvSpPr>
            <a:spLocks noGrp="1"/>
          </p:cNvSpPr>
          <p:nvPr>
            <p:ph type="sldNum" sz="quarter" idx="12"/>
          </p:nvPr>
        </p:nvSpPr>
        <p:spPr/>
        <p:txBody>
          <a:bodyPr/>
          <a:lstStyle/>
          <a:p>
            <a:pPr defTabSz="914309" fontAlgn="auto">
              <a:spcBef>
                <a:spcPts val="0"/>
              </a:spcBef>
              <a:spcAft>
                <a:spcPts val="0"/>
              </a:spcAft>
            </a:pPr>
            <a:fld id="{D9058175-A78D-4A79-A219-5987CD7EC5ED}" type="slidenum">
              <a:rPr lang="en-US" smtClean="0">
                <a:solidFill>
                  <a:srgbClr val="FFFFFF"/>
                </a:solidFill>
                <a:ea typeface="+mn-ea"/>
              </a:rPr>
              <a:pPr defTabSz="914309" fontAlgn="auto">
                <a:spcBef>
                  <a:spcPts val="0"/>
                </a:spcBef>
                <a:spcAft>
                  <a:spcPts val="0"/>
                </a:spcAft>
              </a:pPr>
              <a:t>‹#›</a:t>
            </a:fld>
            <a:endParaRPr lang="en-US">
              <a:solidFill>
                <a:srgbClr val="FFFFFF"/>
              </a:solidFill>
              <a:ea typeface="+mn-ea"/>
            </a:endParaRPr>
          </a:p>
        </p:txBody>
      </p:sp>
    </p:spTree>
    <p:extLst>
      <p:ext uri="{BB962C8B-B14F-4D97-AF65-F5344CB8AC3E}">
        <p14:creationId xmlns:p14="http://schemas.microsoft.com/office/powerpoint/2010/main" val="18405701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Tom">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5D18604-3F65-4816-B5A0-7650C51159A1}"/>
              </a:ext>
            </a:extLst>
          </p:cNvPr>
          <p:cNvGraphicFramePr>
            <a:graphicFrameLocks noChangeAspect="1"/>
          </p:cNvGraphicFramePr>
          <p:nvPr userDrawn="1">
            <p:custDataLst>
              <p:tags r:id="rId1"/>
            </p:custDataLst>
          </p:nvPr>
        </p:nvGraphicFramePr>
        <p:xfrm>
          <a:off x="1589" y="1591"/>
          <a:ext cx="1587" cy="1587"/>
        </p:xfrm>
        <a:graphic>
          <a:graphicData uri="http://schemas.openxmlformats.org/presentationml/2006/ole">
            <mc:AlternateContent xmlns:mc="http://schemas.openxmlformats.org/markup-compatibility/2006">
              <mc:Choice xmlns:v="urn:schemas-microsoft-com:vml" Requires="v">
                <p:oleObj name="think-cell Slide" r:id="rId3" imgW="180" imgH="180" progId="TCLayout.ActiveDocument.1">
                  <p:embed/>
                </p:oleObj>
              </mc:Choice>
              <mc:Fallback>
                <p:oleObj name="think-cell Slide" r:id="rId3" imgW="180" imgH="180" progId="TCLayout.ActiveDocument.1">
                  <p:embed/>
                  <p:pic>
                    <p:nvPicPr>
                      <p:cNvPr id="5" name="Object 4" hidden="1">
                        <a:extLst>
                          <a:ext uri="{FF2B5EF4-FFF2-40B4-BE49-F238E27FC236}">
                            <a16:creationId xmlns:a16="http://schemas.microsoft.com/office/drawing/2014/main" id="{05D18604-3F65-4816-B5A0-7650C51159A1}"/>
                          </a:ext>
                        </a:extLst>
                      </p:cNvPr>
                      <p:cNvPicPr/>
                      <p:nvPr/>
                    </p:nvPicPr>
                    <p:blipFill>
                      <a:blip r:embed="rId4"/>
                      <a:stretch>
                        <a:fillRect/>
                      </a:stretch>
                    </p:blipFill>
                    <p:spPr>
                      <a:xfrm>
                        <a:off x="1589" y="1591"/>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B28743F8-E60C-4F01-B44A-730C655A410A}"/>
              </a:ext>
            </a:extLst>
          </p:cNvPr>
          <p:cNvSpPr/>
          <p:nvPr userDrawn="1"/>
        </p:nvSpPr>
        <p:spPr>
          <a:xfrm>
            <a:off x="-2004311" y="2644632"/>
            <a:ext cx="1572226" cy="104645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endParaRPr lang="en-GB" sz="1800" b="1" err="1">
              <a:latin typeface="Calibri" panose="020F0502020204030204" pitchFamily="34" charset="0"/>
            </a:endParaRPr>
          </a:p>
        </p:txBody>
      </p:sp>
      <p:pic>
        <p:nvPicPr>
          <p:cNvPr id="26" name="Picture 25" descr="Logo, company name&#10;&#10;Description automatically generated">
            <a:extLst>
              <a:ext uri="{FF2B5EF4-FFF2-40B4-BE49-F238E27FC236}">
                <a16:creationId xmlns:a16="http://schemas.microsoft.com/office/drawing/2014/main" id="{3FB34C17-2E0A-481F-812B-A7646E7FBADC}"/>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2040398" y="2644632"/>
            <a:ext cx="1572226" cy="1046453"/>
          </a:xfrm>
          <a:prstGeom prst="rect">
            <a:avLst/>
          </a:prstGeom>
        </p:spPr>
      </p:pic>
      <p:pic>
        <p:nvPicPr>
          <p:cNvPr id="27" name="Picture 26">
            <a:extLst>
              <a:ext uri="{FF2B5EF4-FFF2-40B4-BE49-F238E27FC236}">
                <a16:creationId xmlns:a16="http://schemas.microsoft.com/office/drawing/2014/main" id="{67FFB509-A6DC-4A34-BF16-75D40F2688D5}"/>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p:blipFill>
        <p:spPr>
          <a:xfrm>
            <a:off x="9334813" y="5732747"/>
            <a:ext cx="2855600" cy="1125252"/>
          </a:xfrm>
          <a:prstGeom prst="rect">
            <a:avLst/>
          </a:prstGeom>
        </p:spPr>
      </p:pic>
      <p:sp>
        <p:nvSpPr>
          <p:cNvPr id="30" name="Slide Number Placeholder 2">
            <a:extLst>
              <a:ext uri="{FF2B5EF4-FFF2-40B4-BE49-F238E27FC236}">
                <a16:creationId xmlns:a16="http://schemas.microsoft.com/office/drawing/2014/main" id="{45C5535B-6A8A-4005-A57D-CB8CC8893BEC}"/>
              </a:ext>
            </a:extLst>
          </p:cNvPr>
          <p:cNvSpPr>
            <a:spLocks noGrp="1"/>
          </p:cNvSpPr>
          <p:nvPr>
            <p:ph type="sldNum" sz="quarter" idx="4"/>
          </p:nvPr>
        </p:nvSpPr>
        <p:spPr>
          <a:xfrm>
            <a:off x="11293774" y="6382794"/>
            <a:ext cx="336230" cy="157163"/>
          </a:xfrm>
          <a:prstGeom prst="rect">
            <a:avLst/>
          </a:prstGeom>
        </p:spPr>
        <p:txBody>
          <a:bodyPr vert="horz" lIns="91440" tIns="45720" rIns="91440" bIns="45720" rtlCol="0" anchor="ctr"/>
          <a:lstStyle>
            <a:lvl1pPr algn="ctr">
              <a:defRPr sz="900">
                <a:solidFill>
                  <a:schemeClr val="bg1">
                    <a:lumMod val="50000"/>
                  </a:schemeClr>
                </a:solidFill>
                <a:latin typeface="Calibri" panose="020F0502020204030204" pitchFamily="34" charset="0"/>
                <a:cs typeface="Calibri" panose="020F0502020204030204" pitchFamily="34" charset="0"/>
              </a:defRPr>
            </a:lvl1pPr>
          </a:lstStyle>
          <a:p>
            <a:fld id="{7868EBB6-C592-4C38-B797-CBBD52CA1C80}" type="slidenum">
              <a:rPr lang="en-US" smtClean="0"/>
              <a:pPr/>
              <a:t>‹#›</a:t>
            </a:fld>
            <a:endParaRPr lang="en-US"/>
          </a:p>
        </p:txBody>
      </p:sp>
      <p:sp>
        <p:nvSpPr>
          <p:cNvPr id="28" name="Copyright">
            <a:extLst>
              <a:ext uri="{FF2B5EF4-FFF2-40B4-BE49-F238E27FC236}">
                <a16:creationId xmlns:a16="http://schemas.microsoft.com/office/drawing/2014/main" id="{0598EC7F-9C07-44B6-98FC-C556BEF3DAB3}"/>
              </a:ext>
            </a:extLst>
          </p:cNvPr>
          <p:cNvSpPr txBox="1"/>
          <p:nvPr userDrawn="1"/>
        </p:nvSpPr>
        <p:spPr>
          <a:xfrm>
            <a:off x="4775260" y="6661247"/>
            <a:ext cx="5133307" cy="138499"/>
          </a:xfrm>
          <a:prstGeom prst="rect">
            <a:avLst/>
          </a:prstGeom>
          <a:noFill/>
        </p:spPr>
        <p:txBody>
          <a:bodyPr wrap="square" lIns="0" tIns="0" rIns="0" bIns="0" rtlCol="0" anchor="t">
            <a:spAutoFit/>
          </a:bodyPr>
          <a:lstStyle/>
          <a:p>
            <a:r>
              <a:rPr lang="en-US" sz="900" noProof="0">
                <a:solidFill>
                  <a:schemeClr val="bg1">
                    <a:lumMod val="50000"/>
                  </a:schemeClr>
                </a:solidFill>
                <a:latin typeface="Calibri" panose="020F0502020204030204" pitchFamily="34" charset="0"/>
              </a:rPr>
              <a:t>© 2022 Water Walley Denmark</a:t>
            </a:r>
          </a:p>
        </p:txBody>
      </p:sp>
      <p:grpSp>
        <p:nvGrpSpPr>
          <p:cNvPr id="31" name="Group 30">
            <a:extLst>
              <a:ext uri="{FF2B5EF4-FFF2-40B4-BE49-F238E27FC236}">
                <a16:creationId xmlns:a16="http://schemas.microsoft.com/office/drawing/2014/main" id="{F0D39D83-E6AA-4369-9F7E-27EC7A06A170}"/>
              </a:ext>
            </a:extLst>
          </p:cNvPr>
          <p:cNvGrpSpPr/>
          <p:nvPr userDrawn="1"/>
        </p:nvGrpSpPr>
        <p:grpSpPr>
          <a:xfrm>
            <a:off x="12366246" y="54668"/>
            <a:ext cx="4705244" cy="5418221"/>
            <a:chOff x="12367854" y="54665"/>
            <a:chExt cx="4705857" cy="5418221"/>
          </a:xfrm>
        </p:grpSpPr>
        <p:sp>
          <p:nvSpPr>
            <p:cNvPr id="32" name="Rectangle 31">
              <a:extLst>
                <a:ext uri="{FF2B5EF4-FFF2-40B4-BE49-F238E27FC236}">
                  <a16:creationId xmlns:a16="http://schemas.microsoft.com/office/drawing/2014/main" id="{A21A4AE3-EC90-408F-B416-7F5F6653BBA8}"/>
                </a:ext>
              </a:extLst>
            </p:cNvPr>
            <p:cNvSpPr/>
            <p:nvPr userDrawn="1"/>
          </p:nvSpPr>
          <p:spPr>
            <a:xfrm>
              <a:off x="12482325" y="152728"/>
              <a:ext cx="95491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a:solidFill>
                    <a:schemeClr val="tx1"/>
                  </a:solidFill>
                  <a:latin typeface="Calibri" panose="020F0502020204030204" pitchFamily="34" charset="0"/>
                </a:rPr>
                <a:t>PRMÆRE</a:t>
              </a:r>
            </a:p>
            <a:p>
              <a:pPr algn="ctr"/>
              <a:r>
                <a:rPr lang="en-US" sz="1400" b="1">
                  <a:solidFill>
                    <a:schemeClr val="tx1"/>
                  </a:solidFill>
                  <a:latin typeface="Calibri" panose="020F0502020204030204" pitchFamily="34" charset="0"/>
                </a:rPr>
                <a:t>FARVER</a:t>
              </a:r>
            </a:p>
          </p:txBody>
        </p:sp>
        <p:sp>
          <p:nvSpPr>
            <p:cNvPr id="52" name="Rectangle 51">
              <a:extLst>
                <a:ext uri="{FF2B5EF4-FFF2-40B4-BE49-F238E27FC236}">
                  <a16:creationId xmlns:a16="http://schemas.microsoft.com/office/drawing/2014/main" id="{7AADDEE8-DFCA-4A03-9B25-66D88162981B}"/>
                </a:ext>
              </a:extLst>
            </p:cNvPr>
            <p:cNvSpPr/>
            <p:nvPr userDrawn="1"/>
          </p:nvSpPr>
          <p:spPr>
            <a:xfrm>
              <a:off x="13718320" y="585546"/>
              <a:ext cx="955675" cy="957263"/>
            </a:xfrm>
            <a:prstGeom prst="rect">
              <a:avLst/>
            </a:prstGeom>
            <a:solidFill>
              <a:srgbClr val="014D6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b="1">
                  <a:solidFill>
                    <a:schemeClr val="tx1"/>
                  </a:solidFill>
                  <a:latin typeface="Calibri" panose="020F0502020204030204" pitchFamily="34" charset="0"/>
                </a:rPr>
                <a:t>R: 22</a:t>
              </a:r>
            </a:p>
            <a:p>
              <a:pPr algn="ctr"/>
              <a:r>
                <a:rPr lang="en-US" sz="1000" b="1">
                  <a:solidFill>
                    <a:schemeClr val="tx1"/>
                  </a:solidFill>
                  <a:latin typeface="Calibri" panose="020F0502020204030204" pitchFamily="34" charset="0"/>
                </a:rPr>
                <a:t>G: 78</a:t>
              </a:r>
            </a:p>
            <a:p>
              <a:pPr algn="ctr"/>
              <a:r>
                <a:rPr lang="en-US" sz="1000" b="1">
                  <a:solidFill>
                    <a:schemeClr val="tx1"/>
                  </a:solidFill>
                  <a:latin typeface="Calibri" panose="020F0502020204030204" pitchFamily="34" charset="0"/>
                </a:rPr>
                <a:t>B: 102</a:t>
              </a:r>
            </a:p>
            <a:p>
              <a:pPr algn="ctr"/>
              <a:r>
                <a:rPr lang="en-US" sz="1000" b="1">
                  <a:solidFill>
                    <a:schemeClr val="tx1"/>
                  </a:solidFill>
                  <a:latin typeface="Calibri" panose="020F0502020204030204" pitchFamily="34" charset="0"/>
                </a:rPr>
                <a:t>#014D65</a:t>
              </a:r>
            </a:p>
          </p:txBody>
        </p:sp>
        <p:sp>
          <p:nvSpPr>
            <p:cNvPr id="53" name="Rectangle 52">
              <a:extLst>
                <a:ext uri="{FF2B5EF4-FFF2-40B4-BE49-F238E27FC236}">
                  <a16:creationId xmlns:a16="http://schemas.microsoft.com/office/drawing/2014/main" id="{5809C13E-7A29-4CFA-9122-2609CBE05A5A}"/>
                </a:ext>
              </a:extLst>
            </p:cNvPr>
            <p:cNvSpPr/>
            <p:nvPr userDrawn="1"/>
          </p:nvSpPr>
          <p:spPr>
            <a:xfrm>
              <a:off x="12471109" y="2003045"/>
              <a:ext cx="955675" cy="957600"/>
            </a:xfrm>
            <a:prstGeom prst="rect">
              <a:avLst/>
            </a:prstGeom>
            <a:solidFill>
              <a:srgbClr val="CBDBC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b="1">
                  <a:solidFill>
                    <a:schemeClr val="tx1"/>
                  </a:solidFill>
                  <a:latin typeface="Calibri" panose="020F0502020204030204" pitchFamily="34" charset="0"/>
                </a:rPr>
                <a:t>R</a:t>
              </a:r>
              <a:r>
                <a:rPr lang="hu-HU" sz="1000" b="1">
                  <a:solidFill>
                    <a:schemeClr val="tx1"/>
                  </a:solidFill>
                  <a:latin typeface="Calibri" panose="020F0502020204030204" pitchFamily="34" charset="0"/>
                </a:rPr>
                <a:t>:</a:t>
              </a:r>
              <a:r>
                <a:rPr lang="en-US" sz="1000" b="1">
                  <a:solidFill>
                    <a:schemeClr val="tx1"/>
                  </a:solidFill>
                  <a:latin typeface="Calibri" panose="020F0502020204030204" pitchFamily="34" charset="0"/>
                </a:rPr>
                <a:t> 203</a:t>
              </a:r>
            </a:p>
            <a:p>
              <a:pPr algn="ctr"/>
              <a:r>
                <a:rPr lang="en-US" sz="1000" b="1">
                  <a:solidFill>
                    <a:schemeClr val="tx1"/>
                  </a:solidFill>
                  <a:latin typeface="Calibri" panose="020F0502020204030204" pitchFamily="34" charset="0"/>
                </a:rPr>
                <a:t>G: 214</a:t>
              </a:r>
            </a:p>
            <a:p>
              <a:pPr algn="ctr"/>
              <a:r>
                <a:rPr lang="en-US" sz="1000" b="1">
                  <a:solidFill>
                    <a:schemeClr val="tx1"/>
                  </a:solidFill>
                  <a:latin typeface="Calibri" panose="020F0502020204030204" pitchFamily="34" charset="0"/>
                </a:rPr>
                <a:t>B: 206</a:t>
              </a:r>
            </a:p>
            <a:p>
              <a:pPr algn="ctr"/>
              <a:r>
                <a:rPr lang="en-US" sz="1000" b="1">
                  <a:solidFill>
                    <a:schemeClr val="tx1"/>
                  </a:solidFill>
                  <a:latin typeface="Calibri" panose="020F0502020204030204" pitchFamily="34" charset="0"/>
                </a:rPr>
                <a:t>#CBDBCE</a:t>
              </a:r>
            </a:p>
          </p:txBody>
        </p:sp>
        <p:sp>
          <p:nvSpPr>
            <p:cNvPr id="54" name="Rectangle 53">
              <a:extLst>
                <a:ext uri="{FF2B5EF4-FFF2-40B4-BE49-F238E27FC236}">
                  <a16:creationId xmlns:a16="http://schemas.microsoft.com/office/drawing/2014/main" id="{47281DFF-9932-4B2D-B13B-6224B406D2A5}"/>
                </a:ext>
              </a:extLst>
            </p:cNvPr>
            <p:cNvSpPr/>
            <p:nvPr userDrawn="1"/>
          </p:nvSpPr>
          <p:spPr>
            <a:xfrm>
              <a:off x="12471109" y="583661"/>
              <a:ext cx="955675" cy="957263"/>
            </a:xfrm>
            <a:prstGeom prst="rect">
              <a:avLst/>
            </a:prstGeom>
            <a:solidFill>
              <a:srgbClr val="00A66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b="1">
                  <a:solidFill>
                    <a:schemeClr val="tx1"/>
                  </a:solidFill>
                  <a:latin typeface="Calibri" panose="020F0502020204030204" pitchFamily="34" charset="0"/>
                </a:rPr>
                <a:t>R: 0</a:t>
              </a:r>
            </a:p>
            <a:p>
              <a:pPr algn="ctr"/>
              <a:r>
                <a:rPr lang="en-US" sz="1000" b="1">
                  <a:solidFill>
                    <a:schemeClr val="tx1"/>
                  </a:solidFill>
                  <a:latin typeface="Calibri" panose="020F0502020204030204" pitchFamily="34" charset="0"/>
                </a:rPr>
                <a:t>G: 166</a:t>
              </a:r>
            </a:p>
            <a:p>
              <a:pPr algn="ctr"/>
              <a:r>
                <a:rPr lang="en-US" sz="1000" b="1">
                  <a:solidFill>
                    <a:schemeClr val="tx1"/>
                  </a:solidFill>
                  <a:latin typeface="Calibri" panose="020F0502020204030204" pitchFamily="34" charset="0"/>
                </a:rPr>
                <a:t>B: 99</a:t>
              </a:r>
            </a:p>
            <a:p>
              <a:pPr algn="ctr"/>
              <a:r>
                <a:rPr lang="en-US" sz="1000" b="1">
                  <a:solidFill>
                    <a:schemeClr val="tx1"/>
                  </a:solidFill>
                  <a:latin typeface="Calibri" panose="020F0502020204030204" pitchFamily="34" charset="0"/>
                </a:rPr>
                <a:t>#00A662</a:t>
              </a:r>
            </a:p>
          </p:txBody>
        </p:sp>
        <p:sp>
          <p:nvSpPr>
            <p:cNvPr id="55" name="Rectangle 54">
              <a:extLst>
                <a:ext uri="{FF2B5EF4-FFF2-40B4-BE49-F238E27FC236}">
                  <a16:creationId xmlns:a16="http://schemas.microsoft.com/office/drawing/2014/main" id="{C504B29A-335F-4182-8160-66591D2BEA29}"/>
                </a:ext>
              </a:extLst>
            </p:cNvPr>
            <p:cNvSpPr/>
            <p:nvPr userDrawn="1"/>
          </p:nvSpPr>
          <p:spPr>
            <a:xfrm>
              <a:off x="12471108" y="3422766"/>
              <a:ext cx="955675" cy="957263"/>
            </a:xfrm>
            <a:prstGeom prst="rect">
              <a:avLst/>
            </a:prstGeom>
            <a:solidFill>
              <a:srgbClr val="16264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b="1">
                  <a:solidFill>
                    <a:schemeClr val="bg1"/>
                  </a:solidFill>
                  <a:latin typeface="Calibri" panose="020F0502020204030204" pitchFamily="34" charset="0"/>
                </a:rPr>
                <a:t>R: 23</a:t>
              </a:r>
            </a:p>
            <a:p>
              <a:pPr algn="ctr"/>
              <a:r>
                <a:rPr lang="en-US" sz="1000" b="1">
                  <a:solidFill>
                    <a:schemeClr val="bg1"/>
                  </a:solidFill>
                  <a:latin typeface="Calibri" panose="020F0502020204030204" pitchFamily="34" charset="0"/>
                </a:rPr>
                <a:t>G: 39</a:t>
              </a:r>
            </a:p>
            <a:p>
              <a:pPr algn="ctr"/>
              <a:r>
                <a:rPr lang="en-US" sz="1000" b="1">
                  <a:solidFill>
                    <a:schemeClr val="bg1"/>
                  </a:solidFill>
                  <a:latin typeface="Calibri" panose="020F0502020204030204" pitchFamily="34" charset="0"/>
                </a:rPr>
                <a:t>B: 79</a:t>
              </a:r>
            </a:p>
            <a:p>
              <a:pPr algn="ctr"/>
              <a:r>
                <a:rPr lang="en-US" sz="1000" b="1">
                  <a:solidFill>
                    <a:schemeClr val="bg1"/>
                  </a:solidFill>
                  <a:latin typeface="Calibri" panose="020F0502020204030204" pitchFamily="34" charset="0"/>
                </a:rPr>
                <a:t>#16264F</a:t>
              </a:r>
            </a:p>
          </p:txBody>
        </p:sp>
        <p:sp>
          <p:nvSpPr>
            <p:cNvPr id="56" name="Rectangle 55">
              <a:extLst>
                <a:ext uri="{FF2B5EF4-FFF2-40B4-BE49-F238E27FC236}">
                  <a16:creationId xmlns:a16="http://schemas.microsoft.com/office/drawing/2014/main" id="{F44C2CEF-9A8D-4121-ADA0-7905629096B8}"/>
                </a:ext>
              </a:extLst>
            </p:cNvPr>
            <p:cNvSpPr/>
            <p:nvPr userDrawn="1"/>
          </p:nvSpPr>
          <p:spPr>
            <a:xfrm>
              <a:off x="14955077" y="54665"/>
              <a:ext cx="1098099"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a:solidFill>
                    <a:schemeClr val="tx1"/>
                  </a:solidFill>
                  <a:latin typeface="Calibri" panose="020F0502020204030204" pitchFamily="34" charset="0"/>
                </a:rPr>
                <a:t>TYPOGRAFI</a:t>
              </a:r>
            </a:p>
          </p:txBody>
        </p:sp>
        <p:sp>
          <p:nvSpPr>
            <p:cNvPr id="57" name="Rectangle 56">
              <a:extLst>
                <a:ext uri="{FF2B5EF4-FFF2-40B4-BE49-F238E27FC236}">
                  <a16:creationId xmlns:a16="http://schemas.microsoft.com/office/drawing/2014/main" id="{73E18453-6143-46C8-AE06-D384BEAAF8ED}"/>
                </a:ext>
              </a:extLst>
            </p:cNvPr>
            <p:cNvSpPr/>
            <p:nvPr userDrawn="1"/>
          </p:nvSpPr>
          <p:spPr>
            <a:xfrm>
              <a:off x="15014255" y="505370"/>
              <a:ext cx="1597933" cy="48872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800" b="0" i="0" u="none" strike="noStrike" baseline="0" err="1">
                  <a:solidFill>
                    <a:schemeClr val="tx1"/>
                  </a:solidFill>
                  <a:latin typeface="+mj-lt"/>
                </a:rPr>
                <a:t>Calibri</a:t>
              </a:r>
              <a:r>
                <a:rPr lang="da-DK" sz="1800" b="0" i="0" u="none" strike="noStrike" baseline="0">
                  <a:solidFill>
                    <a:schemeClr val="tx1"/>
                  </a:solidFill>
                  <a:latin typeface="+mj-lt"/>
                </a:rPr>
                <a:t> Light</a:t>
              </a:r>
              <a:endParaRPr lang="en-US" sz="1050" b="0" i="1">
                <a:solidFill>
                  <a:schemeClr val="tx1"/>
                </a:solidFill>
                <a:latin typeface="+mj-lt"/>
              </a:endParaRPr>
            </a:p>
          </p:txBody>
        </p:sp>
        <p:sp>
          <p:nvSpPr>
            <p:cNvPr id="58" name="Rectangle 57">
              <a:extLst>
                <a:ext uri="{FF2B5EF4-FFF2-40B4-BE49-F238E27FC236}">
                  <a16:creationId xmlns:a16="http://schemas.microsoft.com/office/drawing/2014/main" id="{BE7183D4-8073-4627-AB29-8E8C3092C2A9}"/>
                </a:ext>
              </a:extLst>
            </p:cNvPr>
            <p:cNvSpPr/>
            <p:nvPr userDrawn="1"/>
          </p:nvSpPr>
          <p:spPr>
            <a:xfrm>
              <a:off x="15014255" y="945671"/>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800" b="1" i="0" u="none" strike="noStrike" baseline="0">
                  <a:solidFill>
                    <a:schemeClr val="tx1"/>
                  </a:solidFill>
                  <a:latin typeface="+mj-lt"/>
                </a:rPr>
                <a:t>A B C D E F G H J I K L M N O P Q R S T U V W X Y Z Æ Ø Å</a:t>
              </a:r>
            </a:p>
            <a:p>
              <a:pPr algn="l"/>
              <a:r>
                <a:rPr lang="en-DK" sz="1800" b="1" i="0" u="none" strike="noStrike" baseline="0">
                  <a:solidFill>
                    <a:schemeClr val="tx1"/>
                  </a:solidFill>
                  <a:latin typeface="+mj-lt"/>
                </a:rPr>
                <a:t>0</a:t>
              </a:r>
              <a:r>
                <a:rPr lang="en-US" sz="1800" b="1" i="0" u="none" strike="noStrike" baseline="0">
                  <a:solidFill>
                    <a:schemeClr val="tx1"/>
                  </a:solidFill>
                  <a:latin typeface="+mj-lt"/>
                </a:rPr>
                <a:t> </a:t>
              </a:r>
              <a:r>
                <a:rPr lang="en-DK" sz="1800" b="1" i="0" u="none" strike="noStrike" baseline="0">
                  <a:solidFill>
                    <a:schemeClr val="tx1"/>
                  </a:solidFill>
                  <a:latin typeface="+mj-lt"/>
                </a:rPr>
                <a:t>1</a:t>
              </a:r>
              <a:r>
                <a:rPr lang="en-US" sz="1800" b="1" i="0" u="none" strike="noStrike" baseline="0">
                  <a:solidFill>
                    <a:schemeClr val="tx1"/>
                  </a:solidFill>
                  <a:latin typeface="+mj-lt"/>
                </a:rPr>
                <a:t> </a:t>
              </a:r>
              <a:r>
                <a:rPr lang="en-DK" sz="1800" b="1" i="0" u="none" strike="noStrike" baseline="0">
                  <a:solidFill>
                    <a:schemeClr val="tx1"/>
                  </a:solidFill>
                  <a:latin typeface="+mj-lt"/>
                </a:rPr>
                <a:t>2</a:t>
              </a:r>
              <a:r>
                <a:rPr lang="en-US" sz="1800" b="1" i="0" u="none" strike="noStrike" baseline="0">
                  <a:solidFill>
                    <a:schemeClr val="tx1"/>
                  </a:solidFill>
                  <a:latin typeface="+mj-lt"/>
                </a:rPr>
                <a:t> </a:t>
              </a:r>
              <a:r>
                <a:rPr lang="en-DK" sz="1800" b="1" i="0" u="none" strike="noStrike" baseline="0">
                  <a:solidFill>
                    <a:schemeClr val="tx1"/>
                  </a:solidFill>
                  <a:latin typeface="+mj-lt"/>
                </a:rPr>
                <a:t>3</a:t>
              </a:r>
              <a:r>
                <a:rPr lang="en-US" sz="1800" b="1" i="0" u="none" strike="noStrike" baseline="0">
                  <a:solidFill>
                    <a:schemeClr val="tx1"/>
                  </a:solidFill>
                  <a:latin typeface="+mj-lt"/>
                </a:rPr>
                <a:t> </a:t>
              </a:r>
              <a:r>
                <a:rPr lang="en-DK" sz="1800" b="1" i="0" u="none" strike="noStrike" baseline="0">
                  <a:solidFill>
                    <a:schemeClr val="tx1"/>
                  </a:solidFill>
                  <a:latin typeface="+mj-lt"/>
                </a:rPr>
                <a:t>4</a:t>
              </a:r>
              <a:r>
                <a:rPr lang="en-US" sz="1800" b="1" i="0" u="none" strike="noStrike" baseline="0">
                  <a:solidFill>
                    <a:schemeClr val="tx1"/>
                  </a:solidFill>
                  <a:latin typeface="+mj-lt"/>
                </a:rPr>
                <a:t> </a:t>
              </a:r>
              <a:r>
                <a:rPr lang="en-DK" sz="1800" b="1" i="0" u="none" strike="noStrike" baseline="0">
                  <a:solidFill>
                    <a:schemeClr val="tx1"/>
                  </a:solidFill>
                  <a:latin typeface="+mj-lt"/>
                </a:rPr>
                <a:t>5</a:t>
              </a:r>
              <a:r>
                <a:rPr lang="en-US" sz="1800" b="1" i="0" u="none" strike="noStrike" baseline="0">
                  <a:solidFill>
                    <a:schemeClr val="tx1"/>
                  </a:solidFill>
                  <a:latin typeface="+mj-lt"/>
                </a:rPr>
                <a:t> </a:t>
              </a:r>
              <a:r>
                <a:rPr lang="en-DK" sz="1800" b="1" i="0" u="none" strike="noStrike" baseline="0">
                  <a:solidFill>
                    <a:schemeClr val="tx1"/>
                  </a:solidFill>
                  <a:latin typeface="+mj-lt"/>
                </a:rPr>
                <a:t>6</a:t>
              </a:r>
              <a:r>
                <a:rPr lang="en-US" sz="1800" b="1" i="0" u="none" strike="noStrike" baseline="0">
                  <a:solidFill>
                    <a:schemeClr val="tx1"/>
                  </a:solidFill>
                  <a:latin typeface="+mj-lt"/>
                </a:rPr>
                <a:t> </a:t>
              </a:r>
              <a:r>
                <a:rPr lang="en-DK" sz="1800" b="1" i="0" u="none" strike="noStrike" baseline="0">
                  <a:solidFill>
                    <a:schemeClr val="tx1"/>
                  </a:solidFill>
                  <a:latin typeface="+mj-lt"/>
                </a:rPr>
                <a:t>7</a:t>
              </a:r>
              <a:r>
                <a:rPr lang="en-US" sz="1800" b="1" i="0" u="none" strike="noStrike" baseline="0">
                  <a:solidFill>
                    <a:schemeClr val="tx1"/>
                  </a:solidFill>
                  <a:latin typeface="+mj-lt"/>
                </a:rPr>
                <a:t> </a:t>
              </a:r>
              <a:r>
                <a:rPr lang="en-DK" sz="1800" b="1" i="0" u="none" strike="noStrike" baseline="0">
                  <a:solidFill>
                    <a:schemeClr val="tx1"/>
                  </a:solidFill>
                  <a:latin typeface="+mj-lt"/>
                </a:rPr>
                <a:t>8</a:t>
              </a:r>
              <a:r>
                <a:rPr lang="en-US" sz="1800" b="1" i="0" u="none" strike="noStrike" baseline="0">
                  <a:solidFill>
                    <a:schemeClr val="tx1"/>
                  </a:solidFill>
                  <a:latin typeface="+mj-lt"/>
                </a:rPr>
                <a:t> </a:t>
              </a:r>
              <a:r>
                <a:rPr lang="en-DK" sz="1800" b="1" i="0" u="none" strike="noStrike" baseline="0">
                  <a:solidFill>
                    <a:schemeClr val="tx1"/>
                  </a:solidFill>
                  <a:latin typeface="+mj-lt"/>
                </a:rPr>
                <a:t>9</a:t>
              </a:r>
              <a:r>
                <a:rPr lang="en-US" sz="1800" b="1" i="0" u="none" strike="noStrike" baseline="0">
                  <a:solidFill>
                    <a:schemeClr val="tx1"/>
                  </a:solidFill>
                  <a:latin typeface="+mj-lt"/>
                </a:rPr>
                <a:t> </a:t>
              </a:r>
              <a:endParaRPr lang="en-US" sz="1050" b="1" i="1">
                <a:solidFill>
                  <a:schemeClr val="tx1"/>
                </a:solidFill>
                <a:latin typeface="+mj-lt"/>
              </a:endParaRPr>
            </a:p>
          </p:txBody>
        </p:sp>
        <p:sp>
          <p:nvSpPr>
            <p:cNvPr id="59" name="Rectangle 58">
              <a:extLst>
                <a:ext uri="{FF2B5EF4-FFF2-40B4-BE49-F238E27FC236}">
                  <a16:creationId xmlns:a16="http://schemas.microsoft.com/office/drawing/2014/main" id="{88FA4642-57BB-4B55-BAEC-41240594B93B}"/>
                </a:ext>
              </a:extLst>
            </p:cNvPr>
            <p:cNvSpPr/>
            <p:nvPr userDrawn="1"/>
          </p:nvSpPr>
          <p:spPr>
            <a:xfrm>
              <a:off x="15032641" y="3321171"/>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800" b="1" i="0" u="none" strike="noStrike" baseline="0">
                  <a:solidFill>
                    <a:schemeClr val="tx1"/>
                  </a:solidFill>
                  <a:latin typeface="+mj-lt"/>
                </a:rPr>
                <a:t>a b c d e f g h j i k l m n o p q r s t u v w x y z æ ø å </a:t>
              </a:r>
              <a:endParaRPr lang="en-US" sz="1050" b="1" i="1">
                <a:solidFill>
                  <a:schemeClr val="tx1"/>
                </a:solidFill>
                <a:latin typeface="+mj-lt"/>
              </a:endParaRPr>
            </a:p>
          </p:txBody>
        </p:sp>
        <p:sp>
          <p:nvSpPr>
            <p:cNvPr id="60" name="Rectangle 59">
              <a:extLst>
                <a:ext uri="{FF2B5EF4-FFF2-40B4-BE49-F238E27FC236}">
                  <a16:creationId xmlns:a16="http://schemas.microsoft.com/office/drawing/2014/main" id="{470C9DDA-6321-42FE-9144-A80680087A30}"/>
                </a:ext>
              </a:extLst>
            </p:cNvPr>
            <p:cNvSpPr/>
            <p:nvPr userDrawn="1"/>
          </p:nvSpPr>
          <p:spPr>
            <a:xfrm>
              <a:off x="15032641" y="4282380"/>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800" b="0" i="0" u="none" strike="noStrike" baseline="0">
                  <a:solidFill>
                    <a:schemeClr val="tx1"/>
                  </a:solidFill>
                  <a:latin typeface="+mj-lt"/>
                </a:rPr>
                <a:t>a b c d e f g h j i k l m n o p q r s t u v w x y z æ ø å</a:t>
              </a:r>
              <a:endParaRPr lang="en-US" sz="1050" b="0" i="1">
                <a:solidFill>
                  <a:schemeClr val="tx1"/>
                </a:solidFill>
                <a:latin typeface="+mj-lt"/>
              </a:endParaRPr>
            </a:p>
          </p:txBody>
        </p:sp>
        <p:sp>
          <p:nvSpPr>
            <p:cNvPr id="61" name="Rectangle 60">
              <a:extLst>
                <a:ext uri="{FF2B5EF4-FFF2-40B4-BE49-F238E27FC236}">
                  <a16:creationId xmlns:a16="http://schemas.microsoft.com/office/drawing/2014/main" id="{C2C863F9-BC29-4838-8B39-9D9209821AA8}"/>
                </a:ext>
              </a:extLst>
            </p:cNvPr>
            <p:cNvSpPr/>
            <p:nvPr userDrawn="1"/>
          </p:nvSpPr>
          <p:spPr>
            <a:xfrm>
              <a:off x="13615066" y="152727"/>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a:solidFill>
                    <a:schemeClr val="tx1"/>
                  </a:solidFill>
                  <a:latin typeface="Calibri" panose="020F0502020204030204" pitchFamily="34" charset="0"/>
                </a:rPr>
                <a:t>SEKUNDÆRE</a:t>
              </a:r>
            </a:p>
            <a:p>
              <a:pPr algn="ctr"/>
              <a:r>
                <a:rPr lang="en-US" sz="1400" b="1">
                  <a:solidFill>
                    <a:schemeClr val="tx1"/>
                  </a:solidFill>
                  <a:latin typeface="Calibri" panose="020F0502020204030204" pitchFamily="34" charset="0"/>
                </a:rPr>
                <a:t>FARVER</a:t>
              </a:r>
            </a:p>
          </p:txBody>
        </p:sp>
        <p:sp>
          <p:nvSpPr>
            <p:cNvPr id="62" name="Rectangle 61">
              <a:extLst>
                <a:ext uri="{FF2B5EF4-FFF2-40B4-BE49-F238E27FC236}">
                  <a16:creationId xmlns:a16="http://schemas.microsoft.com/office/drawing/2014/main" id="{4CA2F9C1-C292-4F06-B0CB-2CF1021E8C21}"/>
                </a:ext>
              </a:extLst>
            </p:cNvPr>
            <p:cNvSpPr/>
            <p:nvPr userDrawn="1"/>
          </p:nvSpPr>
          <p:spPr>
            <a:xfrm>
              <a:off x="13718320" y="2003382"/>
              <a:ext cx="955675" cy="957263"/>
            </a:xfrm>
            <a:prstGeom prst="rect">
              <a:avLst/>
            </a:prstGeom>
            <a:gradFill flip="none" rotWithShape="1">
              <a:gsLst>
                <a:gs pos="11000">
                  <a:srgbClr val="014D65"/>
                </a:gs>
                <a:gs pos="100000">
                  <a:srgbClr val="00A66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b="1">
                  <a:solidFill>
                    <a:schemeClr val="bg1"/>
                  </a:solidFill>
                  <a:latin typeface="Calibri" panose="020F0502020204030204" pitchFamily="34" charset="0"/>
                </a:rPr>
                <a:t>R: 228</a:t>
              </a:r>
            </a:p>
            <a:p>
              <a:pPr algn="ctr"/>
              <a:r>
                <a:rPr lang="en-US" sz="1000" b="1">
                  <a:solidFill>
                    <a:schemeClr val="bg1"/>
                  </a:solidFill>
                  <a:latin typeface="Calibri" panose="020F0502020204030204" pitchFamily="34" charset="0"/>
                </a:rPr>
                <a:t>G: 236</a:t>
              </a:r>
            </a:p>
            <a:p>
              <a:pPr algn="ctr"/>
              <a:r>
                <a:rPr lang="en-US" sz="1000" b="1">
                  <a:solidFill>
                    <a:schemeClr val="bg1"/>
                  </a:solidFill>
                  <a:latin typeface="Calibri" panose="020F0502020204030204" pitchFamily="34" charset="0"/>
                </a:rPr>
                <a:t>B: 232</a:t>
              </a:r>
            </a:p>
            <a:p>
              <a:pPr algn="ctr"/>
              <a:r>
                <a:rPr lang="en-US" sz="1000" b="1">
                  <a:solidFill>
                    <a:schemeClr val="bg1"/>
                  </a:solidFill>
                  <a:latin typeface="Calibri" panose="020F0502020204030204" pitchFamily="34" charset="0"/>
                </a:rPr>
                <a:t>#E4ECE8</a:t>
              </a:r>
            </a:p>
          </p:txBody>
        </p:sp>
        <p:sp>
          <p:nvSpPr>
            <p:cNvPr id="63" name="Rectangle 62">
              <a:extLst>
                <a:ext uri="{FF2B5EF4-FFF2-40B4-BE49-F238E27FC236}">
                  <a16:creationId xmlns:a16="http://schemas.microsoft.com/office/drawing/2014/main" id="{C7167926-E8FC-4CC1-B083-D366FE4C3C3A}"/>
                </a:ext>
              </a:extLst>
            </p:cNvPr>
            <p:cNvSpPr/>
            <p:nvPr userDrawn="1"/>
          </p:nvSpPr>
          <p:spPr>
            <a:xfrm>
              <a:off x="12378689" y="1556686"/>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b="1">
                  <a:solidFill>
                    <a:schemeClr val="tx1"/>
                  </a:solidFill>
                  <a:latin typeface="Calibri" panose="020F0502020204030204" pitchFamily="34" charset="0"/>
                </a:rPr>
                <a:t>Circular green</a:t>
              </a:r>
            </a:p>
          </p:txBody>
        </p:sp>
        <p:sp>
          <p:nvSpPr>
            <p:cNvPr id="64" name="Rectangle 63">
              <a:extLst>
                <a:ext uri="{FF2B5EF4-FFF2-40B4-BE49-F238E27FC236}">
                  <a16:creationId xmlns:a16="http://schemas.microsoft.com/office/drawing/2014/main" id="{3F032F7F-4F20-4041-9504-D9008B5AE90B}"/>
                </a:ext>
              </a:extLst>
            </p:cNvPr>
            <p:cNvSpPr/>
            <p:nvPr userDrawn="1"/>
          </p:nvSpPr>
          <p:spPr>
            <a:xfrm>
              <a:off x="12367854" y="2960645"/>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b="1">
                  <a:solidFill>
                    <a:schemeClr val="tx1"/>
                  </a:solidFill>
                  <a:latin typeface="Calibri" panose="020F0502020204030204" pitchFamily="34" charset="0"/>
                </a:rPr>
                <a:t>Soft grey</a:t>
              </a:r>
            </a:p>
          </p:txBody>
        </p:sp>
        <p:sp>
          <p:nvSpPr>
            <p:cNvPr id="65" name="Rectangle 64">
              <a:extLst>
                <a:ext uri="{FF2B5EF4-FFF2-40B4-BE49-F238E27FC236}">
                  <a16:creationId xmlns:a16="http://schemas.microsoft.com/office/drawing/2014/main" id="{EA0690C9-790D-45D3-B061-2B653C2096C5}"/>
                </a:ext>
              </a:extLst>
            </p:cNvPr>
            <p:cNvSpPr/>
            <p:nvPr userDrawn="1"/>
          </p:nvSpPr>
          <p:spPr>
            <a:xfrm>
              <a:off x="12378689" y="4378569"/>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b="1">
                  <a:solidFill>
                    <a:schemeClr val="tx1"/>
                  </a:solidFill>
                  <a:latin typeface="Calibri" panose="020F0502020204030204" pitchFamily="34" charset="0"/>
                </a:rPr>
                <a:t>Navy blue</a:t>
              </a:r>
            </a:p>
          </p:txBody>
        </p:sp>
        <p:sp>
          <p:nvSpPr>
            <p:cNvPr id="66" name="Rectangle 65">
              <a:extLst>
                <a:ext uri="{FF2B5EF4-FFF2-40B4-BE49-F238E27FC236}">
                  <a16:creationId xmlns:a16="http://schemas.microsoft.com/office/drawing/2014/main" id="{893FDB47-5D9D-40EA-B3E3-7DEE035A3A5D}"/>
                </a:ext>
              </a:extLst>
            </p:cNvPr>
            <p:cNvSpPr/>
            <p:nvPr userDrawn="1"/>
          </p:nvSpPr>
          <p:spPr>
            <a:xfrm>
              <a:off x="13615066" y="1561043"/>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b="1">
                  <a:solidFill>
                    <a:schemeClr val="tx1"/>
                  </a:solidFill>
                  <a:latin typeface="Calibri" panose="020F0502020204030204" pitchFamily="34" charset="0"/>
                </a:rPr>
                <a:t>Corporate blue</a:t>
              </a:r>
            </a:p>
          </p:txBody>
        </p:sp>
        <p:sp>
          <p:nvSpPr>
            <p:cNvPr id="67" name="Rectangle 66">
              <a:extLst>
                <a:ext uri="{FF2B5EF4-FFF2-40B4-BE49-F238E27FC236}">
                  <a16:creationId xmlns:a16="http://schemas.microsoft.com/office/drawing/2014/main" id="{E4D5D453-8CA0-401B-B06A-AC504383E23A}"/>
                </a:ext>
              </a:extLst>
            </p:cNvPr>
            <p:cNvSpPr/>
            <p:nvPr userDrawn="1"/>
          </p:nvSpPr>
          <p:spPr>
            <a:xfrm>
              <a:off x="13615065" y="2964838"/>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b="1">
                  <a:solidFill>
                    <a:schemeClr val="tx1"/>
                  </a:solidFill>
                  <a:latin typeface="Calibri" panose="020F0502020204030204" pitchFamily="34" charset="0"/>
                </a:rPr>
                <a:t>Tech gradient</a:t>
              </a:r>
            </a:p>
          </p:txBody>
        </p:sp>
        <p:sp>
          <p:nvSpPr>
            <p:cNvPr id="68" name="Rectangle 67">
              <a:extLst>
                <a:ext uri="{FF2B5EF4-FFF2-40B4-BE49-F238E27FC236}">
                  <a16:creationId xmlns:a16="http://schemas.microsoft.com/office/drawing/2014/main" id="{9C7C26E6-5934-4975-9ACD-AF20282082D6}"/>
                </a:ext>
              </a:extLst>
            </p:cNvPr>
            <p:cNvSpPr/>
            <p:nvPr userDrawn="1"/>
          </p:nvSpPr>
          <p:spPr>
            <a:xfrm>
              <a:off x="15032641" y="2130665"/>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800" b="0" i="0" u="none" strike="noStrike" baseline="0">
                  <a:solidFill>
                    <a:schemeClr val="tx1"/>
                  </a:solidFill>
                  <a:latin typeface="+mj-lt"/>
                </a:rPr>
                <a:t>A B C D E F G H J I K L M N O P Q R S T U V W X Y Z Æ Ø Å</a:t>
              </a:r>
            </a:p>
            <a:p>
              <a:pPr algn="l"/>
              <a:r>
                <a:rPr lang="en-DK" sz="1800" b="0" i="0" u="none" strike="noStrike" baseline="0">
                  <a:solidFill>
                    <a:schemeClr val="tx1"/>
                  </a:solidFill>
                  <a:latin typeface="+mj-lt"/>
                </a:rPr>
                <a:t>0</a:t>
              </a:r>
              <a:r>
                <a:rPr lang="en-US" sz="1800" b="0" i="0" u="none" strike="noStrike" baseline="0">
                  <a:solidFill>
                    <a:schemeClr val="tx1"/>
                  </a:solidFill>
                  <a:latin typeface="+mj-lt"/>
                </a:rPr>
                <a:t> </a:t>
              </a:r>
              <a:r>
                <a:rPr lang="en-DK" sz="1800" b="0" i="0" u="none" strike="noStrike" baseline="0">
                  <a:solidFill>
                    <a:schemeClr val="tx1"/>
                  </a:solidFill>
                  <a:latin typeface="+mj-lt"/>
                </a:rPr>
                <a:t>1</a:t>
              </a:r>
              <a:r>
                <a:rPr lang="en-US" sz="1800" b="0" i="0" u="none" strike="noStrike" baseline="0">
                  <a:solidFill>
                    <a:schemeClr val="tx1"/>
                  </a:solidFill>
                  <a:latin typeface="+mj-lt"/>
                </a:rPr>
                <a:t> </a:t>
              </a:r>
              <a:r>
                <a:rPr lang="en-DK" sz="1800" b="0" i="0" u="none" strike="noStrike" baseline="0">
                  <a:solidFill>
                    <a:schemeClr val="tx1"/>
                  </a:solidFill>
                  <a:latin typeface="+mj-lt"/>
                </a:rPr>
                <a:t>2</a:t>
              </a:r>
              <a:r>
                <a:rPr lang="en-US" sz="1800" b="0" i="0" u="none" strike="noStrike" baseline="0">
                  <a:solidFill>
                    <a:schemeClr val="tx1"/>
                  </a:solidFill>
                  <a:latin typeface="+mj-lt"/>
                </a:rPr>
                <a:t> </a:t>
              </a:r>
              <a:r>
                <a:rPr lang="en-DK" sz="1800" b="0" i="0" u="none" strike="noStrike" baseline="0">
                  <a:solidFill>
                    <a:schemeClr val="tx1"/>
                  </a:solidFill>
                  <a:latin typeface="+mj-lt"/>
                </a:rPr>
                <a:t>3</a:t>
              </a:r>
              <a:r>
                <a:rPr lang="en-US" sz="1800" b="0" i="0" u="none" strike="noStrike" baseline="0">
                  <a:solidFill>
                    <a:schemeClr val="tx1"/>
                  </a:solidFill>
                  <a:latin typeface="+mj-lt"/>
                </a:rPr>
                <a:t> </a:t>
              </a:r>
              <a:r>
                <a:rPr lang="en-DK" sz="1800" b="0" i="0" u="none" strike="noStrike" baseline="0">
                  <a:solidFill>
                    <a:schemeClr val="tx1"/>
                  </a:solidFill>
                  <a:latin typeface="+mj-lt"/>
                </a:rPr>
                <a:t>4</a:t>
              </a:r>
              <a:r>
                <a:rPr lang="en-US" sz="1800" b="0" i="0" u="none" strike="noStrike" baseline="0">
                  <a:solidFill>
                    <a:schemeClr val="tx1"/>
                  </a:solidFill>
                  <a:latin typeface="+mj-lt"/>
                </a:rPr>
                <a:t> </a:t>
              </a:r>
              <a:r>
                <a:rPr lang="en-DK" sz="1800" b="0" i="0" u="none" strike="noStrike" baseline="0">
                  <a:solidFill>
                    <a:schemeClr val="tx1"/>
                  </a:solidFill>
                  <a:latin typeface="+mj-lt"/>
                </a:rPr>
                <a:t>5</a:t>
              </a:r>
              <a:r>
                <a:rPr lang="en-US" sz="1800" b="0" i="0" u="none" strike="noStrike" baseline="0">
                  <a:solidFill>
                    <a:schemeClr val="tx1"/>
                  </a:solidFill>
                  <a:latin typeface="+mj-lt"/>
                </a:rPr>
                <a:t> </a:t>
              </a:r>
              <a:r>
                <a:rPr lang="en-DK" sz="1800" b="0" i="0" u="none" strike="noStrike" baseline="0">
                  <a:solidFill>
                    <a:schemeClr val="tx1"/>
                  </a:solidFill>
                  <a:latin typeface="+mj-lt"/>
                </a:rPr>
                <a:t>6</a:t>
              </a:r>
              <a:r>
                <a:rPr lang="en-US" sz="1800" b="0" i="0" u="none" strike="noStrike" baseline="0">
                  <a:solidFill>
                    <a:schemeClr val="tx1"/>
                  </a:solidFill>
                  <a:latin typeface="+mj-lt"/>
                </a:rPr>
                <a:t> </a:t>
              </a:r>
              <a:r>
                <a:rPr lang="en-DK" sz="1800" b="0" i="0" u="none" strike="noStrike" baseline="0">
                  <a:solidFill>
                    <a:schemeClr val="tx1"/>
                  </a:solidFill>
                  <a:latin typeface="+mj-lt"/>
                </a:rPr>
                <a:t>7</a:t>
              </a:r>
              <a:r>
                <a:rPr lang="en-US" sz="1800" b="0" i="0" u="none" strike="noStrike" baseline="0">
                  <a:solidFill>
                    <a:schemeClr val="tx1"/>
                  </a:solidFill>
                  <a:latin typeface="+mj-lt"/>
                </a:rPr>
                <a:t> </a:t>
              </a:r>
              <a:r>
                <a:rPr lang="en-DK" sz="1800" b="0" i="0" u="none" strike="noStrike" baseline="0">
                  <a:solidFill>
                    <a:schemeClr val="tx1"/>
                  </a:solidFill>
                  <a:latin typeface="+mj-lt"/>
                </a:rPr>
                <a:t>8</a:t>
              </a:r>
              <a:r>
                <a:rPr lang="en-US" sz="1800" b="0" i="0" u="none" strike="noStrike" baseline="0">
                  <a:solidFill>
                    <a:schemeClr val="tx1"/>
                  </a:solidFill>
                  <a:latin typeface="+mj-lt"/>
                </a:rPr>
                <a:t> </a:t>
              </a:r>
              <a:r>
                <a:rPr lang="en-DK" sz="1800" b="0" i="0" u="none" strike="noStrike" baseline="0">
                  <a:solidFill>
                    <a:schemeClr val="tx1"/>
                  </a:solidFill>
                  <a:latin typeface="+mj-lt"/>
                </a:rPr>
                <a:t>9</a:t>
              </a:r>
              <a:r>
                <a:rPr lang="en-US" sz="1800" b="0" i="0" u="none" strike="noStrike" baseline="0">
                  <a:solidFill>
                    <a:schemeClr val="tx1"/>
                  </a:solidFill>
                  <a:latin typeface="+mj-lt"/>
                </a:rPr>
                <a:t> </a:t>
              </a:r>
              <a:endParaRPr lang="en-US" sz="1050" b="0" i="1">
                <a:solidFill>
                  <a:schemeClr val="tx1"/>
                </a:solidFill>
                <a:latin typeface="+mj-lt"/>
              </a:endParaRPr>
            </a:p>
          </p:txBody>
        </p:sp>
      </p:grpSp>
      <p:pic>
        <p:nvPicPr>
          <p:cNvPr id="29" name="Picture 48">
            <a:extLst>
              <a:ext uri="{FF2B5EF4-FFF2-40B4-BE49-F238E27FC236}">
                <a16:creationId xmlns:a16="http://schemas.microsoft.com/office/drawing/2014/main" id="{BC9746B6-71EB-49BA-9EC1-9FEF3650CD5E}"/>
              </a:ext>
            </a:extLst>
          </p:cNvPr>
          <p:cNvPicPr>
            <a:picLocks noChangeAspect="1"/>
          </p:cNvPicPr>
          <p:nvPr userDrawn="1"/>
        </p:nvPicPr>
        <p:blipFill>
          <a:blip r:embed="rId7" cstate="email">
            <a:extLst>
              <a:ext uri="{28A0092B-C50C-407E-A947-70E740481C1C}">
                <a14:useLocalDpi xmlns:a14="http://schemas.microsoft.com/office/drawing/2010/main"/>
              </a:ext>
            </a:extLst>
          </a:blip>
          <a:srcRect/>
          <a:stretch/>
        </p:blipFill>
        <p:spPr>
          <a:xfrm>
            <a:off x="10687581" y="317019"/>
            <a:ext cx="1045309" cy="695743"/>
          </a:xfrm>
          <a:prstGeom prst="rect">
            <a:avLst/>
          </a:prstGeom>
        </p:spPr>
      </p:pic>
      <p:pic>
        <p:nvPicPr>
          <p:cNvPr id="34" name="Billede 33">
            <a:extLst>
              <a:ext uri="{FF2B5EF4-FFF2-40B4-BE49-F238E27FC236}">
                <a16:creationId xmlns:a16="http://schemas.microsoft.com/office/drawing/2014/main" id="{23133853-F4DC-47AA-9DAC-9D1DDD23D529}"/>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85682" y="6122223"/>
            <a:ext cx="792220" cy="677520"/>
          </a:xfrm>
          <a:prstGeom prst="rect">
            <a:avLst/>
          </a:prstGeom>
        </p:spPr>
      </p:pic>
    </p:spTree>
    <p:extLst>
      <p:ext uri="{BB962C8B-B14F-4D97-AF65-F5344CB8AC3E}">
        <p14:creationId xmlns:p14="http://schemas.microsoft.com/office/powerpoint/2010/main" val="231055343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Em branco">
    <p:spTree>
      <p:nvGrpSpPr>
        <p:cNvPr id="1" name=""/>
        <p:cNvGrpSpPr/>
        <p:nvPr/>
      </p:nvGrpSpPr>
      <p:grpSpPr>
        <a:xfrm>
          <a:off x="0" y="0"/>
          <a:ext cx="0" cy="0"/>
          <a:chOff x="0" y="0"/>
          <a:chExt cx="0" cy="0"/>
        </a:xfrm>
      </p:grpSpPr>
      <p:sp>
        <p:nvSpPr>
          <p:cNvPr id="5" name="Marcador de Posição do Rodapé 4"/>
          <p:cNvSpPr>
            <a:spLocks noGrp="1"/>
          </p:cNvSpPr>
          <p:nvPr>
            <p:ph type="ftr" sz="quarter" idx="10"/>
          </p:nvPr>
        </p:nvSpPr>
        <p:spPr/>
        <p:txBody>
          <a:bodyPr/>
          <a:lstStyle/>
          <a:p>
            <a:endParaRPr lang="pt-PT" dirty="0"/>
          </a:p>
        </p:txBody>
      </p:sp>
      <p:sp>
        <p:nvSpPr>
          <p:cNvPr id="6" name="Marcador de Posição do Número do Diapositivo 5"/>
          <p:cNvSpPr>
            <a:spLocks noGrp="1"/>
          </p:cNvSpPr>
          <p:nvPr>
            <p:ph type="sldNum" sz="quarter" idx="11"/>
          </p:nvPr>
        </p:nvSpPr>
        <p:spPr/>
        <p:txBody>
          <a:bodyPr/>
          <a:lstStyle/>
          <a:p>
            <a:r>
              <a:rPr lang="pt-PT" b="1"/>
              <a:t>LNEC</a:t>
            </a:r>
            <a:r>
              <a:rPr lang="pt-PT"/>
              <a:t> | </a:t>
            </a:r>
            <a:fld id="{41B9C9E2-D41C-4EEA-8BD4-26935379B328}" type="slidenum">
              <a:rPr lang="pt-PT" smtClean="0"/>
              <a:pPr/>
              <a:t>‹#›</a:t>
            </a:fld>
            <a:endParaRPr lang="pt-PT" dirty="0"/>
          </a:p>
        </p:txBody>
      </p:sp>
    </p:spTree>
    <p:extLst>
      <p:ext uri="{BB962C8B-B14F-4D97-AF65-F5344CB8AC3E}">
        <p14:creationId xmlns:p14="http://schemas.microsoft.com/office/powerpoint/2010/main" val="14546919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ront/Pause B">
    <p:bg>
      <p:bgRef idx="1001">
        <a:schemeClr val="bg1"/>
      </p:bgRef>
    </p:bg>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A3420087-96DF-432F-B192-585D42BF6A4E}"/>
              </a:ext>
            </a:extLst>
          </p:cNvPr>
          <p:cNvSpPr/>
          <p:nvPr userDrawn="1"/>
        </p:nvSpPr>
        <p:spPr bwMode="auto">
          <a:xfrm>
            <a:off x="0" y="0"/>
            <a:ext cx="12193200" cy="6861600"/>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da-DK" sz="1600" b="0" i="0" u="none" strike="noStrike" cap="none" normalizeH="0" baseline="0" dirty="0">
              <a:ln>
                <a:noFill/>
              </a:ln>
              <a:solidFill>
                <a:schemeClr val="tx1"/>
              </a:solidFill>
              <a:effectLst/>
              <a:latin typeface="Arial" panose="020B0604020202020204" pitchFamily="34" charset="0"/>
              <a:ea typeface="ＭＳ Ｐゴシック" pitchFamily="-80" charset="-128"/>
            </a:endParaRPr>
          </a:p>
        </p:txBody>
      </p:sp>
      <p:sp>
        <p:nvSpPr>
          <p:cNvPr id="13" name="Logo color">
            <a:extLst>
              <a:ext uri="{FF2B5EF4-FFF2-40B4-BE49-F238E27FC236}">
                <a16:creationId xmlns:a16="http://schemas.microsoft.com/office/drawing/2014/main" id="{09BBEE10-6A59-474F-B766-7643F97F869F}"/>
              </a:ext>
            </a:extLst>
          </p:cNvPr>
          <p:cNvSpPr>
            <a:spLocks noChangeAspect="1"/>
          </p:cNvSpPr>
          <p:nvPr userDrawn="1">
            <p:custDataLst>
              <p:tags r:id="rId1"/>
            </p:custDataLst>
          </p:nvPr>
        </p:nvSpPr>
        <p:spPr bwMode="auto">
          <a:xfrm>
            <a:off x="4870539" y="1651373"/>
            <a:ext cx="2388323" cy="3483354"/>
          </a:xfrm>
          <a:custGeom>
            <a:avLst/>
            <a:gdLst>
              <a:gd name="connsiteX0" fmla="*/ 1050029 w 4933949"/>
              <a:gd name="connsiteY0" fmla="*/ 6094413 h 7196138"/>
              <a:gd name="connsiteX1" fmla="*/ 3883920 w 4933949"/>
              <a:gd name="connsiteY1" fmla="*/ 6094413 h 7196138"/>
              <a:gd name="connsiteX2" fmla="*/ 4933949 w 4933949"/>
              <a:gd name="connsiteY2" fmla="*/ 6645934 h 7196138"/>
              <a:gd name="connsiteX3" fmla="*/ 3883920 w 4933949"/>
              <a:gd name="connsiteY3" fmla="*/ 7196138 h 7196138"/>
              <a:gd name="connsiteX4" fmla="*/ 1050029 w 4933949"/>
              <a:gd name="connsiteY4" fmla="*/ 7196138 h 7196138"/>
              <a:gd name="connsiteX5" fmla="*/ 0 w 4933949"/>
              <a:gd name="connsiteY5" fmla="*/ 6645934 h 7196138"/>
              <a:gd name="connsiteX6" fmla="*/ 1050029 w 4933949"/>
              <a:gd name="connsiteY6" fmla="*/ 6094413 h 7196138"/>
              <a:gd name="connsiteX7" fmla="*/ 1050029 w 4933949"/>
              <a:gd name="connsiteY7" fmla="*/ 4730750 h 7196138"/>
              <a:gd name="connsiteX8" fmla="*/ 3883920 w 4933949"/>
              <a:gd name="connsiteY8" fmla="*/ 4730750 h 7196138"/>
              <a:gd name="connsiteX9" fmla="*/ 4933949 w 4933949"/>
              <a:gd name="connsiteY9" fmla="*/ 5283066 h 7196138"/>
              <a:gd name="connsiteX10" fmla="*/ 3883920 w 4933949"/>
              <a:gd name="connsiteY10" fmla="*/ 5834063 h 7196138"/>
              <a:gd name="connsiteX11" fmla="*/ 1050029 w 4933949"/>
              <a:gd name="connsiteY11" fmla="*/ 5834063 h 7196138"/>
              <a:gd name="connsiteX12" fmla="*/ 0 w 4933949"/>
              <a:gd name="connsiteY12" fmla="*/ 5283066 h 7196138"/>
              <a:gd name="connsiteX13" fmla="*/ 1050029 w 4933949"/>
              <a:gd name="connsiteY13" fmla="*/ 4730750 h 7196138"/>
              <a:gd name="connsiteX14" fmla="*/ 1050029 w 4933949"/>
              <a:gd name="connsiteY14" fmla="*/ 3368675 h 7196138"/>
              <a:gd name="connsiteX15" fmla="*/ 3883920 w 4933949"/>
              <a:gd name="connsiteY15" fmla="*/ 3368675 h 7196138"/>
              <a:gd name="connsiteX16" fmla="*/ 4933949 w 4933949"/>
              <a:gd name="connsiteY16" fmla="*/ 3920991 h 7196138"/>
              <a:gd name="connsiteX17" fmla="*/ 3883920 w 4933949"/>
              <a:gd name="connsiteY17" fmla="*/ 4471988 h 7196138"/>
              <a:gd name="connsiteX18" fmla="*/ 1050029 w 4933949"/>
              <a:gd name="connsiteY18" fmla="*/ 4471988 h 7196138"/>
              <a:gd name="connsiteX19" fmla="*/ 0 w 4933949"/>
              <a:gd name="connsiteY19" fmla="*/ 3920991 h 7196138"/>
              <a:gd name="connsiteX20" fmla="*/ 1050029 w 4933949"/>
              <a:gd name="connsiteY20" fmla="*/ 3368675 h 7196138"/>
              <a:gd name="connsiteX21" fmla="*/ 678543 w 4933949"/>
              <a:gd name="connsiteY21" fmla="*/ 305710 h 7196138"/>
              <a:gd name="connsiteX22" fmla="*/ 678543 w 4933949"/>
              <a:gd name="connsiteY22" fmla="*/ 2307316 h 7196138"/>
              <a:gd name="connsiteX23" fmla="*/ 909109 w 4933949"/>
              <a:gd name="connsiteY23" fmla="*/ 2307316 h 7196138"/>
              <a:gd name="connsiteX24" fmla="*/ 1119911 w 4933949"/>
              <a:gd name="connsiteY24" fmla="*/ 2234842 h 7196138"/>
              <a:gd name="connsiteX25" fmla="*/ 1198962 w 4933949"/>
              <a:gd name="connsiteY25" fmla="*/ 1615517 h 7196138"/>
              <a:gd name="connsiteX26" fmla="*/ 1198962 w 4933949"/>
              <a:gd name="connsiteY26" fmla="*/ 996191 h 7196138"/>
              <a:gd name="connsiteX27" fmla="*/ 1119911 w 4933949"/>
              <a:gd name="connsiteY27" fmla="*/ 378184 h 7196138"/>
              <a:gd name="connsiteX28" fmla="*/ 909109 w 4933949"/>
              <a:gd name="connsiteY28" fmla="*/ 305710 h 7196138"/>
              <a:gd name="connsiteX29" fmla="*/ 678543 w 4933949"/>
              <a:gd name="connsiteY29" fmla="*/ 305710 h 7196138"/>
              <a:gd name="connsiteX30" fmla="*/ 1842869 w 4933949"/>
              <a:gd name="connsiteY30" fmla="*/ 0 h 7196138"/>
              <a:gd name="connsiteX31" fmla="*/ 3073618 w 4933949"/>
              <a:gd name="connsiteY31" fmla="*/ 0 h 7196138"/>
              <a:gd name="connsiteX32" fmla="*/ 3114467 w 4933949"/>
              <a:gd name="connsiteY32" fmla="*/ 14495 h 7196138"/>
              <a:gd name="connsiteX33" fmla="*/ 3128962 w 4933949"/>
              <a:gd name="connsiteY33" fmla="*/ 54027 h 7196138"/>
              <a:gd name="connsiteX34" fmla="*/ 3128962 w 4933949"/>
              <a:gd name="connsiteY34" fmla="*/ 275402 h 7196138"/>
              <a:gd name="connsiteX35" fmla="*/ 3114467 w 4933949"/>
              <a:gd name="connsiteY35" fmla="*/ 314934 h 7196138"/>
              <a:gd name="connsiteX36" fmla="*/ 3073618 w 4933949"/>
              <a:gd name="connsiteY36" fmla="*/ 329429 h 7196138"/>
              <a:gd name="connsiteX37" fmla="*/ 2679620 w 4933949"/>
              <a:gd name="connsiteY37" fmla="*/ 329429 h 7196138"/>
              <a:gd name="connsiteX38" fmla="*/ 2679620 w 4933949"/>
              <a:gd name="connsiteY38" fmla="*/ 2558999 h 7196138"/>
              <a:gd name="connsiteX39" fmla="*/ 2665125 w 4933949"/>
              <a:gd name="connsiteY39" fmla="*/ 2598530 h 7196138"/>
              <a:gd name="connsiteX40" fmla="*/ 2625594 w 4933949"/>
              <a:gd name="connsiteY40" fmla="*/ 2613025 h 7196138"/>
              <a:gd name="connsiteX41" fmla="*/ 2290893 w 4933949"/>
              <a:gd name="connsiteY41" fmla="*/ 2613025 h 7196138"/>
              <a:gd name="connsiteX42" fmla="*/ 2250044 w 4933949"/>
              <a:gd name="connsiteY42" fmla="*/ 2598530 h 7196138"/>
              <a:gd name="connsiteX43" fmla="*/ 2235549 w 4933949"/>
              <a:gd name="connsiteY43" fmla="*/ 2558999 h 7196138"/>
              <a:gd name="connsiteX44" fmla="*/ 2235549 w 4933949"/>
              <a:gd name="connsiteY44" fmla="*/ 329429 h 7196138"/>
              <a:gd name="connsiteX45" fmla="*/ 1842869 w 4933949"/>
              <a:gd name="connsiteY45" fmla="*/ 329429 h 7196138"/>
              <a:gd name="connsiteX46" fmla="*/ 1802020 w 4933949"/>
              <a:gd name="connsiteY46" fmla="*/ 314934 h 7196138"/>
              <a:gd name="connsiteX47" fmla="*/ 1787525 w 4933949"/>
              <a:gd name="connsiteY47" fmla="*/ 275402 h 7196138"/>
              <a:gd name="connsiteX48" fmla="*/ 1787525 w 4933949"/>
              <a:gd name="connsiteY48" fmla="*/ 54027 h 7196138"/>
              <a:gd name="connsiteX49" fmla="*/ 1802020 w 4933949"/>
              <a:gd name="connsiteY49" fmla="*/ 14495 h 7196138"/>
              <a:gd name="connsiteX50" fmla="*/ 1842869 w 4933949"/>
              <a:gd name="connsiteY50" fmla="*/ 0 h 7196138"/>
              <a:gd name="connsiteX51" fmla="*/ 317544 w 4933949"/>
              <a:gd name="connsiteY51" fmla="*/ 0 h 7196138"/>
              <a:gd name="connsiteX52" fmla="*/ 972349 w 4933949"/>
              <a:gd name="connsiteY52" fmla="*/ 0 h 7196138"/>
              <a:gd name="connsiteX53" fmla="*/ 1476958 w 4933949"/>
              <a:gd name="connsiteY53" fmla="*/ 179209 h 7196138"/>
              <a:gd name="connsiteX54" fmla="*/ 1619250 w 4933949"/>
              <a:gd name="connsiteY54" fmla="*/ 1025181 h 7196138"/>
              <a:gd name="connsiteX55" fmla="*/ 1619250 w 4933949"/>
              <a:gd name="connsiteY55" fmla="*/ 1587845 h 7196138"/>
              <a:gd name="connsiteX56" fmla="*/ 1476958 w 4933949"/>
              <a:gd name="connsiteY56" fmla="*/ 2433816 h 7196138"/>
              <a:gd name="connsiteX57" fmla="*/ 972349 w 4933949"/>
              <a:gd name="connsiteY57" fmla="*/ 2613025 h 7196138"/>
              <a:gd name="connsiteX58" fmla="*/ 317544 w 4933949"/>
              <a:gd name="connsiteY58" fmla="*/ 2613025 h 7196138"/>
              <a:gd name="connsiteX59" fmla="*/ 278018 w 4933949"/>
              <a:gd name="connsiteY59" fmla="*/ 2598530 h 7196138"/>
              <a:gd name="connsiteX60" fmla="*/ 263525 w 4933949"/>
              <a:gd name="connsiteY60" fmla="*/ 2558999 h 7196138"/>
              <a:gd name="connsiteX61" fmla="*/ 263525 w 4933949"/>
              <a:gd name="connsiteY61" fmla="*/ 54027 h 7196138"/>
              <a:gd name="connsiteX62" fmla="*/ 278018 w 4933949"/>
              <a:gd name="connsiteY62" fmla="*/ 14495 h 7196138"/>
              <a:gd name="connsiteX63" fmla="*/ 317544 w 4933949"/>
              <a:gd name="connsiteY63" fmla="*/ 0 h 7196138"/>
              <a:gd name="connsiteX64" fmla="*/ 3359213 w 4933949"/>
              <a:gd name="connsiteY64" fmla="*/ 0 h 7196138"/>
              <a:gd name="connsiteX65" fmla="*/ 3664991 w 4933949"/>
              <a:gd name="connsiteY65" fmla="*/ 0 h 7196138"/>
              <a:gd name="connsiteX66" fmla="*/ 3705850 w 4933949"/>
              <a:gd name="connsiteY66" fmla="*/ 14497 h 7196138"/>
              <a:gd name="connsiteX67" fmla="*/ 3720348 w 4933949"/>
              <a:gd name="connsiteY67" fmla="*/ 54035 h 7196138"/>
              <a:gd name="connsiteX68" fmla="*/ 3720348 w 4933949"/>
              <a:gd name="connsiteY68" fmla="*/ 1903062 h 7196138"/>
              <a:gd name="connsiteX69" fmla="*/ 3798111 w 4933949"/>
              <a:gd name="connsiteY69" fmla="*/ 2279984 h 7196138"/>
              <a:gd name="connsiteX70" fmla="*/ 3976042 w 4933949"/>
              <a:gd name="connsiteY70" fmla="*/ 2349833 h 7196138"/>
              <a:gd name="connsiteX71" fmla="*/ 4163200 w 4933949"/>
              <a:gd name="connsiteY71" fmla="*/ 2279984 h 7196138"/>
              <a:gd name="connsiteX72" fmla="*/ 4240963 w 4933949"/>
              <a:gd name="connsiteY72" fmla="*/ 1903062 h 7196138"/>
              <a:gd name="connsiteX73" fmla="*/ 4240963 w 4933949"/>
              <a:gd name="connsiteY73" fmla="*/ 54035 h 7196138"/>
              <a:gd name="connsiteX74" fmla="*/ 4255461 w 4933949"/>
              <a:gd name="connsiteY74" fmla="*/ 14497 h 7196138"/>
              <a:gd name="connsiteX75" fmla="*/ 4295001 w 4933949"/>
              <a:gd name="connsiteY75" fmla="*/ 0 h 7196138"/>
              <a:gd name="connsiteX76" fmla="*/ 4602098 w 4933949"/>
              <a:gd name="connsiteY76" fmla="*/ 0 h 7196138"/>
              <a:gd name="connsiteX77" fmla="*/ 4641638 w 4933949"/>
              <a:gd name="connsiteY77" fmla="*/ 14497 h 7196138"/>
              <a:gd name="connsiteX78" fmla="*/ 4656136 w 4933949"/>
              <a:gd name="connsiteY78" fmla="*/ 54035 h 7196138"/>
              <a:gd name="connsiteX79" fmla="*/ 4656136 w 4933949"/>
              <a:gd name="connsiteY79" fmla="*/ 1904380 h 7196138"/>
              <a:gd name="connsiteX80" fmla="*/ 4507201 w 4933949"/>
              <a:gd name="connsiteY80" fmla="*/ 2459220 h 7196138"/>
              <a:gd name="connsiteX81" fmla="*/ 3981314 w 4933949"/>
              <a:gd name="connsiteY81" fmla="*/ 2646363 h 7196138"/>
              <a:gd name="connsiteX82" fmla="*/ 3447519 w 4933949"/>
              <a:gd name="connsiteY82" fmla="*/ 2459220 h 7196138"/>
              <a:gd name="connsiteX83" fmla="*/ 3305174 w 4933949"/>
              <a:gd name="connsiteY83" fmla="*/ 1904380 h 7196138"/>
              <a:gd name="connsiteX84" fmla="*/ 3305174 w 4933949"/>
              <a:gd name="connsiteY84" fmla="*/ 54035 h 7196138"/>
              <a:gd name="connsiteX85" fmla="*/ 3318354 w 4933949"/>
              <a:gd name="connsiteY85" fmla="*/ 14497 h 7196138"/>
              <a:gd name="connsiteX86" fmla="*/ 3359213 w 4933949"/>
              <a:gd name="connsiteY86" fmla="*/ 0 h 7196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933949" h="7196138">
                <a:moveTo>
                  <a:pt x="1050029" y="6094413"/>
                </a:moveTo>
                <a:cubicBezTo>
                  <a:pt x="2409664" y="6623557"/>
                  <a:pt x="2524285" y="6623557"/>
                  <a:pt x="3883920" y="6094413"/>
                </a:cubicBezTo>
                <a:cubicBezTo>
                  <a:pt x="3883920" y="6094413"/>
                  <a:pt x="3883920" y="6094413"/>
                  <a:pt x="4933949" y="6645934"/>
                </a:cubicBezTo>
                <a:cubicBezTo>
                  <a:pt x="4933949" y="6645934"/>
                  <a:pt x="4933949" y="6645934"/>
                  <a:pt x="3883920" y="7196138"/>
                </a:cubicBezTo>
                <a:cubicBezTo>
                  <a:pt x="2524285" y="6668311"/>
                  <a:pt x="2409664" y="6668311"/>
                  <a:pt x="1050029" y="7196138"/>
                </a:cubicBezTo>
                <a:cubicBezTo>
                  <a:pt x="1050029" y="7196138"/>
                  <a:pt x="1050029" y="7196138"/>
                  <a:pt x="0" y="6645934"/>
                </a:cubicBezTo>
                <a:cubicBezTo>
                  <a:pt x="0" y="6645934"/>
                  <a:pt x="0" y="6645934"/>
                  <a:pt x="1050029" y="6094413"/>
                </a:cubicBezTo>
                <a:close/>
                <a:moveTo>
                  <a:pt x="1050029" y="4730750"/>
                </a:moveTo>
                <a:cubicBezTo>
                  <a:pt x="2409664" y="5260657"/>
                  <a:pt x="2524285" y="5260657"/>
                  <a:pt x="3883920" y="4730750"/>
                </a:cubicBezTo>
                <a:cubicBezTo>
                  <a:pt x="3883920" y="4730750"/>
                  <a:pt x="3883920" y="4730750"/>
                  <a:pt x="4933949" y="5283066"/>
                </a:cubicBezTo>
                <a:cubicBezTo>
                  <a:pt x="4933949" y="5283066"/>
                  <a:pt x="4933949" y="5283066"/>
                  <a:pt x="3883920" y="5834063"/>
                </a:cubicBezTo>
                <a:cubicBezTo>
                  <a:pt x="2524285" y="5305475"/>
                  <a:pt x="2409664" y="5305475"/>
                  <a:pt x="1050029" y="5834063"/>
                </a:cubicBezTo>
                <a:cubicBezTo>
                  <a:pt x="1050029" y="5834063"/>
                  <a:pt x="1050029" y="5834063"/>
                  <a:pt x="0" y="5283066"/>
                </a:cubicBezTo>
                <a:cubicBezTo>
                  <a:pt x="0" y="5283066"/>
                  <a:pt x="0" y="5283066"/>
                  <a:pt x="1050029" y="4730750"/>
                </a:cubicBezTo>
                <a:close/>
                <a:moveTo>
                  <a:pt x="1050029" y="3368675"/>
                </a:moveTo>
                <a:cubicBezTo>
                  <a:pt x="2409664" y="3898582"/>
                  <a:pt x="2524285" y="3898582"/>
                  <a:pt x="3883920" y="3368675"/>
                </a:cubicBezTo>
                <a:cubicBezTo>
                  <a:pt x="3883920" y="3368675"/>
                  <a:pt x="3883920" y="3368675"/>
                  <a:pt x="4933949" y="3920991"/>
                </a:cubicBezTo>
                <a:cubicBezTo>
                  <a:pt x="4933949" y="3920991"/>
                  <a:pt x="4933949" y="3920991"/>
                  <a:pt x="3883920" y="4471988"/>
                </a:cubicBezTo>
                <a:cubicBezTo>
                  <a:pt x="2524285" y="3943400"/>
                  <a:pt x="2409664" y="3943400"/>
                  <a:pt x="1050029" y="4471988"/>
                </a:cubicBezTo>
                <a:cubicBezTo>
                  <a:pt x="1050029" y="4471988"/>
                  <a:pt x="1050029" y="4471988"/>
                  <a:pt x="0" y="3920991"/>
                </a:cubicBezTo>
                <a:cubicBezTo>
                  <a:pt x="0" y="3920991"/>
                  <a:pt x="0" y="3920991"/>
                  <a:pt x="1050029" y="3368675"/>
                </a:cubicBezTo>
                <a:close/>
                <a:moveTo>
                  <a:pt x="678543" y="305710"/>
                </a:moveTo>
                <a:lnTo>
                  <a:pt x="678543" y="2307316"/>
                </a:lnTo>
                <a:cubicBezTo>
                  <a:pt x="678543" y="2307316"/>
                  <a:pt x="678543" y="2307316"/>
                  <a:pt x="909109" y="2307316"/>
                </a:cubicBezTo>
                <a:cubicBezTo>
                  <a:pt x="1011875" y="2307316"/>
                  <a:pt x="1072481" y="2291503"/>
                  <a:pt x="1119911" y="2234842"/>
                </a:cubicBezTo>
                <a:cubicBezTo>
                  <a:pt x="1192375" y="2147873"/>
                  <a:pt x="1198962" y="1971299"/>
                  <a:pt x="1198962" y="1615517"/>
                </a:cubicBezTo>
                <a:cubicBezTo>
                  <a:pt x="1198962" y="1615517"/>
                  <a:pt x="1198962" y="1615517"/>
                  <a:pt x="1198962" y="996191"/>
                </a:cubicBezTo>
                <a:cubicBezTo>
                  <a:pt x="1198962" y="641727"/>
                  <a:pt x="1192375" y="465153"/>
                  <a:pt x="1119911" y="378184"/>
                </a:cubicBezTo>
                <a:cubicBezTo>
                  <a:pt x="1072481" y="321522"/>
                  <a:pt x="1011875" y="305710"/>
                  <a:pt x="909109" y="305710"/>
                </a:cubicBezTo>
                <a:cubicBezTo>
                  <a:pt x="909109" y="305710"/>
                  <a:pt x="909109" y="305710"/>
                  <a:pt x="678543" y="305710"/>
                </a:cubicBezTo>
                <a:close/>
                <a:moveTo>
                  <a:pt x="1842869" y="0"/>
                </a:moveTo>
                <a:cubicBezTo>
                  <a:pt x="1842869" y="0"/>
                  <a:pt x="1842869" y="0"/>
                  <a:pt x="3073618" y="0"/>
                </a:cubicBezTo>
                <a:cubicBezTo>
                  <a:pt x="3093384" y="0"/>
                  <a:pt x="3105243" y="5271"/>
                  <a:pt x="3114467" y="14495"/>
                </a:cubicBezTo>
                <a:cubicBezTo>
                  <a:pt x="3122374" y="22401"/>
                  <a:pt x="3128962" y="34261"/>
                  <a:pt x="3128962" y="54027"/>
                </a:cubicBezTo>
                <a:cubicBezTo>
                  <a:pt x="3128962" y="54027"/>
                  <a:pt x="3128962" y="54027"/>
                  <a:pt x="3128962" y="275402"/>
                </a:cubicBezTo>
                <a:cubicBezTo>
                  <a:pt x="3128962" y="295168"/>
                  <a:pt x="3122374" y="307028"/>
                  <a:pt x="3114467" y="314934"/>
                </a:cubicBezTo>
                <a:cubicBezTo>
                  <a:pt x="3105243" y="324158"/>
                  <a:pt x="3093384" y="329429"/>
                  <a:pt x="3073618" y="329429"/>
                </a:cubicBezTo>
                <a:cubicBezTo>
                  <a:pt x="3073618" y="329429"/>
                  <a:pt x="3073618" y="329429"/>
                  <a:pt x="2679620" y="329429"/>
                </a:cubicBezTo>
                <a:cubicBezTo>
                  <a:pt x="2679620" y="329429"/>
                  <a:pt x="2679620" y="329429"/>
                  <a:pt x="2679620" y="2558999"/>
                </a:cubicBezTo>
                <a:cubicBezTo>
                  <a:pt x="2679620" y="2578765"/>
                  <a:pt x="2674349" y="2590624"/>
                  <a:pt x="2665125" y="2598530"/>
                </a:cubicBezTo>
                <a:cubicBezTo>
                  <a:pt x="2657219" y="2607755"/>
                  <a:pt x="2645360" y="2613025"/>
                  <a:pt x="2625594" y="2613025"/>
                </a:cubicBezTo>
                <a:cubicBezTo>
                  <a:pt x="2625594" y="2613025"/>
                  <a:pt x="2625594" y="2613025"/>
                  <a:pt x="2290893" y="2613025"/>
                </a:cubicBezTo>
                <a:cubicBezTo>
                  <a:pt x="2271128" y="2613025"/>
                  <a:pt x="2259268" y="2607755"/>
                  <a:pt x="2250044" y="2598530"/>
                </a:cubicBezTo>
                <a:cubicBezTo>
                  <a:pt x="2240820" y="2590624"/>
                  <a:pt x="2235549" y="2578765"/>
                  <a:pt x="2235549" y="2558999"/>
                </a:cubicBezTo>
                <a:cubicBezTo>
                  <a:pt x="2235549" y="2558999"/>
                  <a:pt x="2235549" y="2558999"/>
                  <a:pt x="2235549" y="329429"/>
                </a:cubicBezTo>
                <a:cubicBezTo>
                  <a:pt x="2235549" y="329429"/>
                  <a:pt x="2235549" y="329429"/>
                  <a:pt x="1842869" y="329429"/>
                </a:cubicBezTo>
                <a:cubicBezTo>
                  <a:pt x="1823104" y="329429"/>
                  <a:pt x="1811244" y="324158"/>
                  <a:pt x="1802020" y="314934"/>
                </a:cubicBezTo>
                <a:cubicBezTo>
                  <a:pt x="1792796" y="307028"/>
                  <a:pt x="1787525" y="295168"/>
                  <a:pt x="1787525" y="275402"/>
                </a:cubicBezTo>
                <a:cubicBezTo>
                  <a:pt x="1787525" y="275402"/>
                  <a:pt x="1787525" y="275402"/>
                  <a:pt x="1787525" y="54027"/>
                </a:cubicBezTo>
                <a:cubicBezTo>
                  <a:pt x="1787525" y="34261"/>
                  <a:pt x="1792796" y="22401"/>
                  <a:pt x="1802020" y="14495"/>
                </a:cubicBezTo>
                <a:cubicBezTo>
                  <a:pt x="1811244" y="5271"/>
                  <a:pt x="1823104" y="0"/>
                  <a:pt x="1842869" y="0"/>
                </a:cubicBezTo>
                <a:close/>
                <a:moveTo>
                  <a:pt x="317544" y="0"/>
                </a:moveTo>
                <a:cubicBezTo>
                  <a:pt x="317544" y="0"/>
                  <a:pt x="317544" y="0"/>
                  <a:pt x="972349" y="0"/>
                </a:cubicBezTo>
                <a:cubicBezTo>
                  <a:pt x="1226630" y="0"/>
                  <a:pt x="1382097" y="57980"/>
                  <a:pt x="1476958" y="179209"/>
                </a:cubicBezTo>
                <a:cubicBezTo>
                  <a:pt x="1615298" y="345241"/>
                  <a:pt x="1619250" y="614055"/>
                  <a:pt x="1619250" y="1025181"/>
                </a:cubicBezTo>
                <a:cubicBezTo>
                  <a:pt x="1619250" y="1025181"/>
                  <a:pt x="1619250" y="1025181"/>
                  <a:pt x="1619250" y="1587845"/>
                </a:cubicBezTo>
                <a:cubicBezTo>
                  <a:pt x="1619250" y="1998971"/>
                  <a:pt x="1615298" y="2267784"/>
                  <a:pt x="1476958" y="2433816"/>
                </a:cubicBezTo>
                <a:cubicBezTo>
                  <a:pt x="1382097" y="2555046"/>
                  <a:pt x="1226630" y="2613025"/>
                  <a:pt x="972349" y="2613025"/>
                </a:cubicBezTo>
                <a:cubicBezTo>
                  <a:pt x="972349" y="2613025"/>
                  <a:pt x="972349" y="2613025"/>
                  <a:pt x="317544" y="2613025"/>
                </a:cubicBezTo>
                <a:cubicBezTo>
                  <a:pt x="297781" y="2613025"/>
                  <a:pt x="285923" y="2607755"/>
                  <a:pt x="278018" y="2598530"/>
                </a:cubicBezTo>
                <a:cubicBezTo>
                  <a:pt x="268795" y="2590624"/>
                  <a:pt x="263525" y="2578765"/>
                  <a:pt x="263525" y="2558999"/>
                </a:cubicBezTo>
                <a:cubicBezTo>
                  <a:pt x="263525" y="2558999"/>
                  <a:pt x="263525" y="2558999"/>
                  <a:pt x="263525" y="54027"/>
                </a:cubicBezTo>
                <a:cubicBezTo>
                  <a:pt x="263525" y="34261"/>
                  <a:pt x="268795" y="22401"/>
                  <a:pt x="278018" y="14495"/>
                </a:cubicBezTo>
                <a:cubicBezTo>
                  <a:pt x="285923" y="5271"/>
                  <a:pt x="297781" y="0"/>
                  <a:pt x="317544" y="0"/>
                </a:cubicBezTo>
                <a:close/>
                <a:moveTo>
                  <a:pt x="3359213" y="0"/>
                </a:moveTo>
                <a:cubicBezTo>
                  <a:pt x="3359213" y="0"/>
                  <a:pt x="3359213" y="0"/>
                  <a:pt x="3664991" y="0"/>
                </a:cubicBezTo>
                <a:cubicBezTo>
                  <a:pt x="3684762" y="0"/>
                  <a:pt x="3696624" y="5272"/>
                  <a:pt x="3705850" y="14497"/>
                </a:cubicBezTo>
                <a:cubicBezTo>
                  <a:pt x="3715076" y="22405"/>
                  <a:pt x="3720348" y="34266"/>
                  <a:pt x="3720348" y="54035"/>
                </a:cubicBezTo>
                <a:cubicBezTo>
                  <a:pt x="3720348" y="54035"/>
                  <a:pt x="3720348" y="54035"/>
                  <a:pt x="3720348" y="1903062"/>
                </a:cubicBezTo>
                <a:cubicBezTo>
                  <a:pt x="3720348" y="2103384"/>
                  <a:pt x="3738800" y="2214089"/>
                  <a:pt x="3798111" y="2279984"/>
                </a:cubicBezTo>
                <a:cubicBezTo>
                  <a:pt x="3841605" y="2328747"/>
                  <a:pt x="3899597" y="2349833"/>
                  <a:pt x="3976042" y="2349833"/>
                </a:cubicBezTo>
                <a:cubicBezTo>
                  <a:pt x="4060395" y="2349833"/>
                  <a:pt x="4121023" y="2326111"/>
                  <a:pt x="4163200" y="2279984"/>
                </a:cubicBezTo>
                <a:cubicBezTo>
                  <a:pt x="4226464" y="2211453"/>
                  <a:pt x="4240963" y="2096795"/>
                  <a:pt x="4240963" y="1903062"/>
                </a:cubicBezTo>
                <a:cubicBezTo>
                  <a:pt x="4240963" y="1903062"/>
                  <a:pt x="4240963" y="1903062"/>
                  <a:pt x="4240963" y="54035"/>
                </a:cubicBezTo>
                <a:cubicBezTo>
                  <a:pt x="4240963" y="34266"/>
                  <a:pt x="4246235" y="22405"/>
                  <a:pt x="4255461" y="14497"/>
                </a:cubicBezTo>
                <a:cubicBezTo>
                  <a:pt x="4263369" y="5272"/>
                  <a:pt x="4276549" y="0"/>
                  <a:pt x="4295001" y="0"/>
                </a:cubicBezTo>
                <a:cubicBezTo>
                  <a:pt x="4295001" y="0"/>
                  <a:pt x="4295001" y="0"/>
                  <a:pt x="4602098" y="0"/>
                </a:cubicBezTo>
                <a:cubicBezTo>
                  <a:pt x="4621868" y="0"/>
                  <a:pt x="4633730" y="5272"/>
                  <a:pt x="4641638" y="14497"/>
                </a:cubicBezTo>
                <a:cubicBezTo>
                  <a:pt x="4650864" y="22405"/>
                  <a:pt x="4656136" y="34266"/>
                  <a:pt x="4656136" y="54035"/>
                </a:cubicBezTo>
                <a:cubicBezTo>
                  <a:pt x="4656136" y="54035"/>
                  <a:pt x="4656136" y="54035"/>
                  <a:pt x="4656136" y="1904380"/>
                </a:cubicBezTo>
                <a:cubicBezTo>
                  <a:pt x="4656136" y="2153465"/>
                  <a:pt x="4627140" y="2319521"/>
                  <a:pt x="4507201" y="2459220"/>
                </a:cubicBezTo>
                <a:cubicBezTo>
                  <a:pt x="4405714" y="2577832"/>
                  <a:pt x="4239645" y="2646363"/>
                  <a:pt x="3981314" y="2646363"/>
                </a:cubicBezTo>
                <a:cubicBezTo>
                  <a:pt x="3726938" y="2646363"/>
                  <a:pt x="3559550" y="2581786"/>
                  <a:pt x="3447519" y="2459220"/>
                </a:cubicBezTo>
                <a:cubicBezTo>
                  <a:pt x="3340760" y="2341926"/>
                  <a:pt x="3305174" y="2173233"/>
                  <a:pt x="3305174" y="1904380"/>
                </a:cubicBezTo>
                <a:cubicBezTo>
                  <a:pt x="3305174" y="1904380"/>
                  <a:pt x="3305174" y="1904380"/>
                  <a:pt x="3305174" y="54035"/>
                </a:cubicBezTo>
                <a:cubicBezTo>
                  <a:pt x="3305174" y="34266"/>
                  <a:pt x="3310446" y="22405"/>
                  <a:pt x="3318354" y="14497"/>
                </a:cubicBezTo>
                <a:cubicBezTo>
                  <a:pt x="3327580" y="5272"/>
                  <a:pt x="3339442" y="0"/>
                  <a:pt x="3359213" y="0"/>
                </a:cubicBezTo>
                <a:close/>
              </a:path>
            </a:pathLst>
          </a:custGeom>
          <a:solidFill>
            <a:srgbClr val="008737"/>
          </a:solidFill>
          <a:ln>
            <a:noFill/>
          </a:ln>
        </p:spPr>
        <p:txBody>
          <a:bodyPr vert="horz" wrap="square" lIns="91440" tIns="45720" rIns="91440" bIns="45720" numCol="1" anchor="t" anchorCtr="0" compatLnSpc="1">
            <a:prstTxWarp prst="textNoShape">
              <a:avLst/>
            </a:prstTxWarp>
            <a:noAutofit/>
          </a:bodyPr>
          <a:lstStyle/>
          <a:p>
            <a:endParaRPr lang="da-DK"/>
          </a:p>
        </p:txBody>
      </p:sp>
      <p:sp>
        <p:nvSpPr>
          <p:cNvPr id="6" name="Date Placeholder 2">
            <a:extLst>
              <a:ext uri="{FF2B5EF4-FFF2-40B4-BE49-F238E27FC236}">
                <a16:creationId xmlns:a16="http://schemas.microsoft.com/office/drawing/2014/main" id="{AF062B26-8169-4B93-8FD8-CFDB0855A961}"/>
              </a:ext>
            </a:extLst>
          </p:cNvPr>
          <p:cNvSpPr>
            <a:spLocks noGrp="1"/>
          </p:cNvSpPr>
          <p:nvPr>
            <p:ph type="dt" sz="half" idx="10"/>
          </p:nvPr>
        </p:nvSpPr>
        <p:spPr>
          <a:xfrm>
            <a:off x="0" y="6912000"/>
            <a:ext cx="0" cy="0"/>
          </a:xfrm>
          <a:prstGeom prst="rect">
            <a:avLst/>
          </a:prstGeom>
        </p:spPr>
        <p:txBody>
          <a:bodyPr/>
          <a:lstStyle>
            <a:lvl1pPr>
              <a:defRPr>
                <a:noFill/>
              </a:defRPr>
            </a:lvl1pPr>
          </a:lstStyle>
          <a:p>
            <a:endParaRPr lang="da-DK" dirty="0"/>
          </a:p>
        </p:txBody>
      </p:sp>
      <p:sp>
        <p:nvSpPr>
          <p:cNvPr id="7" name="Footer Placeholder 3">
            <a:extLst>
              <a:ext uri="{FF2B5EF4-FFF2-40B4-BE49-F238E27FC236}">
                <a16:creationId xmlns:a16="http://schemas.microsoft.com/office/drawing/2014/main" id="{CA59923C-6F09-424E-AF1E-AC62326A9B2B}"/>
              </a:ext>
            </a:extLst>
          </p:cNvPr>
          <p:cNvSpPr>
            <a:spLocks noGrp="1"/>
          </p:cNvSpPr>
          <p:nvPr>
            <p:ph type="ftr" sz="quarter" idx="11"/>
          </p:nvPr>
        </p:nvSpPr>
        <p:spPr>
          <a:xfrm>
            <a:off x="0" y="6912000"/>
            <a:ext cx="0" cy="0"/>
          </a:xfrm>
        </p:spPr>
        <p:txBody>
          <a:bodyPr/>
          <a:lstStyle>
            <a:lvl1pPr>
              <a:defRPr>
                <a:noFill/>
              </a:defRPr>
            </a:lvl1pPr>
          </a:lstStyle>
          <a:p>
            <a:endParaRPr lang="da-DK" dirty="0"/>
          </a:p>
        </p:txBody>
      </p:sp>
      <p:sp>
        <p:nvSpPr>
          <p:cNvPr id="9" name="Slide Number Placeholder 4">
            <a:extLst>
              <a:ext uri="{FF2B5EF4-FFF2-40B4-BE49-F238E27FC236}">
                <a16:creationId xmlns:a16="http://schemas.microsoft.com/office/drawing/2014/main" id="{4C299FA2-BF46-4410-B2CD-E3C80B7A9893}"/>
              </a:ext>
            </a:extLst>
          </p:cNvPr>
          <p:cNvSpPr>
            <a:spLocks noGrp="1"/>
          </p:cNvSpPr>
          <p:nvPr>
            <p:ph type="sldNum" sz="quarter" idx="12"/>
          </p:nvPr>
        </p:nvSpPr>
        <p:spPr>
          <a:xfrm flipV="1">
            <a:off x="0" y="6912000"/>
            <a:ext cx="0" cy="0"/>
          </a:xfrm>
        </p:spPr>
        <p:txBody>
          <a:bodyPr/>
          <a:lstStyle>
            <a:lvl1pPr>
              <a:defRPr>
                <a:noFill/>
              </a:defRPr>
            </a:lvl1pPr>
          </a:lstStyle>
          <a:p>
            <a:fld id="{24C8C45C-947F-4981-8B3F-4F32E973C901}" type="slidenum">
              <a:rPr lang="da-DK" smtClean="0"/>
              <a:pPr/>
              <a:t>‹#›</a:t>
            </a:fld>
            <a:endParaRPr lang="da-DK" dirty="0"/>
          </a:p>
        </p:txBody>
      </p:sp>
      <p:sp>
        <p:nvSpPr>
          <p:cNvPr id="11" name="Bottom bar">
            <a:extLst>
              <a:ext uri="{FF2B5EF4-FFF2-40B4-BE49-F238E27FC236}">
                <a16:creationId xmlns:a16="http://schemas.microsoft.com/office/drawing/2014/main" id="{495865CE-5BE9-4122-8AB8-48E534DD88F7}"/>
              </a:ext>
            </a:extLst>
          </p:cNvPr>
          <p:cNvSpPr/>
          <p:nvPr userDrawn="1"/>
        </p:nvSpPr>
        <p:spPr bwMode="auto">
          <a:xfrm>
            <a:off x="0" y="6541200"/>
            <a:ext cx="12193200" cy="316800"/>
          </a:xfrm>
          <a:prstGeom prst="rect">
            <a:avLst/>
          </a:prstGeom>
          <a:solidFill>
            <a:srgbClr val="008737"/>
          </a:solidFill>
          <a:ln w="9525" cap="flat" cmpd="sng" algn="ctr">
            <a:noFill/>
            <a:prstDash val="solid"/>
            <a:miter lim="800000"/>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432"/>
              </a:spcBef>
              <a:spcAft>
                <a:spcPct val="0"/>
              </a:spcAft>
              <a:buClrTx/>
              <a:buSzTx/>
              <a:buFontTx/>
              <a:buNone/>
              <a:tabLst/>
            </a:pPr>
            <a:endParaRPr kumimoji="0" lang="da-DK" sz="1600" b="0" i="0" u="none" strike="noStrike" cap="none" normalizeH="0" baseline="0" dirty="0" err="1">
              <a:ln>
                <a:noFill/>
              </a:ln>
              <a:solidFill>
                <a:srgbClr val="FFFFFF"/>
              </a:solidFill>
              <a:effectLst/>
              <a:latin typeface="+mn-lt"/>
              <a:ea typeface="ＭＳ Ｐゴシック" pitchFamily="-80" charset="-128"/>
            </a:endParaRPr>
          </a:p>
        </p:txBody>
      </p:sp>
      <p:sp>
        <p:nvSpPr>
          <p:cNvPr id="12" name="Top bar">
            <a:extLst>
              <a:ext uri="{FF2B5EF4-FFF2-40B4-BE49-F238E27FC236}">
                <a16:creationId xmlns:a16="http://schemas.microsoft.com/office/drawing/2014/main" id="{0D436479-94F3-475C-8F8D-D3CDC81793FD}"/>
              </a:ext>
            </a:extLst>
          </p:cNvPr>
          <p:cNvSpPr/>
          <p:nvPr userDrawn="1"/>
        </p:nvSpPr>
        <p:spPr bwMode="auto">
          <a:xfrm>
            <a:off x="0" y="0"/>
            <a:ext cx="12193200" cy="50400"/>
          </a:xfrm>
          <a:prstGeom prst="rect">
            <a:avLst/>
          </a:prstGeom>
          <a:solidFill>
            <a:srgbClr val="008737"/>
          </a:solidFill>
          <a:ln w="9525" cap="flat" cmpd="sng" algn="ctr">
            <a:noFill/>
            <a:prstDash val="solid"/>
            <a:miter lim="800000"/>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432"/>
              </a:spcBef>
              <a:spcAft>
                <a:spcPct val="0"/>
              </a:spcAft>
              <a:buClrTx/>
              <a:buSzTx/>
              <a:buFontTx/>
              <a:buNone/>
              <a:tabLst/>
            </a:pPr>
            <a:endParaRPr kumimoji="0" lang="da-DK" sz="1600" b="0" i="0" u="none" strike="noStrike" cap="none" normalizeH="0" baseline="0" dirty="0" err="1">
              <a:ln>
                <a:noFill/>
              </a:ln>
              <a:solidFill>
                <a:srgbClr val="FFFFFF"/>
              </a:solidFill>
              <a:effectLst/>
              <a:latin typeface="+mn-lt"/>
              <a:ea typeface="ＭＳ Ｐゴシック" pitchFamily="-80" charset="-128"/>
            </a:endParaRPr>
          </a:p>
        </p:txBody>
      </p:sp>
    </p:spTree>
    <p:extLst>
      <p:ext uri="{BB962C8B-B14F-4D97-AF65-F5344CB8AC3E}">
        <p14:creationId xmlns:p14="http://schemas.microsoft.com/office/powerpoint/2010/main" val="349637618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a-DK"/>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4" name="Date Placeholder 3"/>
          <p:cNvSpPr>
            <a:spLocks noGrp="1"/>
          </p:cNvSpPr>
          <p:nvPr>
            <p:ph type="dt" sz="half" idx="10"/>
          </p:nvPr>
        </p:nvSpPr>
        <p:spPr/>
        <p:txBody>
          <a:bodyPr/>
          <a:lstStyle/>
          <a:p>
            <a:endParaRPr lang="da-DK" dirty="0"/>
          </a:p>
        </p:txBody>
      </p:sp>
      <p:sp>
        <p:nvSpPr>
          <p:cNvPr id="5" name="Footer Placeholder 4"/>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51B10101-CE5F-44C4-A3FE-7A8EB2967DBE}" type="slidenum">
              <a:rPr lang="da-DK" smtClean="0"/>
              <a:t>‹#›</a:t>
            </a:fld>
            <a:endParaRPr lang="da-DK"/>
          </a:p>
        </p:txBody>
      </p:sp>
    </p:spTree>
    <p:extLst>
      <p:ext uri="{BB962C8B-B14F-4D97-AF65-F5344CB8AC3E}">
        <p14:creationId xmlns:p14="http://schemas.microsoft.com/office/powerpoint/2010/main" val="40687804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Titel og indholdsobjek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23539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247" y="609602"/>
            <a:ext cx="8595549"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smtClean="0"/>
              <a:pPr/>
              <a:t>7/7/202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9826795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el og indholdsobjekt">
    <p:spTree>
      <p:nvGrpSpPr>
        <p:cNvPr id="1" name=""/>
        <p:cNvGrpSpPr/>
        <p:nvPr/>
      </p:nvGrpSpPr>
      <p:grpSpPr>
        <a:xfrm>
          <a:off x="0" y="0"/>
          <a:ext cx="0" cy="0"/>
          <a:chOff x="0" y="0"/>
          <a:chExt cx="0" cy="0"/>
        </a:xfrm>
      </p:grpSpPr>
      <p:sp>
        <p:nvSpPr>
          <p:cNvPr id="3" name="Pladsholder til indhold 2"/>
          <p:cNvSpPr>
            <a:spLocks noGrp="1"/>
          </p:cNvSpPr>
          <p:nvPr>
            <p:ph idx="1"/>
          </p:nvPr>
        </p:nvSpPr>
        <p:spPr>
          <a:xfrm>
            <a:off x="609521" y="1600201"/>
            <a:ext cx="10971372" cy="4349080"/>
          </a:xfrm>
          <a:solidFill>
            <a:schemeClr val="bg1"/>
          </a:solidFill>
        </p:spPr>
        <p:txBody>
          <a:bodyPr>
            <a:normAutofit/>
          </a:bodyPr>
          <a:lstStyle>
            <a:lvl1pPr marL="285757" indent="-285757">
              <a:buClr>
                <a:schemeClr val="tx2">
                  <a:lumMod val="50000"/>
                </a:schemeClr>
              </a:buClr>
              <a:buFont typeface="Arial" pitchFamily="34" charset="0"/>
              <a:buChar char="•"/>
              <a:defRPr sz="1600" cap="none" spc="200" baseline="0">
                <a:solidFill>
                  <a:srgbClr val="211A52"/>
                </a:solidFill>
              </a:defRPr>
            </a:lvl1pPr>
            <a:lvl2pPr marL="742968" indent="-285757">
              <a:buFont typeface="Arial" pitchFamily="34" charset="0"/>
              <a:buChar char="•"/>
              <a:defRPr sz="1600" cap="none" spc="200" baseline="0">
                <a:solidFill>
                  <a:srgbClr val="211A52"/>
                </a:solidFill>
              </a:defRPr>
            </a:lvl2pPr>
            <a:lvl3pPr marL="1200179" indent="-285757">
              <a:buFont typeface="Arial" pitchFamily="34" charset="0"/>
              <a:buChar char="•"/>
              <a:defRPr sz="1600" cap="none" spc="200" baseline="0">
                <a:solidFill>
                  <a:srgbClr val="211A52"/>
                </a:solidFill>
              </a:defRPr>
            </a:lvl3pPr>
            <a:lvl4pPr marL="1657390" indent="-285757">
              <a:buFont typeface="Arial" pitchFamily="34" charset="0"/>
              <a:buChar char="•"/>
              <a:defRPr sz="1600" cap="none" spc="200" baseline="0">
                <a:solidFill>
                  <a:srgbClr val="211A52"/>
                </a:solidFill>
              </a:defRPr>
            </a:lvl4pPr>
            <a:lvl5pPr marL="2114602" indent="-285757">
              <a:buFont typeface="Arial" pitchFamily="34" charset="0"/>
              <a:buChar char="•"/>
              <a:defRPr sz="1600" cap="none" spc="200" baseline="0">
                <a:solidFill>
                  <a:srgbClr val="211A52"/>
                </a:solidFill>
              </a:defRPr>
            </a:lvl5p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7" name="Titel 6"/>
          <p:cNvSpPr>
            <a:spLocks noGrp="1"/>
          </p:cNvSpPr>
          <p:nvPr>
            <p:ph type="title"/>
          </p:nvPr>
        </p:nvSpPr>
        <p:spPr>
          <a:xfrm>
            <a:off x="591866" y="332656"/>
            <a:ext cx="10971372" cy="1143000"/>
          </a:xfrm>
          <a:solidFill>
            <a:schemeClr val="bg1"/>
          </a:solidFill>
        </p:spPr>
        <p:txBody>
          <a:bodyPr>
            <a:normAutofit/>
          </a:bodyPr>
          <a:lstStyle>
            <a:lvl1pPr algn="ctr">
              <a:defRPr sz="3200" b="0" i="0" kern="0" cap="none" spc="100" baseline="0">
                <a:solidFill>
                  <a:srgbClr val="211A52"/>
                </a:solidFill>
              </a:defRPr>
            </a:lvl1pPr>
          </a:lstStyle>
          <a:p>
            <a:r>
              <a:rPr lang="da-DK" dirty="0"/>
              <a:t>Klik for at redigere i master</a:t>
            </a:r>
          </a:p>
        </p:txBody>
      </p:sp>
      <p:sp>
        <p:nvSpPr>
          <p:cNvPr id="16" name="Pladsholder til diasnummer 15"/>
          <p:cNvSpPr>
            <a:spLocks noGrp="1"/>
          </p:cNvSpPr>
          <p:nvPr>
            <p:ph type="sldNum" sz="quarter" idx="12"/>
          </p:nvPr>
        </p:nvSpPr>
        <p:spPr>
          <a:xfrm>
            <a:off x="8879153" y="6160220"/>
            <a:ext cx="2844430" cy="365125"/>
          </a:xfrm>
        </p:spPr>
        <p:txBody>
          <a:bodyPr/>
          <a:lstStyle>
            <a:lvl1pPr>
              <a:defRPr sz="800" b="1" cap="all" spc="200" baseline="0"/>
            </a:lvl1pPr>
          </a:lstStyle>
          <a:p>
            <a:fld id="{76FF49CB-DA36-4A0D-B7A5-D537E7FBD145}" type="slidenum">
              <a:rPr lang="da-DK" smtClean="0"/>
              <a:pPr/>
              <a:t>‹#›</a:t>
            </a:fld>
            <a:endParaRPr lang="da-DK" dirty="0"/>
          </a:p>
        </p:txBody>
      </p:sp>
    </p:spTree>
    <p:extLst>
      <p:ext uri="{BB962C8B-B14F-4D97-AF65-F5344CB8AC3E}">
        <p14:creationId xmlns:p14="http://schemas.microsoft.com/office/powerpoint/2010/main" val="37025724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Titel og indholdsobjekt">
    <p:spTree>
      <p:nvGrpSpPr>
        <p:cNvPr id="1" name=""/>
        <p:cNvGrpSpPr/>
        <p:nvPr/>
      </p:nvGrpSpPr>
      <p:grpSpPr>
        <a:xfrm>
          <a:off x="0" y="0"/>
          <a:ext cx="0" cy="0"/>
          <a:chOff x="0" y="0"/>
          <a:chExt cx="0" cy="0"/>
        </a:xfrm>
      </p:grpSpPr>
      <p:sp>
        <p:nvSpPr>
          <p:cNvPr id="3" name="Pladsholder til indhold 2"/>
          <p:cNvSpPr>
            <a:spLocks noGrp="1"/>
          </p:cNvSpPr>
          <p:nvPr>
            <p:ph idx="1"/>
          </p:nvPr>
        </p:nvSpPr>
        <p:spPr>
          <a:xfrm>
            <a:off x="609521" y="1600201"/>
            <a:ext cx="10971372" cy="4349080"/>
          </a:xfrm>
          <a:solidFill>
            <a:schemeClr val="bg1"/>
          </a:solidFill>
        </p:spPr>
        <p:txBody>
          <a:bodyPr>
            <a:normAutofit/>
          </a:bodyPr>
          <a:lstStyle>
            <a:lvl1pPr marL="285757" indent="-285757">
              <a:buClr>
                <a:schemeClr val="tx2">
                  <a:lumMod val="50000"/>
                </a:schemeClr>
              </a:buClr>
              <a:buFont typeface="Arial" pitchFamily="34" charset="0"/>
              <a:buChar char="•"/>
              <a:defRPr sz="1600" cap="none" spc="200" baseline="0">
                <a:solidFill>
                  <a:srgbClr val="211A52"/>
                </a:solidFill>
              </a:defRPr>
            </a:lvl1pPr>
            <a:lvl2pPr marL="742968" indent="-285757">
              <a:buFont typeface="Arial" pitchFamily="34" charset="0"/>
              <a:buChar char="•"/>
              <a:defRPr sz="1600" cap="none" spc="200" baseline="0">
                <a:solidFill>
                  <a:srgbClr val="211A52"/>
                </a:solidFill>
              </a:defRPr>
            </a:lvl2pPr>
            <a:lvl3pPr marL="1200179" indent="-285757">
              <a:buFont typeface="Arial" pitchFamily="34" charset="0"/>
              <a:buChar char="•"/>
              <a:defRPr sz="1600" cap="none" spc="200" baseline="0">
                <a:solidFill>
                  <a:srgbClr val="211A52"/>
                </a:solidFill>
              </a:defRPr>
            </a:lvl3pPr>
            <a:lvl4pPr marL="1657390" indent="-285757">
              <a:buFont typeface="Arial" pitchFamily="34" charset="0"/>
              <a:buChar char="•"/>
              <a:defRPr sz="1600" cap="none" spc="200" baseline="0">
                <a:solidFill>
                  <a:srgbClr val="211A52"/>
                </a:solidFill>
              </a:defRPr>
            </a:lvl4pPr>
            <a:lvl5pPr marL="2114602" indent="-285757">
              <a:buFont typeface="Arial" pitchFamily="34" charset="0"/>
              <a:buChar char="•"/>
              <a:defRPr sz="1600" cap="none" spc="200" baseline="0">
                <a:solidFill>
                  <a:srgbClr val="211A52"/>
                </a:solidFill>
              </a:defRPr>
            </a:lvl5p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7" name="Titel 6"/>
          <p:cNvSpPr>
            <a:spLocks noGrp="1"/>
          </p:cNvSpPr>
          <p:nvPr>
            <p:ph type="title"/>
          </p:nvPr>
        </p:nvSpPr>
        <p:spPr>
          <a:xfrm>
            <a:off x="591866" y="332656"/>
            <a:ext cx="10971372" cy="1143000"/>
          </a:xfrm>
          <a:solidFill>
            <a:schemeClr val="bg1"/>
          </a:solidFill>
        </p:spPr>
        <p:txBody>
          <a:bodyPr>
            <a:normAutofit/>
          </a:bodyPr>
          <a:lstStyle>
            <a:lvl1pPr algn="ctr">
              <a:defRPr sz="3200" b="0" i="0" kern="0" cap="none" spc="100" baseline="0">
                <a:solidFill>
                  <a:srgbClr val="211A52"/>
                </a:solidFill>
              </a:defRPr>
            </a:lvl1pPr>
          </a:lstStyle>
          <a:p>
            <a:r>
              <a:rPr lang="da-DK" dirty="0"/>
              <a:t>Klik for at redigere i master</a:t>
            </a:r>
          </a:p>
        </p:txBody>
      </p:sp>
      <p:sp>
        <p:nvSpPr>
          <p:cNvPr id="16" name="Pladsholder til diasnummer 15"/>
          <p:cNvSpPr>
            <a:spLocks noGrp="1"/>
          </p:cNvSpPr>
          <p:nvPr>
            <p:ph type="sldNum" sz="quarter" idx="12"/>
          </p:nvPr>
        </p:nvSpPr>
        <p:spPr>
          <a:xfrm>
            <a:off x="8879153" y="6160220"/>
            <a:ext cx="2844430" cy="365125"/>
          </a:xfrm>
        </p:spPr>
        <p:txBody>
          <a:bodyPr/>
          <a:lstStyle>
            <a:lvl1pPr>
              <a:defRPr sz="800" b="1" cap="all" spc="200" baseline="0"/>
            </a:lvl1pPr>
          </a:lstStyle>
          <a:p>
            <a:fld id="{76FF49CB-DA36-4A0D-B7A5-D537E7FBD145}" type="slidenum">
              <a:rPr lang="da-DK" smtClean="0"/>
              <a:pPr/>
              <a:t>‹#›</a:t>
            </a:fld>
            <a:endParaRPr lang="da-DK" dirty="0"/>
          </a:p>
        </p:txBody>
      </p:sp>
    </p:spTree>
    <p:extLst>
      <p:ext uri="{BB962C8B-B14F-4D97-AF65-F5344CB8AC3E}">
        <p14:creationId xmlns:p14="http://schemas.microsoft.com/office/powerpoint/2010/main" val="16810937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Titel og indholdsobjekt">
    <p:spTree>
      <p:nvGrpSpPr>
        <p:cNvPr id="1" name=""/>
        <p:cNvGrpSpPr/>
        <p:nvPr/>
      </p:nvGrpSpPr>
      <p:grpSpPr>
        <a:xfrm>
          <a:off x="0" y="0"/>
          <a:ext cx="0" cy="0"/>
          <a:chOff x="0" y="0"/>
          <a:chExt cx="0" cy="0"/>
        </a:xfrm>
      </p:grpSpPr>
      <p:sp>
        <p:nvSpPr>
          <p:cNvPr id="3" name="Pladsholder til indhold 2"/>
          <p:cNvSpPr>
            <a:spLocks noGrp="1"/>
          </p:cNvSpPr>
          <p:nvPr>
            <p:ph idx="1"/>
          </p:nvPr>
        </p:nvSpPr>
        <p:spPr>
          <a:xfrm>
            <a:off x="609521" y="1600201"/>
            <a:ext cx="10971372" cy="4349080"/>
          </a:xfrm>
          <a:solidFill>
            <a:schemeClr val="bg1"/>
          </a:solidFill>
        </p:spPr>
        <p:txBody>
          <a:bodyPr>
            <a:normAutofit/>
          </a:bodyPr>
          <a:lstStyle>
            <a:lvl1pPr marL="285757" indent="-285757">
              <a:buClr>
                <a:schemeClr val="tx2">
                  <a:lumMod val="50000"/>
                </a:schemeClr>
              </a:buClr>
              <a:buFont typeface="Arial" pitchFamily="34" charset="0"/>
              <a:buChar char="•"/>
              <a:defRPr sz="1600" cap="none" spc="200" baseline="0">
                <a:solidFill>
                  <a:srgbClr val="211A52"/>
                </a:solidFill>
              </a:defRPr>
            </a:lvl1pPr>
            <a:lvl2pPr marL="742968" indent="-285757">
              <a:buFont typeface="Arial" pitchFamily="34" charset="0"/>
              <a:buChar char="•"/>
              <a:defRPr sz="1600" cap="none" spc="200" baseline="0">
                <a:solidFill>
                  <a:srgbClr val="211A52"/>
                </a:solidFill>
              </a:defRPr>
            </a:lvl2pPr>
            <a:lvl3pPr marL="1200179" indent="-285757">
              <a:buFont typeface="Arial" pitchFamily="34" charset="0"/>
              <a:buChar char="•"/>
              <a:defRPr sz="1600" cap="none" spc="200" baseline="0">
                <a:solidFill>
                  <a:srgbClr val="211A52"/>
                </a:solidFill>
              </a:defRPr>
            </a:lvl3pPr>
            <a:lvl4pPr marL="1657390" indent="-285757">
              <a:buFont typeface="Arial" pitchFamily="34" charset="0"/>
              <a:buChar char="•"/>
              <a:defRPr sz="1600" cap="none" spc="200" baseline="0">
                <a:solidFill>
                  <a:srgbClr val="211A52"/>
                </a:solidFill>
              </a:defRPr>
            </a:lvl4pPr>
            <a:lvl5pPr marL="2114602" indent="-285757">
              <a:buFont typeface="Arial" pitchFamily="34" charset="0"/>
              <a:buChar char="•"/>
              <a:defRPr sz="1600" cap="none" spc="200" baseline="0">
                <a:solidFill>
                  <a:srgbClr val="211A52"/>
                </a:solidFill>
              </a:defRPr>
            </a:lvl5p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7" name="Titel 6"/>
          <p:cNvSpPr>
            <a:spLocks noGrp="1"/>
          </p:cNvSpPr>
          <p:nvPr>
            <p:ph type="title"/>
          </p:nvPr>
        </p:nvSpPr>
        <p:spPr>
          <a:xfrm>
            <a:off x="591866" y="332656"/>
            <a:ext cx="10971372" cy="1143000"/>
          </a:xfrm>
          <a:solidFill>
            <a:schemeClr val="bg1"/>
          </a:solidFill>
        </p:spPr>
        <p:txBody>
          <a:bodyPr>
            <a:normAutofit/>
          </a:bodyPr>
          <a:lstStyle>
            <a:lvl1pPr algn="ctr">
              <a:defRPr sz="3200" b="0" i="0" kern="0" cap="none" spc="100" baseline="0">
                <a:solidFill>
                  <a:srgbClr val="211A52"/>
                </a:solidFill>
              </a:defRPr>
            </a:lvl1pPr>
          </a:lstStyle>
          <a:p>
            <a:r>
              <a:rPr lang="da-DK" dirty="0"/>
              <a:t>Klik for at redigere i master</a:t>
            </a:r>
          </a:p>
        </p:txBody>
      </p:sp>
      <p:sp>
        <p:nvSpPr>
          <p:cNvPr id="16" name="Pladsholder til diasnummer 15"/>
          <p:cNvSpPr>
            <a:spLocks noGrp="1"/>
          </p:cNvSpPr>
          <p:nvPr>
            <p:ph type="sldNum" sz="quarter" idx="12"/>
          </p:nvPr>
        </p:nvSpPr>
        <p:spPr>
          <a:xfrm>
            <a:off x="8879153" y="6160220"/>
            <a:ext cx="2844430" cy="365125"/>
          </a:xfrm>
        </p:spPr>
        <p:txBody>
          <a:bodyPr/>
          <a:lstStyle>
            <a:lvl1pPr>
              <a:defRPr sz="800" b="1" cap="all" spc="200" baseline="0"/>
            </a:lvl1pPr>
          </a:lstStyle>
          <a:p>
            <a:fld id="{76FF49CB-DA36-4A0D-B7A5-D537E7FBD145}" type="slidenum">
              <a:rPr lang="da-DK" smtClean="0"/>
              <a:pPr/>
              <a:t>‹#›</a:t>
            </a:fld>
            <a:endParaRPr lang="da-DK" dirty="0"/>
          </a:p>
        </p:txBody>
      </p:sp>
    </p:spTree>
    <p:extLst>
      <p:ext uri="{BB962C8B-B14F-4D97-AF65-F5344CB8AC3E}">
        <p14:creationId xmlns:p14="http://schemas.microsoft.com/office/powerpoint/2010/main" val="21978620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4_Titel og indholdsobjekt">
    <p:spTree>
      <p:nvGrpSpPr>
        <p:cNvPr id="1" name=""/>
        <p:cNvGrpSpPr/>
        <p:nvPr/>
      </p:nvGrpSpPr>
      <p:grpSpPr>
        <a:xfrm>
          <a:off x="0" y="0"/>
          <a:ext cx="0" cy="0"/>
          <a:chOff x="0" y="0"/>
          <a:chExt cx="0" cy="0"/>
        </a:xfrm>
      </p:grpSpPr>
      <p:sp>
        <p:nvSpPr>
          <p:cNvPr id="3" name="Pladsholder til indhold 2"/>
          <p:cNvSpPr>
            <a:spLocks noGrp="1"/>
          </p:cNvSpPr>
          <p:nvPr>
            <p:ph idx="1"/>
          </p:nvPr>
        </p:nvSpPr>
        <p:spPr>
          <a:xfrm>
            <a:off x="609521" y="1600201"/>
            <a:ext cx="10971372" cy="4349080"/>
          </a:xfrm>
          <a:solidFill>
            <a:schemeClr val="bg1"/>
          </a:solidFill>
        </p:spPr>
        <p:txBody>
          <a:bodyPr>
            <a:normAutofit/>
          </a:bodyPr>
          <a:lstStyle>
            <a:lvl1pPr marL="285757" indent="-285757">
              <a:buClr>
                <a:schemeClr val="tx2">
                  <a:lumMod val="50000"/>
                </a:schemeClr>
              </a:buClr>
              <a:buFont typeface="Arial" pitchFamily="34" charset="0"/>
              <a:buChar char="•"/>
              <a:defRPr sz="1600" cap="none" spc="200" baseline="0">
                <a:solidFill>
                  <a:srgbClr val="211A52"/>
                </a:solidFill>
              </a:defRPr>
            </a:lvl1pPr>
            <a:lvl2pPr marL="742968" indent="-285757">
              <a:buFont typeface="Arial" pitchFamily="34" charset="0"/>
              <a:buChar char="•"/>
              <a:defRPr sz="1600" cap="none" spc="200" baseline="0">
                <a:solidFill>
                  <a:srgbClr val="211A52"/>
                </a:solidFill>
              </a:defRPr>
            </a:lvl2pPr>
            <a:lvl3pPr marL="1200179" indent="-285757">
              <a:buFont typeface="Arial" pitchFamily="34" charset="0"/>
              <a:buChar char="•"/>
              <a:defRPr sz="1600" cap="none" spc="200" baseline="0">
                <a:solidFill>
                  <a:srgbClr val="211A52"/>
                </a:solidFill>
              </a:defRPr>
            </a:lvl3pPr>
            <a:lvl4pPr marL="1657390" indent="-285757">
              <a:buFont typeface="Arial" pitchFamily="34" charset="0"/>
              <a:buChar char="•"/>
              <a:defRPr sz="1600" cap="none" spc="200" baseline="0">
                <a:solidFill>
                  <a:srgbClr val="211A52"/>
                </a:solidFill>
              </a:defRPr>
            </a:lvl4pPr>
            <a:lvl5pPr marL="2114602" indent="-285757">
              <a:buFont typeface="Arial" pitchFamily="34" charset="0"/>
              <a:buChar char="•"/>
              <a:defRPr sz="1600" cap="none" spc="200" baseline="0">
                <a:solidFill>
                  <a:srgbClr val="211A52"/>
                </a:solidFill>
              </a:defRPr>
            </a:lvl5p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7" name="Titel 6"/>
          <p:cNvSpPr>
            <a:spLocks noGrp="1"/>
          </p:cNvSpPr>
          <p:nvPr>
            <p:ph type="title"/>
          </p:nvPr>
        </p:nvSpPr>
        <p:spPr>
          <a:xfrm>
            <a:off x="591866" y="332656"/>
            <a:ext cx="10971372" cy="1143000"/>
          </a:xfrm>
          <a:solidFill>
            <a:schemeClr val="bg1"/>
          </a:solidFill>
        </p:spPr>
        <p:txBody>
          <a:bodyPr>
            <a:normAutofit/>
          </a:bodyPr>
          <a:lstStyle>
            <a:lvl1pPr algn="ctr">
              <a:defRPr sz="3200" b="0" i="0" kern="0" cap="none" spc="100" baseline="0">
                <a:solidFill>
                  <a:srgbClr val="211A52"/>
                </a:solidFill>
              </a:defRPr>
            </a:lvl1pPr>
          </a:lstStyle>
          <a:p>
            <a:r>
              <a:rPr lang="da-DK" dirty="0"/>
              <a:t>Klik for at redigere i master</a:t>
            </a:r>
          </a:p>
        </p:txBody>
      </p:sp>
      <p:sp>
        <p:nvSpPr>
          <p:cNvPr id="16" name="Pladsholder til diasnummer 15"/>
          <p:cNvSpPr>
            <a:spLocks noGrp="1"/>
          </p:cNvSpPr>
          <p:nvPr>
            <p:ph type="sldNum" sz="quarter" idx="12"/>
          </p:nvPr>
        </p:nvSpPr>
        <p:spPr>
          <a:xfrm>
            <a:off x="8879153" y="6160220"/>
            <a:ext cx="2844430" cy="365125"/>
          </a:xfrm>
        </p:spPr>
        <p:txBody>
          <a:bodyPr/>
          <a:lstStyle>
            <a:lvl1pPr>
              <a:defRPr sz="800" b="1" cap="all" spc="200" baseline="0"/>
            </a:lvl1pPr>
          </a:lstStyle>
          <a:p>
            <a:fld id="{76FF49CB-DA36-4A0D-B7A5-D537E7FBD145}" type="slidenum">
              <a:rPr lang="da-DK" smtClean="0"/>
              <a:pPr/>
              <a:t>‹#›</a:t>
            </a:fld>
            <a:endParaRPr lang="da-DK" dirty="0"/>
          </a:p>
        </p:txBody>
      </p:sp>
    </p:spTree>
    <p:extLst>
      <p:ext uri="{BB962C8B-B14F-4D97-AF65-F5344CB8AC3E}">
        <p14:creationId xmlns:p14="http://schemas.microsoft.com/office/powerpoint/2010/main" val="38734682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5_Titel og indholdsobjekt">
    <p:spTree>
      <p:nvGrpSpPr>
        <p:cNvPr id="1" name=""/>
        <p:cNvGrpSpPr/>
        <p:nvPr/>
      </p:nvGrpSpPr>
      <p:grpSpPr>
        <a:xfrm>
          <a:off x="0" y="0"/>
          <a:ext cx="0" cy="0"/>
          <a:chOff x="0" y="0"/>
          <a:chExt cx="0" cy="0"/>
        </a:xfrm>
      </p:grpSpPr>
      <p:sp>
        <p:nvSpPr>
          <p:cNvPr id="3" name="Pladsholder til indhold 2"/>
          <p:cNvSpPr>
            <a:spLocks noGrp="1"/>
          </p:cNvSpPr>
          <p:nvPr>
            <p:ph idx="1"/>
          </p:nvPr>
        </p:nvSpPr>
        <p:spPr>
          <a:xfrm>
            <a:off x="609521" y="1600201"/>
            <a:ext cx="10971372" cy="4349080"/>
          </a:xfrm>
          <a:solidFill>
            <a:schemeClr val="bg1"/>
          </a:solidFill>
        </p:spPr>
        <p:txBody>
          <a:bodyPr>
            <a:normAutofit/>
          </a:bodyPr>
          <a:lstStyle>
            <a:lvl1pPr marL="285757" indent="-285757">
              <a:buClr>
                <a:schemeClr val="tx2">
                  <a:lumMod val="50000"/>
                </a:schemeClr>
              </a:buClr>
              <a:buFont typeface="Arial" pitchFamily="34" charset="0"/>
              <a:buChar char="•"/>
              <a:defRPr sz="1600" cap="none" spc="200" baseline="0">
                <a:solidFill>
                  <a:srgbClr val="211A52"/>
                </a:solidFill>
              </a:defRPr>
            </a:lvl1pPr>
            <a:lvl2pPr marL="742968" indent="-285757">
              <a:buFont typeface="Arial" pitchFamily="34" charset="0"/>
              <a:buChar char="•"/>
              <a:defRPr sz="1600" cap="none" spc="200" baseline="0">
                <a:solidFill>
                  <a:srgbClr val="211A52"/>
                </a:solidFill>
              </a:defRPr>
            </a:lvl2pPr>
            <a:lvl3pPr marL="1200179" indent="-285757">
              <a:buFont typeface="Arial" pitchFamily="34" charset="0"/>
              <a:buChar char="•"/>
              <a:defRPr sz="1600" cap="none" spc="200" baseline="0">
                <a:solidFill>
                  <a:srgbClr val="211A52"/>
                </a:solidFill>
              </a:defRPr>
            </a:lvl3pPr>
            <a:lvl4pPr marL="1657390" indent="-285757">
              <a:buFont typeface="Arial" pitchFamily="34" charset="0"/>
              <a:buChar char="•"/>
              <a:defRPr sz="1600" cap="none" spc="200" baseline="0">
                <a:solidFill>
                  <a:srgbClr val="211A52"/>
                </a:solidFill>
              </a:defRPr>
            </a:lvl4pPr>
            <a:lvl5pPr marL="2114602" indent="-285757">
              <a:buFont typeface="Arial" pitchFamily="34" charset="0"/>
              <a:buChar char="•"/>
              <a:defRPr sz="1600" cap="none" spc="200" baseline="0">
                <a:solidFill>
                  <a:srgbClr val="211A52"/>
                </a:solidFill>
              </a:defRPr>
            </a:lvl5p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7" name="Titel 6"/>
          <p:cNvSpPr>
            <a:spLocks noGrp="1"/>
          </p:cNvSpPr>
          <p:nvPr>
            <p:ph type="title"/>
          </p:nvPr>
        </p:nvSpPr>
        <p:spPr>
          <a:xfrm>
            <a:off x="591866" y="332656"/>
            <a:ext cx="10971372" cy="1143000"/>
          </a:xfrm>
          <a:solidFill>
            <a:schemeClr val="bg1"/>
          </a:solidFill>
        </p:spPr>
        <p:txBody>
          <a:bodyPr>
            <a:normAutofit/>
          </a:bodyPr>
          <a:lstStyle>
            <a:lvl1pPr algn="ctr">
              <a:defRPr sz="3200" b="0" i="0" kern="0" cap="none" spc="100" baseline="0">
                <a:solidFill>
                  <a:srgbClr val="211A52"/>
                </a:solidFill>
              </a:defRPr>
            </a:lvl1pPr>
          </a:lstStyle>
          <a:p>
            <a:r>
              <a:rPr lang="da-DK" dirty="0"/>
              <a:t>Klik for at redigere i master</a:t>
            </a:r>
          </a:p>
        </p:txBody>
      </p:sp>
      <p:sp>
        <p:nvSpPr>
          <p:cNvPr id="16" name="Pladsholder til diasnummer 15"/>
          <p:cNvSpPr>
            <a:spLocks noGrp="1"/>
          </p:cNvSpPr>
          <p:nvPr>
            <p:ph type="sldNum" sz="quarter" idx="12"/>
          </p:nvPr>
        </p:nvSpPr>
        <p:spPr>
          <a:xfrm>
            <a:off x="8879153" y="6160220"/>
            <a:ext cx="2844430" cy="365125"/>
          </a:xfrm>
        </p:spPr>
        <p:txBody>
          <a:bodyPr/>
          <a:lstStyle>
            <a:lvl1pPr>
              <a:defRPr sz="800" b="1" cap="all" spc="200" baseline="0"/>
            </a:lvl1pPr>
          </a:lstStyle>
          <a:p>
            <a:fld id="{76FF49CB-DA36-4A0D-B7A5-D537E7FBD145}" type="slidenum">
              <a:rPr lang="da-DK" smtClean="0"/>
              <a:pPr/>
              <a:t>‹#›</a:t>
            </a:fld>
            <a:endParaRPr lang="da-DK" dirty="0"/>
          </a:p>
        </p:txBody>
      </p:sp>
    </p:spTree>
    <p:extLst>
      <p:ext uri="{BB962C8B-B14F-4D97-AF65-F5344CB8AC3E}">
        <p14:creationId xmlns:p14="http://schemas.microsoft.com/office/powerpoint/2010/main" val="41118727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ront B">
    <p:bg>
      <p:bgRef idx="1001">
        <a:schemeClr val="bg1"/>
      </p:bgRef>
    </p:bg>
    <p:spTree>
      <p:nvGrpSpPr>
        <p:cNvPr id="1" name=""/>
        <p:cNvGrpSpPr/>
        <p:nvPr/>
      </p:nvGrpSpPr>
      <p:grpSpPr>
        <a:xfrm>
          <a:off x="0" y="0"/>
          <a:ext cx="0" cy="0"/>
          <a:chOff x="0" y="0"/>
          <a:chExt cx="0" cy="0"/>
        </a:xfrm>
      </p:grpSpPr>
      <p:sp>
        <p:nvSpPr>
          <p:cNvPr id="114690" name="Rectangle 2"/>
          <p:cNvSpPr>
            <a:spLocks noGrp="1" noChangeArrowheads="1"/>
          </p:cNvSpPr>
          <p:nvPr>
            <p:ph type="ctrTitle"/>
          </p:nvPr>
        </p:nvSpPr>
        <p:spPr>
          <a:xfrm>
            <a:off x="249859" y="3545117"/>
            <a:ext cx="10840028" cy="2706458"/>
          </a:xfrm>
        </p:spPr>
        <p:txBody>
          <a:bodyPr anchor="t" anchorCtr="0"/>
          <a:lstStyle>
            <a:lvl1pPr>
              <a:lnSpc>
                <a:spcPct val="93000"/>
              </a:lnSpc>
              <a:defRPr sz="8000">
                <a:solidFill>
                  <a:schemeClr val="tx1"/>
                </a:solidFill>
              </a:defRPr>
            </a:lvl1pPr>
          </a:lstStyle>
          <a:p>
            <a:pPr lvl="0"/>
            <a:r>
              <a:rPr lang="da-DK" noProof="0"/>
              <a:t>Click to edit Master title style</a:t>
            </a:r>
            <a:endParaRPr lang="da-DK" noProof="0" dirty="0"/>
          </a:p>
        </p:txBody>
      </p:sp>
      <p:sp>
        <p:nvSpPr>
          <p:cNvPr id="114691" name="Rectangle 3"/>
          <p:cNvSpPr>
            <a:spLocks noGrp="1" noChangeArrowheads="1"/>
          </p:cNvSpPr>
          <p:nvPr>
            <p:ph type="subTitle" idx="1"/>
          </p:nvPr>
        </p:nvSpPr>
        <p:spPr>
          <a:xfrm>
            <a:off x="247072" y="1704975"/>
            <a:ext cx="10840028" cy="1660654"/>
          </a:xfrm>
        </p:spPr>
        <p:txBody>
          <a:bodyPr anchor="b" anchorCtr="0"/>
          <a:lstStyle>
            <a:lvl1pPr marL="0" indent="0">
              <a:lnSpc>
                <a:spcPct val="110000"/>
              </a:lnSpc>
              <a:spcBef>
                <a:spcPts val="0"/>
              </a:spcBef>
              <a:buFontTx/>
              <a:buNone/>
              <a:defRPr sz="3000">
                <a:solidFill>
                  <a:schemeClr val="tx1"/>
                </a:solidFill>
              </a:defRPr>
            </a:lvl1pPr>
          </a:lstStyle>
          <a:p>
            <a:pPr lvl="0"/>
            <a:r>
              <a:rPr lang="da-DK" noProof="0"/>
              <a:t>Click to edit Master subtitle style</a:t>
            </a:r>
            <a:endParaRPr lang="da-DK" noProof="0" dirty="0"/>
          </a:p>
        </p:txBody>
      </p:sp>
      <p:sp>
        <p:nvSpPr>
          <p:cNvPr id="3" name="Footer Placeholder 2">
            <a:extLst>
              <a:ext uri="{FF2B5EF4-FFF2-40B4-BE49-F238E27FC236}">
                <a16:creationId xmlns:a16="http://schemas.microsoft.com/office/drawing/2014/main" id="{71346B4F-F02C-40EC-9B70-932B18214C6A}"/>
              </a:ext>
            </a:extLst>
          </p:cNvPr>
          <p:cNvSpPr>
            <a:spLocks noGrp="1"/>
          </p:cNvSpPr>
          <p:nvPr>
            <p:ph type="ftr" sz="quarter" idx="16"/>
          </p:nvPr>
        </p:nvSpPr>
        <p:spPr/>
        <p:txBody>
          <a:bodyPr/>
          <a:lstStyle/>
          <a:p>
            <a:endParaRPr lang="da-DK" dirty="0"/>
          </a:p>
        </p:txBody>
      </p:sp>
      <p:sp>
        <p:nvSpPr>
          <p:cNvPr id="4" name="Slide Number Placeholder 3">
            <a:extLst>
              <a:ext uri="{FF2B5EF4-FFF2-40B4-BE49-F238E27FC236}">
                <a16:creationId xmlns:a16="http://schemas.microsoft.com/office/drawing/2014/main" id="{FE67EB69-BB5A-407E-BF0A-1CB9B24506D8}"/>
              </a:ext>
            </a:extLst>
          </p:cNvPr>
          <p:cNvSpPr>
            <a:spLocks noGrp="1"/>
          </p:cNvSpPr>
          <p:nvPr>
            <p:ph type="sldNum" sz="quarter" idx="17"/>
          </p:nvPr>
        </p:nvSpPr>
        <p:spPr/>
        <p:txBody>
          <a:bodyPr/>
          <a:lstStyle>
            <a:lvl1pPr>
              <a:defRPr>
                <a:solidFill>
                  <a:schemeClr val="bg1"/>
                </a:solidFill>
              </a:defRPr>
            </a:lvl1pPr>
          </a:lstStyle>
          <a:p>
            <a:fld id="{103EA872-A674-449B-A120-B97244F8E91D}" type="slidenum">
              <a:rPr lang="da-DK" smtClean="0"/>
              <a:pPr/>
              <a:t>‹#›</a:t>
            </a:fld>
            <a:endParaRPr lang="da-DK" dirty="0"/>
          </a:p>
        </p:txBody>
      </p:sp>
    </p:spTree>
    <p:extLst>
      <p:ext uri="{BB962C8B-B14F-4D97-AF65-F5344CB8AC3E}">
        <p14:creationId xmlns:p14="http://schemas.microsoft.com/office/powerpoint/2010/main" val="122591931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56" userDrawn="1">
          <p15:clr>
            <a:srgbClr val="F26B43"/>
          </p15:clr>
        </p15:guide>
        <p15:guide id="2" pos="6984" userDrawn="1">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6_Titel og indholdsobjekt">
    <p:spTree>
      <p:nvGrpSpPr>
        <p:cNvPr id="1" name=""/>
        <p:cNvGrpSpPr/>
        <p:nvPr/>
      </p:nvGrpSpPr>
      <p:grpSpPr>
        <a:xfrm>
          <a:off x="0" y="0"/>
          <a:ext cx="0" cy="0"/>
          <a:chOff x="0" y="0"/>
          <a:chExt cx="0" cy="0"/>
        </a:xfrm>
      </p:grpSpPr>
      <p:sp>
        <p:nvSpPr>
          <p:cNvPr id="3" name="Pladsholder til indhold 2"/>
          <p:cNvSpPr>
            <a:spLocks noGrp="1"/>
          </p:cNvSpPr>
          <p:nvPr>
            <p:ph idx="1"/>
          </p:nvPr>
        </p:nvSpPr>
        <p:spPr>
          <a:xfrm>
            <a:off x="609521" y="1600201"/>
            <a:ext cx="10971372" cy="4349080"/>
          </a:xfrm>
          <a:solidFill>
            <a:schemeClr val="bg1"/>
          </a:solidFill>
        </p:spPr>
        <p:txBody>
          <a:bodyPr>
            <a:normAutofit/>
          </a:bodyPr>
          <a:lstStyle>
            <a:lvl1pPr marL="285757" indent="-285757">
              <a:buClr>
                <a:schemeClr val="tx2">
                  <a:lumMod val="50000"/>
                </a:schemeClr>
              </a:buClr>
              <a:buFont typeface="Arial" pitchFamily="34" charset="0"/>
              <a:buChar char="•"/>
              <a:defRPr sz="1600" cap="none" spc="200" baseline="0">
                <a:solidFill>
                  <a:srgbClr val="211A52"/>
                </a:solidFill>
              </a:defRPr>
            </a:lvl1pPr>
            <a:lvl2pPr marL="742968" indent="-285757">
              <a:buFont typeface="Arial" pitchFamily="34" charset="0"/>
              <a:buChar char="•"/>
              <a:defRPr sz="1600" cap="none" spc="200" baseline="0">
                <a:solidFill>
                  <a:srgbClr val="211A52"/>
                </a:solidFill>
              </a:defRPr>
            </a:lvl2pPr>
            <a:lvl3pPr marL="1200179" indent="-285757">
              <a:buFont typeface="Arial" pitchFamily="34" charset="0"/>
              <a:buChar char="•"/>
              <a:defRPr sz="1600" cap="none" spc="200" baseline="0">
                <a:solidFill>
                  <a:srgbClr val="211A52"/>
                </a:solidFill>
              </a:defRPr>
            </a:lvl3pPr>
            <a:lvl4pPr marL="1657390" indent="-285757">
              <a:buFont typeface="Arial" pitchFamily="34" charset="0"/>
              <a:buChar char="•"/>
              <a:defRPr sz="1600" cap="none" spc="200" baseline="0">
                <a:solidFill>
                  <a:srgbClr val="211A52"/>
                </a:solidFill>
              </a:defRPr>
            </a:lvl4pPr>
            <a:lvl5pPr marL="2114602" indent="-285757">
              <a:buFont typeface="Arial" pitchFamily="34" charset="0"/>
              <a:buChar char="•"/>
              <a:defRPr sz="1600" cap="none" spc="200" baseline="0">
                <a:solidFill>
                  <a:srgbClr val="211A52"/>
                </a:solidFill>
              </a:defRPr>
            </a:lvl5p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7" name="Titel 6"/>
          <p:cNvSpPr>
            <a:spLocks noGrp="1"/>
          </p:cNvSpPr>
          <p:nvPr>
            <p:ph type="title"/>
          </p:nvPr>
        </p:nvSpPr>
        <p:spPr>
          <a:xfrm>
            <a:off x="591866" y="332656"/>
            <a:ext cx="10971372" cy="1143000"/>
          </a:xfrm>
          <a:solidFill>
            <a:schemeClr val="bg1"/>
          </a:solidFill>
        </p:spPr>
        <p:txBody>
          <a:bodyPr>
            <a:normAutofit/>
          </a:bodyPr>
          <a:lstStyle>
            <a:lvl1pPr algn="ctr">
              <a:defRPr sz="3200" b="0" i="0" kern="0" cap="none" spc="100" baseline="0">
                <a:solidFill>
                  <a:srgbClr val="211A52"/>
                </a:solidFill>
              </a:defRPr>
            </a:lvl1pPr>
          </a:lstStyle>
          <a:p>
            <a:r>
              <a:rPr lang="da-DK" dirty="0"/>
              <a:t>Klik for at redigere i master</a:t>
            </a:r>
          </a:p>
        </p:txBody>
      </p:sp>
      <p:sp>
        <p:nvSpPr>
          <p:cNvPr id="14" name="Pladsholder til dato 13"/>
          <p:cNvSpPr>
            <a:spLocks noGrp="1"/>
          </p:cNvSpPr>
          <p:nvPr>
            <p:ph type="dt" sz="half" idx="10"/>
          </p:nvPr>
        </p:nvSpPr>
        <p:spPr>
          <a:xfrm>
            <a:off x="623310" y="6221831"/>
            <a:ext cx="4319918" cy="591546"/>
          </a:xfrm>
          <a:prstGeom prst="rect">
            <a:avLst/>
          </a:prstGeom>
        </p:spPr>
        <p:txBody>
          <a:bodyPr/>
          <a:lstStyle>
            <a:lvl1pPr>
              <a:defRPr sz="800" b="1" cap="all" spc="200" baseline="0"/>
            </a:lvl1pPr>
          </a:lstStyle>
          <a:p>
            <a:endParaRPr lang="da-DK" dirty="0"/>
          </a:p>
          <a:p>
            <a:r>
              <a:rPr lang="da-DK" sz="1000" dirty="0"/>
              <a:t>DIST</a:t>
            </a:r>
            <a:endParaRPr lang="da-DK" sz="800" dirty="0"/>
          </a:p>
          <a:p>
            <a:r>
              <a:rPr lang="da-DK" dirty="0"/>
              <a:t>DEVELOPMENT AND PLANNING</a:t>
            </a:r>
          </a:p>
          <a:p>
            <a:endParaRPr lang="da-DK" dirty="0"/>
          </a:p>
          <a:p>
            <a:endParaRPr lang="da-DK" dirty="0"/>
          </a:p>
          <a:p>
            <a:endParaRPr lang="da-DK" dirty="0"/>
          </a:p>
        </p:txBody>
      </p:sp>
      <p:sp>
        <p:nvSpPr>
          <p:cNvPr id="16" name="Pladsholder til diasnummer 15"/>
          <p:cNvSpPr>
            <a:spLocks noGrp="1"/>
          </p:cNvSpPr>
          <p:nvPr>
            <p:ph type="sldNum" sz="quarter" idx="12"/>
          </p:nvPr>
        </p:nvSpPr>
        <p:spPr>
          <a:xfrm>
            <a:off x="8879153" y="6160220"/>
            <a:ext cx="2844430" cy="365125"/>
          </a:xfrm>
        </p:spPr>
        <p:txBody>
          <a:bodyPr/>
          <a:lstStyle>
            <a:lvl1pPr>
              <a:defRPr sz="800" b="1" cap="all" spc="200" baseline="0"/>
            </a:lvl1pPr>
          </a:lstStyle>
          <a:p>
            <a:fld id="{76FF49CB-DA36-4A0D-B7A5-D537E7FBD145}" type="slidenum">
              <a:rPr lang="da-DK" smtClean="0"/>
              <a:pPr/>
              <a:t>‹#›</a:t>
            </a:fld>
            <a:endParaRPr lang="da-DK" dirty="0"/>
          </a:p>
        </p:txBody>
      </p:sp>
      <p:pic>
        <p:nvPicPr>
          <p:cNvPr id="2" name="Billed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07046" y="5949280"/>
            <a:ext cx="1548142" cy="817642"/>
          </a:xfrm>
          <a:prstGeom prst="rect">
            <a:avLst/>
          </a:prstGeom>
        </p:spPr>
      </p:pic>
    </p:spTree>
    <p:extLst>
      <p:ext uri="{BB962C8B-B14F-4D97-AF65-F5344CB8AC3E}">
        <p14:creationId xmlns:p14="http://schemas.microsoft.com/office/powerpoint/2010/main" val="211996495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7_Titel og indholdsobjekt">
    <p:spTree>
      <p:nvGrpSpPr>
        <p:cNvPr id="1" name=""/>
        <p:cNvGrpSpPr/>
        <p:nvPr/>
      </p:nvGrpSpPr>
      <p:grpSpPr>
        <a:xfrm>
          <a:off x="0" y="0"/>
          <a:ext cx="0" cy="0"/>
          <a:chOff x="0" y="0"/>
          <a:chExt cx="0" cy="0"/>
        </a:xfrm>
      </p:grpSpPr>
      <p:sp>
        <p:nvSpPr>
          <p:cNvPr id="3" name="Pladsholder til indhold 2"/>
          <p:cNvSpPr>
            <a:spLocks noGrp="1"/>
          </p:cNvSpPr>
          <p:nvPr>
            <p:ph idx="1"/>
          </p:nvPr>
        </p:nvSpPr>
        <p:spPr>
          <a:xfrm>
            <a:off x="609521" y="1600201"/>
            <a:ext cx="10971372" cy="4349080"/>
          </a:xfrm>
          <a:solidFill>
            <a:schemeClr val="bg1"/>
          </a:solidFill>
        </p:spPr>
        <p:txBody>
          <a:bodyPr>
            <a:normAutofit/>
          </a:bodyPr>
          <a:lstStyle>
            <a:lvl1pPr marL="285757" indent="-285757">
              <a:buClr>
                <a:schemeClr val="tx2">
                  <a:lumMod val="50000"/>
                </a:schemeClr>
              </a:buClr>
              <a:buFont typeface="Arial" pitchFamily="34" charset="0"/>
              <a:buChar char="•"/>
              <a:defRPr sz="1600" cap="none" spc="200" baseline="0">
                <a:solidFill>
                  <a:srgbClr val="211A52"/>
                </a:solidFill>
              </a:defRPr>
            </a:lvl1pPr>
            <a:lvl2pPr marL="742968" indent="-285757">
              <a:buFont typeface="Arial" pitchFamily="34" charset="0"/>
              <a:buChar char="•"/>
              <a:defRPr sz="1600" cap="none" spc="200" baseline="0">
                <a:solidFill>
                  <a:srgbClr val="211A52"/>
                </a:solidFill>
              </a:defRPr>
            </a:lvl2pPr>
            <a:lvl3pPr marL="1200179" indent="-285757">
              <a:buFont typeface="Arial" pitchFamily="34" charset="0"/>
              <a:buChar char="•"/>
              <a:defRPr sz="1600" cap="none" spc="200" baseline="0">
                <a:solidFill>
                  <a:srgbClr val="211A52"/>
                </a:solidFill>
              </a:defRPr>
            </a:lvl3pPr>
            <a:lvl4pPr marL="1657390" indent="-285757">
              <a:buFont typeface="Arial" pitchFamily="34" charset="0"/>
              <a:buChar char="•"/>
              <a:defRPr sz="1600" cap="none" spc="200" baseline="0">
                <a:solidFill>
                  <a:srgbClr val="211A52"/>
                </a:solidFill>
              </a:defRPr>
            </a:lvl4pPr>
            <a:lvl5pPr marL="2114602" indent="-285757">
              <a:buFont typeface="Arial" pitchFamily="34" charset="0"/>
              <a:buChar char="•"/>
              <a:defRPr sz="1600" cap="none" spc="200" baseline="0">
                <a:solidFill>
                  <a:srgbClr val="211A52"/>
                </a:solidFill>
              </a:defRPr>
            </a:lvl5p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7" name="Titel 6"/>
          <p:cNvSpPr>
            <a:spLocks noGrp="1"/>
          </p:cNvSpPr>
          <p:nvPr>
            <p:ph type="title"/>
          </p:nvPr>
        </p:nvSpPr>
        <p:spPr>
          <a:xfrm>
            <a:off x="591866" y="332656"/>
            <a:ext cx="10971372" cy="1143000"/>
          </a:xfrm>
          <a:solidFill>
            <a:schemeClr val="bg1"/>
          </a:solidFill>
        </p:spPr>
        <p:txBody>
          <a:bodyPr>
            <a:normAutofit/>
          </a:bodyPr>
          <a:lstStyle>
            <a:lvl1pPr algn="ctr">
              <a:defRPr sz="3200" b="0" i="0" kern="0" cap="none" spc="100" baseline="0">
                <a:solidFill>
                  <a:srgbClr val="211A52"/>
                </a:solidFill>
              </a:defRPr>
            </a:lvl1pPr>
          </a:lstStyle>
          <a:p>
            <a:r>
              <a:rPr lang="da-DK" dirty="0"/>
              <a:t>Klik for at redigere i master</a:t>
            </a:r>
          </a:p>
        </p:txBody>
      </p:sp>
      <p:sp>
        <p:nvSpPr>
          <p:cNvPr id="14" name="Pladsholder til dato 13"/>
          <p:cNvSpPr>
            <a:spLocks noGrp="1"/>
          </p:cNvSpPr>
          <p:nvPr>
            <p:ph type="dt" sz="half" idx="10"/>
          </p:nvPr>
        </p:nvSpPr>
        <p:spPr>
          <a:xfrm>
            <a:off x="623310" y="6221831"/>
            <a:ext cx="4319918" cy="591546"/>
          </a:xfrm>
          <a:prstGeom prst="rect">
            <a:avLst/>
          </a:prstGeom>
        </p:spPr>
        <p:txBody>
          <a:bodyPr/>
          <a:lstStyle>
            <a:lvl1pPr>
              <a:defRPr sz="800" b="1" cap="all" spc="200" baseline="0"/>
            </a:lvl1pPr>
          </a:lstStyle>
          <a:p>
            <a:endParaRPr lang="da-DK" dirty="0"/>
          </a:p>
          <a:p>
            <a:r>
              <a:rPr lang="da-DK" sz="1000" dirty="0"/>
              <a:t>DIST</a:t>
            </a:r>
            <a:endParaRPr lang="da-DK" sz="800" dirty="0"/>
          </a:p>
          <a:p>
            <a:r>
              <a:rPr lang="da-DK" dirty="0"/>
              <a:t>DEVELOPMENT AND PLANNING</a:t>
            </a:r>
          </a:p>
          <a:p>
            <a:endParaRPr lang="da-DK" dirty="0"/>
          </a:p>
          <a:p>
            <a:endParaRPr lang="da-DK" dirty="0"/>
          </a:p>
          <a:p>
            <a:endParaRPr lang="da-DK" dirty="0"/>
          </a:p>
        </p:txBody>
      </p:sp>
      <p:sp>
        <p:nvSpPr>
          <p:cNvPr id="16" name="Pladsholder til diasnummer 15"/>
          <p:cNvSpPr>
            <a:spLocks noGrp="1"/>
          </p:cNvSpPr>
          <p:nvPr>
            <p:ph type="sldNum" sz="quarter" idx="12"/>
          </p:nvPr>
        </p:nvSpPr>
        <p:spPr>
          <a:xfrm>
            <a:off x="8879153" y="6160220"/>
            <a:ext cx="2844430" cy="365125"/>
          </a:xfrm>
        </p:spPr>
        <p:txBody>
          <a:bodyPr/>
          <a:lstStyle>
            <a:lvl1pPr>
              <a:defRPr sz="800" b="1" cap="all" spc="200" baseline="0"/>
            </a:lvl1pPr>
          </a:lstStyle>
          <a:p>
            <a:fld id="{76FF49CB-DA36-4A0D-B7A5-D537E7FBD145}" type="slidenum">
              <a:rPr lang="da-DK" smtClean="0"/>
              <a:pPr/>
              <a:t>‹#›</a:t>
            </a:fld>
            <a:endParaRPr lang="da-DK" dirty="0"/>
          </a:p>
        </p:txBody>
      </p:sp>
      <p:pic>
        <p:nvPicPr>
          <p:cNvPr id="2" name="Billed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07046" y="5949280"/>
            <a:ext cx="1548142" cy="817642"/>
          </a:xfrm>
          <a:prstGeom prst="rect">
            <a:avLst/>
          </a:prstGeom>
        </p:spPr>
      </p:pic>
    </p:spTree>
    <p:extLst>
      <p:ext uri="{BB962C8B-B14F-4D97-AF65-F5344CB8AC3E}">
        <p14:creationId xmlns:p14="http://schemas.microsoft.com/office/powerpoint/2010/main" val="200907855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8_Titel og indholdsobjekt">
    <p:spTree>
      <p:nvGrpSpPr>
        <p:cNvPr id="1" name=""/>
        <p:cNvGrpSpPr/>
        <p:nvPr/>
      </p:nvGrpSpPr>
      <p:grpSpPr>
        <a:xfrm>
          <a:off x="0" y="0"/>
          <a:ext cx="0" cy="0"/>
          <a:chOff x="0" y="0"/>
          <a:chExt cx="0" cy="0"/>
        </a:xfrm>
      </p:grpSpPr>
      <p:sp>
        <p:nvSpPr>
          <p:cNvPr id="3" name="Pladsholder til indhold 2"/>
          <p:cNvSpPr>
            <a:spLocks noGrp="1"/>
          </p:cNvSpPr>
          <p:nvPr>
            <p:ph idx="1"/>
          </p:nvPr>
        </p:nvSpPr>
        <p:spPr>
          <a:xfrm>
            <a:off x="609521" y="1600201"/>
            <a:ext cx="10971372" cy="4349080"/>
          </a:xfrm>
          <a:solidFill>
            <a:schemeClr val="bg1"/>
          </a:solidFill>
        </p:spPr>
        <p:txBody>
          <a:bodyPr>
            <a:normAutofit/>
          </a:bodyPr>
          <a:lstStyle>
            <a:lvl1pPr marL="285757" indent="-285757">
              <a:buClr>
                <a:schemeClr val="tx2">
                  <a:lumMod val="50000"/>
                </a:schemeClr>
              </a:buClr>
              <a:buFont typeface="Arial" pitchFamily="34" charset="0"/>
              <a:buChar char="•"/>
              <a:defRPr sz="1600" cap="none" spc="200" baseline="0">
                <a:solidFill>
                  <a:srgbClr val="211A52"/>
                </a:solidFill>
              </a:defRPr>
            </a:lvl1pPr>
            <a:lvl2pPr marL="742968" indent="-285757">
              <a:buFont typeface="Arial" pitchFamily="34" charset="0"/>
              <a:buChar char="•"/>
              <a:defRPr sz="1600" cap="none" spc="200" baseline="0">
                <a:solidFill>
                  <a:srgbClr val="211A52"/>
                </a:solidFill>
              </a:defRPr>
            </a:lvl2pPr>
            <a:lvl3pPr marL="1200179" indent="-285757">
              <a:buFont typeface="Arial" pitchFamily="34" charset="0"/>
              <a:buChar char="•"/>
              <a:defRPr sz="1600" cap="none" spc="200" baseline="0">
                <a:solidFill>
                  <a:srgbClr val="211A52"/>
                </a:solidFill>
              </a:defRPr>
            </a:lvl3pPr>
            <a:lvl4pPr marL="1657390" indent="-285757">
              <a:buFont typeface="Arial" pitchFamily="34" charset="0"/>
              <a:buChar char="•"/>
              <a:defRPr sz="1600" cap="none" spc="200" baseline="0">
                <a:solidFill>
                  <a:srgbClr val="211A52"/>
                </a:solidFill>
              </a:defRPr>
            </a:lvl4pPr>
            <a:lvl5pPr marL="2114602" indent="-285757">
              <a:buFont typeface="Arial" pitchFamily="34" charset="0"/>
              <a:buChar char="•"/>
              <a:defRPr sz="1600" cap="none" spc="200" baseline="0">
                <a:solidFill>
                  <a:srgbClr val="211A52"/>
                </a:solidFill>
              </a:defRPr>
            </a:lvl5p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7" name="Titel 6"/>
          <p:cNvSpPr>
            <a:spLocks noGrp="1"/>
          </p:cNvSpPr>
          <p:nvPr>
            <p:ph type="title"/>
          </p:nvPr>
        </p:nvSpPr>
        <p:spPr>
          <a:xfrm>
            <a:off x="591866" y="332656"/>
            <a:ext cx="10971372" cy="1143000"/>
          </a:xfrm>
          <a:solidFill>
            <a:schemeClr val="bg1"/>
          </a:solidFill>
        </p:spPr>
        <p:txBody>
          <a:bodyPr>
            <a:normAutofit/>
          </a:bodyPr>
          <a:lstStyle>
            <a:lvl1pPr algn="ctr">
              <a:defRPr sz="3200" b="0" i="0" kern="0" cap="none" spc="100" baseline="0">
                <a:solidFill>
                  <a:srgbClr val="211A52"/>
                </a:solidFill>
              </a:defRPr>
            </a:lvl1pPr>
          </a:lstStyle>
          <a:p>
            <a:r>
              <a:rPr lang="da-DK" dirty="0"/>
              <a:t>Klik for at redigere i master</a:t>
            </a:r>
          </a:p>
        </p:txBody>
      </p:sp>
      <p:sp>
        <p:nvSpPr>
          <p:cNvPr id="14" name="Pladsholder til dato 13"/>
          <p:cNvSpPr>
            <a:spLocks noGrp="1"/>
          </p:cNvSpPr>
          <p:nvPr>
            <p:ph type="dt" sz="half" idx="10"/>
          </p:nvPr>
        </p:nvSpPr>
        <p:spPr>
          <a:xfrm>
            <a:off x="623310" y="6221831"/>
            <a:ext cx="4319918" cy="591546"/>
          </a:xfrm>
          <a:prstGeom prst="rect">
            <a:avLst/>
          </a:prstGeom>
        </p:spPr>
        <p:txBody>
          <a:bodyPr/>
          <a:lstStyle>
            <a:lvl1pPr>
              <a:defRPr sz="800" b="1" cap="all" spc="200" baseline="0"/>
            </a:lvl1pPr>
          </a:lstStyle>
          <a:p>
            <a:endParaRPr lang="da-DK" dirty="0"/>
          </a:p>
          <a:p>
            <a:r>
              <a:rPr lang="da-DK" sz="1000" dirty="0"/>
              <a:t>DIST</a:t>
            </a:r>
            <a:endParaRPr lang="da-DK" sz="800" dirty="0"/>
          </a:p>
          <a:p>
            <a:r>
              <a:rPr lang="da-DK" dirty="0"/>
              <a:t>DEVELOPMENT AND PLANNING</a:t>
            </a:r>
          </a:p>
          <a:p>
            <a:endParaRPr lang="da-DK" dirty="0"/>
          </a:p>
          <a:p>
            <a:endParaRPr lang="da-DK" dirty="0"/>
          </a:p>
          <a:p>
            <a:endParaRPr lang="da-DK" dirty="0"/>
          </a:p>
        </p:txBody>
      </p:sp>
      <p:sp>
        <p:nvSpPr>
          <p:cNvPr id="16" name="Pladsholder til diasnummer 15"/>
          <p:cNvSpPr>
            <a:spLocks noGrp="1"/>
          </p:cNvSpPr>
          <p:nvPr>
            <p:ph type="sldNum" sz="quarter" idx="12"/>
          </p:nvPr>
        </p:nvSpPr>
        <p:spPr>
          <a:xfrm>
            <a:off x="8879153" y="6160220"/>
            <a:ext cx="2844430" cy="365125"/>
          </a:xfrm>
        </p:spPr>
        <p:txBody>
          <a:bodyPr/>
          <a:lstStyle>
            <a:lvl1pPr>
              <a:defRPr sz="800" b="1" cap="all" spc="200" baseline="0"/>
            </a:lvl1pPr>
          </a:lstStyle>
          <a:p>
            <a:fld id="{76FF49CB-DA36-4A0D-B7A5-D537E7FBD145}" type="slidenum">
              <a:rPr lang="da-DK" smtClean="0"/>
              <a:pPr/>
              <a:t>‹#›</a:t>
            </a:fld>
            <a:endParaRPr lang="da-DK" dirty="0"/>
          </a:p>
        </p:txBody>
      </p:sp>
      <p:pic>
        <p:nvPicPr>
          <p:cNvPr id="2" name="Billed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07046" y="5949280"/>
            <a:ext cx="1548142" cy="817642"/>
          </a:xfrm>
          <a:prstGeom prst="rect">
            <a:avLst/>
          </a:prstGeom>
        </p:spPr>
      </p:pic>
    </p:spTree>
    <p:extLst>
      <p:ext uri="{BB962C8B-B14F-4D97-AF65-F5344CB8AC3E}">
        <p14:creationId xmlns:p14="http://schemas.microsoft.com/office/powerpoint/2010/main" val="14244412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9_Titel og indholdsobjekt">
    <p:spTree>
      <p:nvGrpSpPr>
        <p:cNvPr id="1" name=""/>
        <p:cNvGrpSpPr/>
        <p:nvPr/>
      </p:nvGrpSpPr>
      <p:grpSpPr>
        <a:xfrm>
          <a:off x="0" y="0"/>
          <a:ext cx="0" cy="0"/>
          <a:chOff x="0" y="0"/>
          <a:chExt cx="0" cy="0"/>
        </a:xfrm>
      </p:grpSpPr>
      <p:sp>
        <p:nvSpPr>
          <p:cNvPr id="3" name="Pladsholder til indhold 2"/>
          <p:cNvSpPr>
            <a:spLocks noGrp="1"/>
          </p:cNvSpPr>
          <p:nvPr>
            <p:ph idx="1"/>
          </p:nvPr>
        </p:nvSpPr>
        <p:spPr>
          <a:xfrm>
            <a:off x="609521" y="1600201"/>
            <a:ext cx="10971372" cy="4349080"/>
          </a:xfrm>
          <a:solidFill>
            <a:schemeClr val="bg1"/>
          </a:solidFill>
        </p:spPr>
        <p:txBody>
          <a:bodyPr>
            <a:normAutofit/>
          </a:bodyPr>
          <a:lstStyle>
            <a:lvl1pPr marL="285757" indent="-285757">
              <a:buClr>
                <a:schemeClr val="tx2">
                  <a:lumMod val="50000"/>
                </a:schemeClr>
              </a:buClr>
              <a:buFont typeface="Arial" pitchFamily="34" charset="0"/>
              <a:buChar char="•"/>
              <a:defRPr sz="1600" cap="none" spc="200" baseline="0">
                <a:solidFill>
                  <a:srgbClr val="211A52"/>
                </a:solidFill>
              </a:defRPr>
            </a:lvl1pPr>
            <a:lvl2pPr marL="742968" indent="-285757">
              <a:buFont typeface="Arial" pitchFamily="34" charset="0"/>
              <a:buChar char="•"/>
              <a:defRPr sz="1600" cap="none" spc="200" baseline="0">
                <a:solidFill>
                  <a:srgbClr val="211A52"/>
                </a:solidFill>
              </a:defRPr>
            </a:lvl2pPr>
            <a:lvl3pPr marL="1200179" indent="-285757">
              <a:buFont typeface="Arial" pitchFamily="34" charset="0"/>
              <a:buChar char="•"/>
              <a:defRPr sz="1600" cap="none" spc="200" baseline="0">
                <a:solidFill>
                  <a:srgbClr val="211A52"/>
                </a:solidFill>
              </a:defRPr>
            </a:lvl3pPr>
            <a:lvl4pPr marL="1657390" indent="-285757">
              <a:buFont typeface="Arial" pitchFamily="34" charset="0"/>
              <a:buChar char="•"/>
              <a:defRPr sz="1600" cap="none" spc="200" baseline="0">
                <a:solidFill>
                  <a:srgbClr val="211A52"/>
                </a:solidFill>
              </a:defRPr>
            </a:lvl4pPr>
            <a:lvl5pPr marL="2114602" indent="-285757">
              <a:buFont typeface="Arial" pitchFamily="34" charset="0"/>
              <a:buChar char="•"/>
              <a:defRPr sz="1600" cap="none" spc="200" baseline="0">
                <a:solidFill>
                  <a:srgbClr val="211A52"/>
                </a:solidFill>
              </a:defRPr>
            </a:lvl5p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7" name="Titel 6"/>
          <p:cNvSpPr>
            <a:spLocks noGrp="1"/>
          </p:cNvSpPr>
          <p:nvPr>
            <p:ph type="title"/>
          </p:nvPr>
        </p:nvSpPr>
        <p:spPr>
          <a:xfrm>
            <a:off x="591866" y="332656"/>
            <a:ext cx="10971372" cy="1143000"/>
          </a:xfrm>
          <a:solidFill>
            <a:schemeClr val="bg1"/>
          </a:solidFill>
        </p:spPr>
        <p:txBody>
          <a:bodyPr>
            <a:normAutofit/>
          </a:bodyPr>
          <a:lstStyle>
            <a:lvl1pPr algn="ctr">
              <a:defRPr sz="3200" b="0" i="0" kern="0" cap="none" spc="100" baseline="0">
                <a:solidFill>
                  <a:srgbClr val="211A52"/>
                </a:solidFill>
              </a:defRPr>
            </a:lvl1pPr>
          </a:lstStyle>
          <a:p>
            <a:r>
              <a:rPr lang="da-DK" dirty="0"/>
              <a:t>Klik for at redigere i master</a:t>
            </a:r>
          </a:p>
        </p:txBody>
      </p:sp>
      <p:sp>
        <p:nvSpPr>
          <p:cNvPr id="14" name="Pladsholder til dato 13"/>
          <p:cNvSpPr>
            <a:spLocks noGrp="1"/>
          </p:cNvSpPr>
          <p:nvPr>
            <p:ph type="dt" sz="half" idx="10"/>
          </p:nvPr>
        </p:nvSpPr>
        <p:spPr>
          <a:xfrm>
            <a:off x="623310" y="6221831"/>
            <a:ext cx="4319918" cy="591546"/>
          </a:xfrm>
          <a:prstGeom prst="rect">
            <a:avLst/>
          </a:prstGeom>
        </p:spPr>
        <p:txBody>
          <a:bodyPr/>
          <a:lstStyle>
            <a:lvl1pPr>
              <a:defRPr sz="800" b="1" cap="all" spc="200" baseline="0"/>
            </a:lvl1pPr>
          </a:lstStyle>
          <a:p>
            <a:endParaRPr lang="da-DK" dirty="0"/>
          </a:p>
          <a:p>
            <a:r>
              <a:rPr lang="da-DK" sz="1000" dirty="0"/>
              <a:t>DIST</a:t>
            </a:r>
            <a:endParaRPr lang="da-DK" sz="800" dirty="0"/>
          </a:p>
          <a:p>
            <a:r>
              <a:rPr lang="da-DK" dirty="0"/>
              <a:t>DEVELOPMENT AND PLANNING</a:t>
            </a:r>
          </a:p>
          <a:p>
            <a:endParaRPr lang="da-DK" dirty="0"/>
          </a:p>
          <a:p>
            <a:endParaRPr lang="da-DK" dirty="0"/>
          </a:p>
          <a:p>
            <a:endParaRPr lang="da-DK" dirty="0"/>
          </a:p>
        </p:txBody>
      </p:sp>
      <p:sp>
        <p:nvSpPr>
          <p:cNvPr id="16" name="Pladsholder til diasnummer 15"/>
          <p:cNvSpPr>
            <a:spLocks noGrp="1"/>
          </p:cNvSpPr>
          <p:nvPr>
            <p:ph type="sldNum" sz="quarter" idx="12"/>
          </p:nvPr>
        </p:nvSpPr>
        <p:spPr>
          <a:xfrm>
            <a:off x="8879153" y="6160220"/>
            <a:ext cx="2844430" cy="365125"/>
          </a:xfrm>
        </p:spPr>
        <p:txBody>
          <a:bodyPr/>
          <a:lstStyle>
            <a:lvl1pPr>
              <a:defRPr sz="800" b="1" cap="all" spc="200" baseline="0"/>
            </a:lvl1pPr>
          </a:lstStyle>
          <a:p>
            <a:fld id="{76FF49CB-DA36-4A0D-B7A5-D537E7FBD145}" type="slidenum">
              <a:rPr lang="da-DK" smtClean="0"/>
              <a:pPr/>
              <a:t>‹#›</a:t>
            </a:fld>
            <a:endParaRPr lang="da-DK" dirty="0"/>
          </a:p>
        </p:txBody>
      </p:sp>
      <p:pic>
        <p:nvPicPr>
          <p:cNvPr id="2" name="Billed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07046" y="5949280"/>
            <a:ext cx="1548142" cy="817642"/>
          </a:xfrm>
          <a:prstGeom prst="rect">
            <a:avLst/>
          </a:prstGeom>
        </p:spPr>
      </p:pic>
    </p:spTree>
    <p:extLst>
      <p:ext uri="{BB962C8B-B14F-4D97-AF65-F5344CB8AC3E}">
        <p14:creationId xmlns:p14="http://schemas.microsoft.com/office/powerpoint/2010/main" val="124235561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One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48A0E3C-0CE1-4BBF-A912-5A81BF3B7BCA}"/>
              </a:ext>
            </a:extLst>
          </p:cNvPr>
          <p:cNvSpPr>
            <a:spLocks noGrp="1"/>
          </p:cNvSpPr>
          <p:nvPr>
            <p:ph type="title"/>
          </p:nvPr>
        </p:nvSpPr>
        <p:spPr/>
        <p:txBody>
          <a:bodyPr/>
          <a:lstStyle/>
          <a:p>
            <a:r>
              <a:rPr lang="da-DK" dirty="0"/>
              <a:t>Click to edit Master title style</a:t>
            </a:r>
            <a:endParaRPr lang="da-DK"/>
          </a:p>
        </p:txBody>
      </p:sp>
      <p:sp>
        <p:nvSpPr>
          <p:cNvPr id="3" name="Content Placeholder 2"/>
          <p:cNvSpPr>
            <a:spLocks noGrp="1"/>
          </p:cNvSpPr>
          <p:nvPr>
            <p:ph idx="1"/>
          </p:nvPr>
        </p:nvSpPr>
        <p:spPr/>
        <p:txBody>
          <a:bodyPr/>
          <a:lstStyle/>
          <a:p>
            <a:pPr lvl="0"/>
            <a:r>
              <a:rPr lang="da-DK"/>
              <a:t>Edit Master text styles</a:t>
            </a:r>
          </a:p>
          <a:p>
            <a:pPr lvl="1"/>
            <a:r>
              <a:rPr lang="da-DK"/>
              <a:t>Second level</a:t>
            </a:r>
          </a:p>
          <a:p>
            <a:pPr lvl="2"/>
            <a:r>
              <a:rPr lang="da-DK"/>
              <a:t>Third level</a:t>
            </a:r>
          </a:p>
          <a:p>
            <a:pPr lvl="3"/>
            <a:r>
              <a:rPr lang="da-DK"/>
              <a:t>Fourth level</a:t>
            </a:r>
          </a:p>
          <a:p>
            <a:pPr lvl="4"/>
            <a:r>
              <a:rPr lang="da-DK"/>
              <a:t>Fifth level</a:t>
            </a:r>
            <a:endParaRPr lang="da-DK" dirty="0"/>
          </a:p>
        </p:txBody>
      </p:sp>
      <p:sp>
        <p:nvSpPr>
          <p:cNvPr id="2" name="Footer Placeholder 1">
            <a:extLst>
              <a:ext uri="{FF2B5EF4-FFF2-40B4-BE49-F238E27FC236}">
                <a16:creationId xmlns:a16="http://schemas.microsoft.com/office/drawing/2014/main" id="{1FCA8860-CDAD-4F91-9292-2B11655C191E}"/>
              </a:ext>
            </a:extLst>
          </p:cNvPr>
          <p:cNvSpPr>
            <a:spLocks noGrp="1"/>
          </p:cNvSpPr>
          <p:nvPr>
            <p:ph type="ftr" sz="quarter" idx="10"/>
          </p:nvPr>
        </p:nvSpPr>
        <p:spPr/>
        <p:txBody>
          <a:bodyPr/>
          <a:lstStyle/>
          <a:p>
            <a:endParaRPr lang="da-DK" dirty="0"/>
          </a:p>
        </p:txBody>
      </p:sp>
      <p:sp>
        <p:nvSpPr>
          <p:cNvPr id="6" name="Slide Number Placeholder 5">
            <a:extLst>
              <a:ext uri="{FF2B5EF4-FFF2-40B4-BE49-F238E27FC236}">
                <a16:creationId xmlns:a16="http://schemas.microsoft.com/office/drawing/2014/main" id="{88C7A21B-9B48-4777-BF0D-9FB95719C2E7}"/>
              </a:ext>
            </a:extLst>
          </p:cNvPr>
          <p:cNvSpPr>
            <a:spLocks noGrp="1"/>
          </p:cNvSpPr>
          <p:nvPr>
            <p:ph type="sldNum" sz="quarter" idx="11"/>
          </p:nvPr>
        </p:nvSpPr>
        <p:spPr/>
        <p:txBody>
          <a:bodyPr/>
          <a:lstStyle/>
          <a:p>
            <a:fld id="{103EA872-A674-449B-A120-B97244F8E91D}" type="slidenum">
              <a:rPr lang="da-DK" smtClean="0"/>
              <a:pPr/>
              <a:t>‹#›</a:t>
            </a:fld>
            <a:endParaRPr lang="da-DK" dirty="0"/>
          </a:p>
        </p:txBody>
      </p:sp>
    </p:spTree>
    <p:extLst>
      <p:ext uri="{BB962C8B-B14F-4D97-AF65-F5344CB8AC3E}">
        <p14:creationId xmlns:p14="http://schemas.microsoft.com/office/powerpoint/2010/main" val="2528052416"/>
      </p:ext>
    </p:extLst>
  </p:cSld>
  <p:clrMapOvr>
    <a:masterClrMapping/>
  </p:clrMapOvr>
  <p:extLst>
    <p:ext uri="{DCECCB84-F9BA-43D5-87BE-67443E8EF086}">
      <p15:sldGuideLst xmlns:p15="http://schemas.microsoft.com/office/powerpoint/2012/main">
        <p15:guide id="1" pos="6984">
          <p15:clr>
            <a:srgbClr val="F26B43"/>
          </p15:clr>
        </p15:guide>
        <p15:guide id="2" pos="1117">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ront A">
    <p:bg>
      <p:bgPr>
        <a:solidFill>
          <a:srgbClr val="008737"/>
        </a:solidFill>
        <a:effectLst/>
      </p:bgPr>
    </p:bg>
    <p:spTree>
      <p:nvGrpSpPr>
        <p:cNvPr id="1" name=""/>
        <p:cNvGrpSpPr/>
        <p:nvPr/>
      </p:nvGrpSpPr>
      <p:grpSpPr>
        <a:xfrm>
          <a:off x="0" y="0"/>
          <a:ext cx="0" cy="0"/>
          <a:chOff x="0" y="0"/>
          <a:chExt cx="0" cy="0"/>
        </a:xfrm>
      </p:grpSpPr>
      <p:sp>
        <p:nvSpPr>
          <p:cNvPr id="2" name="Background"/>
          <p:cNvSpPr/>
          <p:nvPr userDrawn="1"/>
        </p:nvSpPr>
        <p:spPr bwMode="auto">
          <a:xfrm>
            <a:off x="0" y="-14069"/>
            <a:ext cx="0" cy="0"/>
          </a:xfrm>
          <a:prstGeom prst="rect">
            <a:avLst/>
          </a:prstGeom>
          <a:solidFill>
            <a:srgbClr val="008737"/>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da-DK" sz="1600" b="0" i="0" u="none" strike="noStrike" cap="none" normalizeH="0" baseline="0" dirty="0">
              <a:ln>
                <a:noFill/>
              </a:ln>
              <a:solidFill>
                <a:schemeClr val="tx1"/>
              </a:solidFill>
              <a:effectLst/>
              <a:latin typeface="Arial" panose="020B0604020202020204" pitchFamily="34" charset="0"/>
              <a:ea typeface="ＭＳ Ｐゴシック" pitchFamily="-80" charset="-128"/>
            </a:endParaRPr>
          </a:p>
        </p:txBody>
      </p:sp>
      <p:sp>
        <p:nvSpPr>
          <p:cNvPr id="11" name="Logo white">
            <a:extLst>
              <a:ext uri="{FF2B5EF4-FFF2-40B4-BE49-F238E27FC236}">
                <a16:creationId xmlns:a16="http://schemas.microsoft.com/office/drawing/2014/main" id="{275A6477-FE3A-4D40-B1FE-E46C11E344A5}"/>
              </a:ext>
            </a:extLst>
          </p:cNvPr>
          <p:cNvSpPr>
            <a:spLocks noChangeAspect="1"/>
          </p:cNvSpPr>
          <p:nvPr userDrawn="1">
            <p:custDataLst>
              <p:tags r:id="rId1"/>
            </p:custDataLst>
          </p:nvPr>
        </p:nvSpPr>
        <p:spPr bwMode="auto">
          <a:xfrm>
            <a:off x="252000" y="252000"/>
            <a:ext cx="419611" cy="612000"/>
          </a:xfrm>
          <a:custGeom>
            <a:avLst/>
            <a:gdLst>
              <a:gd name="connsiteX0" fmla="*/ 1050029 w 4933949"/>
              <a:gd name="connsiteY0" fmla="*/ 6094413 h 7196138"/>
              <a:gd name="connsiteX1" fmla="*/ 3883920 w 4933949"/>
              <a:gd name="connsiteY1" fmla="*/ 6094413 h 7196138"/>
              <a:gd name="connsiteX2" fmla="*/ 4933949 w 4933949"/>
              <a:gd name="connsiteY2" fmla="*/ 6645934 h 7196138"/>
              <a:gd name="connsiteX3" fmla="*/ 3883920 w 4933949"/>
              <a:gd name="connsiteY3" fmla="*/ 7196138 h 7196138"/>
              <a:gd name="connsiteX4" fmla="*/ 1050029 w 4933949"/>
              <a:gd name="connsiteY4" fmla="*/ 7196138 h 7196138"/>
              <a:gd name="connsiteX5" fmla="*/ 0 w 4933949"/>
              <a:gd name="connsiteY5" fmla="*/ 6645934 h 7196138"/>
              <a:gd name="connsiteX6" fmla="*/ 1050029 w 4933949"/>
              <a:gd name="connsiteY6" fmla="*/ 6094413 h 7196138"/>
              <a:gd name="connsiteX7" fmla="*/ 1050029 w 4933949"/>
              <a:gd name="connsiteY7" fmla="*/ 4730750 h 7196138"/>
              <a:gd name="connsiteX8" fmla="*/ 3883920 w 4933949"/>
              <a:gd name="connsiteY8" fmla="*/ 4730750 h 7196138"/>
              <a:gd name="connsiteX9" fmla="*/ 4933949 w 4933949"/>
              <a:gd name="connsiteY9" fmla="*/ 5283066 h 7196138"/>
              <a:gd name="connsiteX10" fmla="*/ 3883920 w 4933949"/>
              <a:gd name="connsiteY10" fmla="*/ 5834063 h 7196138"/>
              <a:gd name="connsiteX11" fmla="*/ 1050029 w 4933949"/>
              <a:gd name="connsiteY11" fmla="*/ 5834063 h 7196138"/>
              <a:gd name="connsiteX12" fmla="*/ 0 w 4933949"/>
              <a:gd name="connsiteY12" fmla="*/ 5283066 h 7196138"/>
              <a:gd name="connsiteX13" fmla="*/ 1050029 w 4933949"/>
              <a:gd name="connsiteY13" fmla="*/ 4730750 h 7196138"/>
              <a:gd name="connsiteX14" fmla="*/ 1050029 w 4933949"/>
              <a:gd name="connsiteY14" fmla="*/ 3368675 h 7196138"/>
              <a:gd name="connsiteX15" fmla="*/ 3883920 w 4933949"/>
              <a:gd name="connsiteY15" fmla="*/ 3368675 h 7196138"/>
              <a:gd name="connsiteX16" fmla="*/ 4933949 w 4933949"/>
              <a:gd name="connsiteY16" fmla="*/ 3920991 h 7196138"/>
              <a:gd name="connsiteX17" fmla="*/ 3883920 w 4933949"/>
              <a:gd name="connsiteY17" fmla="*/ 4471988 h 7196138"/>
              <a:gd name="connsiteX18" fmla="*/ 1050029 w 4933949"/>
              <a:gd name="connsiteY18" fmla="*/ 4471988 h 7196138"/>
              <a:gd name="connsiteX19" fmla="*/ 0 w 4933949"/>
              <a:gd name="connsiteY19" fmla="*/ 3920991 h 7196138"/>
              <a:gd name="connsiteX20" fmla="*/ 1050029 w 4933949"/>
              <a:gd name="connsiteY20" fmla="*/ 3368675 h 7196138"/>
              <a:gd name="connsiteX21" fmla="*/ 678543 w 4933949"/>
              <a:gd name="connsiteY21" fmla="*/ 305710 h 7196138"/>
              <a:gd name="connsiteX22" fmla="*/ 678543 w 4933949"/>
              <a:gd name="connsiteY22" fmla="*/ 2307316 h 7196138"/>
              <a:gd name="connsiteX23" fmla="*/ 909109 w 4933949"/>
              <a:gd name="connsiteY23" fmla="*/ 2307316 h 7196138"/>
              <a:gd name="connsiteX24" fmla="*/ 1119911 w 4933949"/>
              <a:gd name="connsiteY24" fmla="*/ 2234842 h 7196138"/>
              <a:gd name="connsiteX25" fmla="*/ 1198962 w 4933949"/>
              <a:gd name="connsiteY25" fmla="*/ 1615517 h 7196138"/>
              <a:gd name="connsiteX26" fmla="*/ 1198962 w 4933949"/>
              <a:gd name="connsiteY26" fmla="*/ 996191 h 7196138"/>
              <a:gd name="connsiteX27" fmla="*/ 1119911 w 4933949"/>
              <a:gd name="connsiteY27" fmla="*/ 378184 h 7196138"/>
              <a:gd name="connsiteX28" fmla="*/ 909109 w 4933949"/>
              <a:gd name="connsiteY28" fmla="*/ 305710 h 7196138"/>
              <a:gd name="connsiteX29" fmla="*/ 678543 w 4933949"/>
              <a:gd name="connsiteY29" fmla="*/ 305710 h 7196138"/>
              <a:gd name="connsiteX30" fmla="*/ 1842869 w 4933949"/>
              <a:gd name="connsiteY30" fmla="*/ 0 h 7196138"/>
              <a:gd name="connsiteX31" fmla="*/ 3073618 w 4933949"/>
              <a:gd name="connsiteY31" fmla="*/ 0 h 7196138"/>
              <a:gd name="connsiteX32" fmla="*/ 3114467 w 4933949"/>
              <a:gd name="connsiteY32" fmla="*/ 14495 h 7196138"/>
              <a:gd name="connsiteX33" fmla="*/ 3128962 w 4933949"/>
              <a:gd name="connsiteY33" fmla="*/ 54027 h 7196138"/>
              <a:gd name="connsiteX34" fmla="*/ 3128962 w 4933949"/>
              <a:gd name="connsiteY34" fmla="*/ 275402 h 7196138"/>
              <a:gd name="connsiteX35" fmla="*/ 3114467 w 4933949"/>
              <a:gd name="connsiteY35" fmla="*/ 314934 h 7196138"/>
              <a:gd name="connsiteX36" fmla="*/ 3073618 w 4933949"/>
              <a:gd name="connsiteY36" fmla="*/ 329429 h 7196138"/>
              <a:gd name="connsiteX37" fmla="*/ 2679620 w 4933949"/>
              <a:gd name="connsiteY37" fmla="*/ 329429 h 7196138"/>
              <a:gd name="connsiteX38" fmla="*/ 2679620 w 4933949"/>
              <a:gd name="connsiteY38" fmla="*/ 2558999 h 7196138"/>
              <a:gd name="connsiteX39" fmla="*/ 2665125 w 4933949"/>
              <a:gd name="connsiteY39" fmla="*/ 2598530 h 7196138"/>
              <a:gd name="connsiteX40" fmla="*/ 2625594 w 4933949"/>
              <a:gd name="connsiteY40" fmla="*/ 2613025 h 7196138"/>
              <a:gd name="connsiteX41" fmla="*/ 2290893 w 4933949"/>
              <a:gd name="connsiteY41" fmla="*/ 2613025 h 7196138"/>
              <a:gd name="connsiteX42" fmla="*/ 2250044 w 4933949"/>
              <a:gd name="connsiteY42" fmla="*/ 2598530 h 7196138"/>
              <a:gd name="connsiteX43" fmla="*/ 2235549 w 4933949"/>
              <a:gd name="connsiteY43" fmla="*/ 2558999 h 7196138"/>
              <a:gd name="connsiteX44" fmla="*/ 2235549 w 4933949"/>
              <a:gd name="connsiteY44" fmla="*/ 329429 h 7196138"/>
              <a:gd name="connsiteX45" fmla="*/ 1842869 w 4933949"/>
              <a:gd name="connsiteY45" fmla="*/ 329429 h 7196138"/>
              <a:gd name="connsiteX46" fmla="*/ 1802020 w 4933949"/>
              <a:gd name="connsiteY46" fmla="*/ 314934 h 7196138"/>
              <a:gd name="connsiteX47" fmla="*/ 1787525 w 4933949"/>
              <a:gd name="connsiteY47" fmla="*/ 275402 h 7196138"/>
              <a:gd name="connsiteX48" fmla="*/ 1787525 w 4933949"/>
              <a:gd name="connsiteY48" fmla="*/ 54027 h 7196138"/>
              <a:gd name="connsiteX49" fmla="*/ 1802020 w 4933949"/>
              <a:gd name="connsiteY49" fmla="*/ 14495 h 7196138"/>
              <a:gd name="connsiteX50" fmla="*/ 1842869 w 4933949"/>
              <a:gd name="connsiteY50" fmla="*/ 0 h 7196138"/>
              <a:gd name="connsiteX51" fmla="*/ 317544 w 4933949"/>
              <a:gd name="connsiteY51" fmla="*/ 0 h 7196138"/>
              <a:gd name="connsiteX52" fmla="*/ 972349 w 4933949"/>
              <a:gd name="connsiteY52" fmla="*/ 0 h 7196138"/>
              <a:gd name="connsiteX53" fmla="*/ 1476958 w 4933949"/>
              <a:gd name="connsiteY53" fmla="*/ 179209 h 7196138"/>
              <a:gd name="connsiteX54" fmla="*/ 1619250 w 4933949"/>
              <a:gd name="connsiteY54" fmla="*/ 1025181 h 7196138"/>
              <a:gd name="connsiteX55" fmla="*/ 1619250 w 4933949"/>
              <a:gd name="connsiteY55" fmla="*/ 1587845 h 7196138"/>
              <a:gd name="connsiteX56" fmla="*/ 1476958 w 4933949"/>
              <a:gd name="connsiteY56" fmla="*/ 2433816 h 7196138"/>
              <a:gd name="connsiteX57" fmla="*/ 972349 w 4933949"/>
              <a:gd name="connsiteY57" fmla="*/ 2613025 h 7196138"/>
              <a:gd name="connsiteX58" fmla="*/ 317544 w 4933949"/>
              <a:gd name="connsiteY58" fmla="*/ 2613025 h 7196138"/>
              <a:gd name="connsiteX59" fmla="*/ 278018 w 4933949"/>
              <a:gd name="connsiteY59" fmla="*/ 2598530 h 7196138"/>
              <a:gd name="connsiteX60" fmla="*/ 263525 w 4933949"/>
              <a:gd name="connsiteY60" fmla="*/ 2558999 h 7196138"/>
              <a:gd name="connsiteX61" fmla="*/ 263525 w 4933949"/>
              <a:gd name="connsiteY61" fmla="*/ 54027 h 7196138"/>
              <a:gd name="connsiteX62" fmla="*/ 278018 w 4933949"/>
              <a:gd name="connsiteY62" fmla="*/ 14495 h 7196138"/>
              <a:gd name="connsiteX63" fmla="*/ 317544 w 4933949"/>
              <a:gd name="connsiteY63" fmla="*/ 0 h 7196138"/>
              <a:gd name="connsiteX64" fmla="*/ 3359213 w 4933949"/>
              <a:gd name="connsiteY64" fmla="*/ 0 h 7196138"/>
              <a:gd name="connsiteX65" fmla="*/ 3664991 w 4933949"/>
              <a:gd name="connsiteY65" fmla="*/ 0 h 7196138"/>
              <a:gd name="connsiteX66" fmla="*/ 3705850 w 4933949"/>
              <a:gd name="connsiteY66" fmla="*/ 14497 h 7196138"/>
              <a:gd name="connsiteX67" fmla="*/ 3720348 w 4933949"/>
              <a:gd name="connsiteY67" fmla="*/ 54035 h 7196138"/>
              <a:gd name="connsiteX68" fmla="*/ 3720348 w 4933949"/>
              <a:gd name="connsiteY68" fmla="*/ 1903062 h 7196138"/>
              <a:gd name="connsiteX69" fmla="*/ 3798111 w 4933949"/>
              <a:gd name="connsiteY69" fmla="*/ 2279984 h 7196138"/>
              <a:gd name="connsiteX70" fmla="*/ 3976042 w 4933949"/>
              <a:gd name="connsiteY70" fmla="*/ 2349833 h 7196138"/>
              <a:gd name="connsiteX71" fmla="*/ 4163200 w 4933949"/>
              <a:gd name="connsiteY71" fmla="*/ 2279984 h 7196138"/>
              <a:gd name="connsiteX72" fmla="*/ 4240963 w 4933949"/>
              <a:gd name="connsiteY72" fmla="*/ 1903062 h 7196138"/>
              <a:gd name="connsiteX73" fmla="*/ 4240963 w 4933949"/>
              <a:gd name="connsiteY73" fmla="*/ 54035 h 7196138"/>
              <a:gd name="connsiteX74" fmla="*/ 4255461 w 4933949"/>
              <a:gd name="connsiteY74" fmla="*/ 14497 h 7196138"/>
              <a:gd name="connsiteX75" fmla="*/ 4295001 w 4933949"/>
              <a:gd name="connsiteY75" fmla="*/ 0 h 7196138"/>
              <a:gd name="connsiteX76" fmla="*/ 4602098 w 4933949"/>
              <a:gd name="connsiteY76" fmla="*/ 0 h 7196138"/>
              <a:gd name="connsiteX77" fmla="*/ 4641638 w 4933949"/>
              <a:gd name="connsiteY77" fmla="*/ 14497 h 7196138"/>
              <a:gd name="connsiteX78" fmla="*/ 4656136 w 4933949"/>
              <a:gd name="connsiteY78" fmla="*/ 54035 h 7196138"/>
              <a:gd name="connsiteX79" fmla="*/ 4656136 w 4933949"/>
              <a:gd name="connsiteY79" fmla="*/ 1904380 h 7196138"/>
              <a:gd name="connsiteX80" fmla="*/ 4507201 w 4933949"/>
              <a:gd name="connsiteY80" fmla="*/ 2459220 h 7196138"/>
              <a:gd name="connsiteX81" fmla="*/ 3981314 w 4933949"/>
              <a:gd name="connsiteY81" fmla="*/ 2646363 h 7196138"/>
              <a:gd name="connsiteX82" fmla="*/ 3447519 w 4933949"/>
              <a:gd name="connsiteY82" fmla="*/ 2459220 h 7196138"/>
              <a:gd name="connsiteX83" fmla="*/ 3305174 w 4933949"/>
              <a:gd name="connsiteY83" fmla="*/ 1904380 h 7196138"/>
              <a:gd name="connsiteX84" fmla="*/ 3305174 w 4933949"/>
              <a:gd name="connsiteY84" fmla="*/ 54035 h 7196138"/>
              <a:gd name="connsiteX85" fmla="*/ 3318354 w 4933949"/>
              <a:gd name="connsiteY85" fmla="*/ 14497 h 7196138"/>
              <a:gd name="connsiteX86" fmla="*/ 3359213 w 4933949"/>
              <a:gd name="connsiteY86" fmla="*/ 0 h 7196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933949" h="7196138">
                <a:moveTo>
                  <a:pt x="1050029" y="6094413"/>
                </a:moveTo>
                <a:cubicBezTo>
                  <a:pt x="2409664" y="6623557"/>
                  <a:pt x="2524285" y="6623557"/>
                  <a:pt x="3883920" y="6094413"/>
                </a:cubicBezTo>
                <a:cubicBezTo>
                  <a:pt x="3883920" y="6094413"/>
                  <a:pt x="3883920" y="6094413"/>
                  <a:pt x="4933949" y="6645934"/>
                </a:cubicBezTo>
                <a:cubicBezTo>
                  <a:pt x="4933949" y="6645934"/>
                  <a:pt x="4933949" y="6645934"/>
                  <a:pt x="3883920" y="7196138"/>
                </a:cubicBezTo>
                <a:cubicBezTo>
                  <a:pt x="2524285" y="6668311"/>
                  <a:pt x="2409664" y="6668311"/>
                  <a:pt x="1050029" y="7196138"/>
                </a:cubicBezTo>
                <a:cubicBezTo>
                  <a:pt x="1050029" y="7196138"/>
                  <a:pt x="1050029" y="7196138"/>
                  <a:pt x="0" y="6645934"/>
                </a:cubicBezTo>
                <a:cubicBezTo>
                  <a:pt x="0" y="6645934"/>
                  <a:pt x="0" y="6645934"/>
                  <a:pt x="1050029" y="6094413"/>
                </a:cubicBezTo>
                <a:close/>
                <a:moveTo>
                  <a:pt x="1050029" y="4730750"/>
                </a:moveTo>
                <a:cubicBezTo>
                  <a:pt x="2409664" y="5260657"/>
                  <a:pt x="2524285" y="5260657"/>
                  <a:pt x="3883920" y="4730750"/>
                </a:cubicBezTo>
                <a:cubicBezTo>
                  <a:pt x="3883920" y="4730750"/>
                  <a:pt x="3883920" y="4730750"/>
                  <a:pt x="4933949" y="5283066"/>
                </a:cubicBezTo>
                <a:cubicBezTo>
                  <a:pt x="4933949" y="5283066"/>
                  <a:pt x="4933949" y="5283066"/>
                  <a:pt x="3883920" y="5834063"/>
                </a:cubicBezTo>
                <a:cubicBezTo>
                  <a:pt x="2524285" y="5305475"/>
                  <a:pt x="2409664" y="5305475"/>
                  <a:pt x="1050029" y="5834063"/>
                </a:cubicBezTo>
                <a:cubicBezTo>
                  <a:pt x="1050029" y="5834063"/>
                  <a:pt x="1050029" y="5834063"/>
                  <a:pt x="0" y="5283066"/>
                </a:cubicBezTo>
                <a:cubicBezTo>
                  <a:pt x="0" y="5283066"/>
                  <a:pt x="0" y="5283066"/>
                  <a:pt x="1050029" y="4730750"/>
                </a:cubicBezTo>
                <a:close/>
                <a:moveTo>
                  <a:pt x="1050029" y="3368675"/>
                </a:moveTo>
                <a:cubicBezTo>
                  <a:pt x="2409664" y="3898582"/>
                  <a:pt x="2524285" y="3898582"/>
                  <a:pt x="3883920" y="3368675"/>
                </a:cubicBezTo>
                <a:cubicBezTo>
                  <a:pt x="3883920" y="3368675"/>
                  <a:pt x="3883920" y="3368675"/>
                  <a:pt x="4933949" y="3920991"/>
                </a:cubicBezTo>
                <a:cubicBezTo>
                  <a:pt x="4933949" y="3920991"/>
                  <a:pt x="4933949" y="3920991"/>
                  <a:pt x="3883920" y="4471988"/>
                </a:cubicBezTo>
                <a:cubicBezTo>
                  <a:pt x="2524285" y="3943400"/>
                  <a:pt x="2409664" y="3943400"/>
                  <a:pt x="1050029" y="4471988"/>
                </a:cubicBezTo>
                <a:cubicBezTo>
                  <a:pt x="1050029" y="4471988"/>
                  <a:pt x="1050029" y="4471988"/>
                  <a:pt x="0" y="3920991"/>
                </a:cubicBezTo>
                <a:cubicBezTo>
                  <a:pt x="0" y="3920991"/>
                  <a:pt x="0" y="3920991"/>
                  <a:pt x="1050029" y="3368675"/>
                </a:cubicBezTo>
                <a:close/>
                <a:moveTo>
                  <a:pt x="678543" y="305710"/>
                </a:moveTo>
                <a:lnTo>
                  <a:pt x="678543" y="2307316"/>
                </a:lnTo>
                <a:cubicBezTo>
                  <a:pt x="678543" y="2307316"/>
                  <a:pt x="678543" y="2307316"/>
                  <a:pt x="909109" y="2307316"/>
                </a:cubicBezTo>
                <a:cubicBezTo>
                  <a:pt x="1011875" y="2307316"/>
                  <a:pt x="1072481" y="2291503"/>
                  <a:pt x="1119911" y="2234842"/>
                </a:cubicBezTo>
                <a:cubicBezTo>
                  <a:pt x="1192375" y="2147873"/>
                  <a:pt x="1198962" y="1971299"/>
                  <a:pt x="1198962" y="1615517"/>
                </a:cubicBezTo>
                <a:cubicBezTo>
                  <a:pt x="1198962" y="1615517"/>
                  <a:pt x="1198962" y="1615517"/>
                  <a:pt x="1198962" y="996191"/>
                </a:cubicBezTo>
                <a:cubicBezTo>
                  <a:pt x="1198962" y="641727"/>
                  <a:pt x="1192375" y="465153"/>
                  <a:pt x="1119911" y="378184"/>
                </a:cubicBezTo>
                <a:cubicBezTo>
                  <a:pt x="1072481" y="321522"/>
                  <a:pt x="1011875" y="305710"/>
                  <a:pt x="909109" y="305710"/>
                </a:cubicBezTo>
                <a:cubicBezTo>
                  <a:pt x="909109" y="305710"/>
                  <a:pt x="909109" y="305710"/>
                  <a:pt x="678543" y="305710"/>
                </a:cubicBezTo>
                <a:close/>
                <a:moveTo>
                  <a:pt x="1842869" y="0"/>
                </a:moveTo>
                <a:cubicBezTo>
                  <a:pt x="1842869" y="0"/>
                  <a:pt x="1842869" y="0"/>
                  <a:pt x="3073618" y="0"/>
                </a:cubicBezTo>
                <a:cubicBezTo>
                  <a:pt x="3093384" y="0"/>
                  <a:pt x="3105243" y="5271"/>
                  <a:pt x="3114467" y="14495"/>
                </a:cubicBezTo>
                <a:cubicBezTo>
                  <a:pt x="3122374" y="22401"/>
                  <a:pt x="3128962" y="34261"/>
                  <a:pt x="3128962" y="54027"/>
                </a:cubicBezTo>
                <a:cubicBezTo>
                  <a:pt x="3128962" y="54027"/>
                  <a:pt x="3128962" y="54027"/>
                  <a:pt x="3128962" y="275402"/>
                </a:cubicBezTo>
                <a:cubicBezTo>
                  <a:pt x="3128962" y="295168"/>
                  <a:pt x="3122374" y="307028"/>
                  <a:pt x="3114467" y="314934"/>
                </a:cubicBezTo>
                <a:cubicBezTo>
                  <a:pt x="3105243" y="324158"/>
                  <a:pt x="3093384" y="329429"/>
                  <a:pt x="3073618" y="329429"/>
                </a:cubicBezTo>
                <a:cubicBezTo>
                  <a:pt x="3073618" y="329429"/>
                  <a:pt x="3073618" y="329429"/>
                  <a:pt x="2679620" y="329429"/>
                </a:cubicBezTo>
                <a:cubicBezTo>
                  <a:pt x="2679620" y="329429"/>
                  <a:pt x="2679620" y="329429"/>
                  <a:pt x="2679620" y="2558999"/>
                </a:cubicBezTo>
                <a:cubicBezTo>
                  <a:pt x="2679620" y="2578765"/>
                  <a:pt x="2674349" y="2590624"/>
                  <a:pt x="2665125" y="2598530"/>
                </a:cubicBezTo>
                <a:cubicBezTo>
                  <a:pt x="2657219" y="2607755"/>
                  <a:pt x="2645360" y="2613025"/>
                  <a:pt x="2625594" y="2613025"/>
                </a:cubicBezTo>
                <a:cubicBezTo>
                  <a:pt x="2625594" y="2613025"/>
                  <a:pt x="2625594" y="2613025"/>
                  <a:pt x="2290893" y="2613025"/>
                </a:cubicBezTo>
                <a:cubicBezTo>
                  <a:pt x="2271128" y="2613025"/>
                  <a:pt x="2259268" y="2607755"/>
                  <a:pt x="2250044" y="2598530"/>
                </a:cubicBezTo>
                <a:cubicBezTo>
                  <a:pt x="2240820" y="2590624"/>
                  <a:pt x="2235549" y="2578765"/>
                  <a:pt x="2235549" y="2558999"/>
                </a:cubicBezTo>
                <a:cubicBezTo>
                  <a:pt x="2235549" y="2558999"/>
                  <a:pt x="2235549" y="2558999"/>
                  <a:pt x="2235549" y="329429"/>
                </a:cubicBezTo>
                <a:cubicBezTo>
                  <a:pt x="2235549" y="329429"/>
                  <a:pt x="2235549" y="329429"/>
                  <a:pt x="1842869" y="329429"/>
                </a:cubicBezTo>
                <a:cubicBezTo>
                  <a:pt x="1823104" y="329429"/>
                  <a:pt x="1811244" y="324158"/>
                  <a:pt x="1802020" y="314934"/>
                </a:cubicBezTo>
                <a:cubicBezTo>
                  <a:pt x="1792796" y="307028"/>
                  <a:pt x="1787525" y="295168"/>
                  <a:pt x="1787525" y="275402"/>
                </a:cubicBezTo>
                <a:cubicBezTo>
                  <a:pt x="1787525" y="275402"/>
                  <a:pt x="1787525" y="275402"/>
                  <a:pt x="1787525" y="54027"/>
                </a:cubicBezTo>
                <a:cubicBezTo>
                  <a:pt x="1787525" y="34261"/>
                  <a:pt x="1792796" y="22401"/>
                  <a:pt x="1802020" y="14495"/>
                </a:cubicBezTo>
                <a:cubicBezTo>
                  <a:pt x="1811244" y="5271"/>
                  <a:pt x="1823104" y="0"/>
                  <a:pt x="1842869" y="0"/>
                </a:cubicBezTo>
                <a:close/>
                <a:moveTo>
                  <a:pt x="317544" y="0"/>
                </a:moveTo>
                <a:cubicBezTo>
                  <a:pt x="317544" y="0"/>
                  <a:pt x="317544" y="0"/>
                  <a:pt x="972349" y="0"/>
                </a:cubicBezTo>
                <a:cubicBezTo>
                  <a:pt x="1226630" y="0"/>
                  <a:pt x="1382097" y="57980"/>
                  <a:pt x="1476958" y="179209"/>
                </a:cubicBezTo>
                <a:cubicBezTo>
                  <a:pt x="1615298" y="345241"/>
                  <a:pt x="1619250" y="614055"/>
                  <a:pt x="1619250" y="1025181"/>
                </a:cubicBezTo>
                <a:cubicBezTo>
                  <a:pt x="1619250" y="1025181"/>
                  <a:pt x="1619250" y="1025181"/>
                  <a:pt x="1619250" y="1587845"/>
                </a:cubicBezTo>
                <a:cubicBezTo>
                  <a:pt x="1619250" y="1998971"/>
                  <a:pt x="1615298" y="2267784"/>
                  <a:pt x="1476958" y="2433816"/>
                </a:cubicBezTo>
                <a:cubicBezTo>
                  <a:pt x="1382097" y="2555046"/>
                  <a:pt x="1226630" y="2613025"/>
                  <a:pt x="972349" y="2613025"/>
                </a:cubicBezTo>
                <a:cubicBezTo>
                  <a:pt x="972349" y="2613025"/>
                  <a:pt x="972349" y="2613025"/>
                  <a:pt x="317544" y="2613025"/>
                </a:cubicBezTo>
                <a:cubicBezTo>
                  <a:pt x="297781" y="2613025"/>
                  <a:pt x="285923" y="2607755"/>
                  <a:pt x="278018" y="2598530"/>
                </a:cubicBezTo>
                <a:cubicBezTo>
                  <a:pt x="268795" y="2590624"/>
                  <a:pt x="263525" y="2578765"/>
                  <a:pt x="263525" y="2558999"/>
                </a:cubicBezTo>
                <a:cubicBezTo>
                  <a:pt x="263525" y="2558999"/>
                  <a:pt x="263525" y="2558999"/>
                  <a:pt x="263525" y="54027"/>
                </a:cubicBezTo>
                <a:cubicBezTo>
                  <a:pt x="263525" y="34261"/>
                  <a:pt x="268795" y="22401"/>
                  <a:pt x="278018" y="14495"/>
                </a:cubicBezTo>
                <a:cubicBezTo>
                  <a:pt x="285923" y="5271"/>
                  <a:pt x="297781" y="0"/>
                  <a:pt x="317544" y="0"/>
                </a:cubicBezTo>
                <a:close/>
                <a:moveTo>
                  <a:pt x="3359213" y="0"/>
                </a:moveTo>
                <a:cubicBezTo>
                  <a:pt x="3359213" y="0"/>
                  <a:pt x="3359213" y="0"/>
                  <a:pt x="3664991" y="0"/>
                </a:cubicBezTo>
                <a:cubicBezTo>
                  <a:pt x="3684762" y="0"/>
                  <a:pt x="3696624" y="5272"/>
                  <a:pt x="3705850" y="14497"/>
                </a:cubicBezTo>
                <a:cubicBezTo>
                  <a:pt x="3715076" y="22405"/>
                  <a:pt x="3720348" y="34266"/>
                  <a:pt x="3720348" y="54035"/>
                </a:cubicBezTo>
                <a:cubicBezTo>
                  <a:pt x="3720348" y="54035"/>
                  <a:pt x="3720348" y="54035"/>
                  <a:pt x="3720348" y="1903062"/>
                </a:cubicBezTo>
                <a:cubicBezTo>
                  <a:pt x="3720348" y="2103384"/>
                  <a:pt x="3738800" y="2214089"/>
                  <a:pt x="3798111" y="2279984"/>
                </a:cubicBezTo>
                <a:cubicBezTo>
                  <a:pt x="3841605" y="2328747"/>
                  <a:pt x="3899597" y="2349833"/>
                  <a:pt x="3976042" y="2349833"/>
                </a:cubicBezTo>
                <a:cubicBezTo>
                  <a:pt x="4060395" y="2349833"/>
                  <a:pt x="4121023" y="2326111"/>
                  <a:pt x="4163200" y="2279984"/>
                </a:cubicBezTo>
                <a:cubicBezTo>
                  <a:pt x="4226464" y="2211453"/>
                  <a:pt x="4240963" y="2096795"/>
                  <a:pt x="4240963" y="1903062"/>
                </a:cubicBezTo>
                <a:cubicBezTo>
                  <a:pt x="4240963" y="1903062"/>
                  <a:pt x="4240963" y="1903062"/>
                  <a:pt x="4240963" y="54035"/>
                </a:cubicBezTo>
                <a:cubicBezTo>
                  <a:pt x="4240963" y="34266"/>
                  <a:pt x="4246235" y="22405"/>
                  <a:pt x="4255461" y="14497"/>
                </a:cubicBezTo>
                <a:cubicBezTo>
                  <a:pt x="4263369" y="5272"/>
                  <a:pt x="4276549" y="0"/>
                  <a:pt x="4295001" y="0"/>
                </a:cubicBezTo>
                <a:cubicBezTo>
                  <a:pt x="4295001" y="0"/>
                  <a:pt x="4295001" y="0"/>
                  <a:pt x="4602098" y="0"/>
                </a:cubicBezTo>
                <a:cubicBezTo>
                  <a:pt x="4621868" y="0"/>
                  <a:pt x="4633730" y="5272"/>
                  <a:pt x="4641638" y="14497"/>
                </a:cubicBezTo>
                <a:cubicBezTo>
                  <a:pt x="4650864" y="22405"/>
                  <a:pt x="4656136" y="34266"/>
                  <a:pt x="4656136" y="54035"/>
                </a:cubicBezTo>
                <a:cubicBezTo>
                  <a:pt x="4656136" y="54035"/>
                  <a:pt x="4656136" y="54035"/>
                  <a:pt x="4656136" y="1904380"/>
                </a:cubicBezTo>
                <a:cubicBezTo>
                  <a:pt x="4656136" y="2153465"/>
                  <a:pt x="4627140" y="2319521"/>
                  <a:pt x="4507201" y="2459220"/>
                </a:cubicBezTo>
                <a:cubicBezTo>
                  <a:pt x="4405714" y="2577832"/>
                  <a:pt x="4239645" y="2646363"/>
                  <a:pt x="3981314" y="2646363"/>
                </a:cubicBezTo>
                <a:cubicBezTo>
                  <a:pt x="3726938" y="2646363"/>
                  <a:pt x="3559550" y="2581786"/>
                  <a:pt x="3447519" y="2459220"/>
                </a:cubicBezTo>
                <a:cubicBezTo>
                  <a:pt x="3340760" y="2341926"/>
                  <a:pt x="3305174" y="2173233"/>
                  <a:pt x="3305174" y="1904380"/>
                </a:cubicBezTo>
                <a:cubicBezTo>
                  <a:pt x="3305174" y="1904380"/>
                  <a:pt x="3305174" y="1904380"/>
                  <a:pt x="3305174" y="54035"/>
                </a:cubicBezTo>
                <a:cubicBezTo>
                  <a:pt x="3305174" y="34266"/>
                  <a:pt x="3310446" y="22405"/>
                  <a:pt x="3318354" y="14497"/>
                </a:cubicBezTo>
                <a:cubicBezTo>
                  <a:pt x="3327580" y="5272"/>
                  <a:pt x="3339442" y="0"/>
                  <a:pt x="3359213"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da-DK"/>
          </a:p>
        </p:txBody>
      </p:sp>
      <p:sp>
        <p:nvSpPr>
          <p:cNvPr id="114690" name="Rectangle 2"/>
          <p:cNvSpPr>
            <a:spLocks noGrp="1" noChangeArrowheads="1"/>
          </p:cNvSpPr>
          <p:nvPr>
            <p:ph type="ctrTitle"/>
          </p:nvPr>
        </p:nvSpPr>
        <p:spPr>
          <a:xfrm>
            <a:off x="249859" y="3545117"/>
            <a:ext cx="10840028" cy="2706458"/>
          </a:xfrm>
        </p:spPr>
        <p:txBody>
          <a:bodyPr anchor="t" anchorCtr="0"/>
          <a:lstStyle>
            <a:lvl1pPr>
              <a:lnSpc>
                <a:spcPct val="93000"/>
              </a:lnSpc>
              <a:defRPr sz="8000">
                <a:solidFill>
                  <a:schemeClr val="bg1"/>
                </a:solidFill>
              </a:defRPr>
            </a:lvl1pPr>
          </a:lstStyle>
          <a:p>
            <a:pPr lvl="0"/>
            <a:r>
              <a:rPr lang="da-DK" noProof="0"/>
              <a:t>Click to edit Master title style</a:t>
            </a:r>
            <a:endParaRPr lang="da-DK" noProof="0" dirty="0"/>
          </a:p>
        </p:txBody>
      </p:sp>
      <p:sp>
        <p:nvSpPr>
          <p:cNvPr id="114691" name="Rectangle 3"/>
          <p:cNvSpPr>
            <a:spLocks noGrp="1" noChangeArrowheads="1"/>
          </p:cNvSpPr>
          <p:nvPr>
            <p:ph type="subTitle" idx="1"/>
          </p:nvPr>
        </p:nvSpPr>
        <p:spPr>
          <a:xfrm>
            <a:off x="247072" y="1704975"/>
            <a:ext cx="10840028" cy="1660654"/>
          </a:xfrm>
        </p:spPr>
        <p:txBody>
          <a:bodyPr anchor="b" anchorCtr="0"/>
          <a:lstStyle>
            <a:lvl1pPr marL="0" indent="0">
              <a:lnSpc>
                <a:spcPct val="110000"/>
              </a:lnSpc>
              <a:spcBef>
                <a:spcPts val="0"/>
              </a:spcBef>
              <a:buFontTx/>
              <a:buNone/>
              <a:defRPr sz="3000">
                <a:solidFill>
                  <a:schemeClr val="bg1"/>
                </a:solidFill>
              </a:defRPr>
            </a:lvl1pPr>
          </a:lstStyle>
          <a:p>
            <a:pPr lvl="0"/>
            <a:r>
              <a:rPr lang="da-DK" noProof="0" dirty="0"/>
              <a:t>Click to edit Master subtitle style</a:t>
            </a:r>
            <a:endParaRPr lang="da-DK" dirty="0"/>
          </a:p>
        </p:txBody>
      </p:sp>
      <p:sp>
        <p:nvSpPr>
          <p:cNvPr id="3" name="Footer Placeholder 2">
            <a:extLst>
              <a:ext uri="{FF2B5EF4-FFF2-40B4-BE49-F238E27FC236}">
                <a16:creationId xmlns:a16="http://schemas.microsoft.com/office/drawing/2014/main" id="{F2117C6C-7BC3-4888-BC29-FAB17565D119}"/>
              </a:ext>
            </a:extLst>
          </p:cNvPr>
          <p:cNvSpPr>
            <a:spLocks noGrp="1"/>
          </p:cNvSpPr>
          <p:nvPr>
            <p:ph type="ftr" sz="quarter" idx="16"/>
          </p:nvPr>
        </p:nvSpPr>
        <p:spPr/>
        <p:txBody>
          <a:bodyPr/>
          <a:lstStyle>
            <a:lvl1pPr>
              <a:defRPr>
                <a:noFill/>
              </a:defRPr>
            </a:lvl1pPr>
          </a:lstStyle>
          <a:p>
            <a:endParaRPr lang="da-DK" dirty="0"/>
          </a:p>
        </p:txBody>
      </p:sp>
      <p:sp>
        <p:nvSpPr>
          <p:cNvPr id="4" name="Slide Number Placeholder 3">
            <a:extLst>
              <a:ext uri="{FF2B5EF4-FFF2-40B4-BE49-F238E27FC236}">
                <a16:creationId xmlns:a16="http://schemas.microsoft.com/office/drawing/2014/main" id="{E77E4668-D07F-4B96-9755-175402734855}"/>
              </a:ext>
            </a:extLst>
          </p:cNvPr>
          <p:cNvSpPr>
            <a:spLocks noGrp="1"/>
          </p:cNvSpPr>
          <p:nvPr>
            <p:ph type="sldNum" sz="quarter" idx="17"/>
          </p:nvPr>
        </p:nvSpPr>
        <p:spPr/>
        <p:txBody>
          <a:bodyPr/>
          <a:lstStyle>
            <a:lvl1pPr>
              <a:defRPr>
                <a:solidFill>
                  <a:schemeClr val="bg1"/>
                </a:solidFill>
              </a:defRPr>
            </a:lvl1pPr>
          </a:lstStyle>
          <a:p>
            <a:fld id="{103EA872-A674-449B-A120-B97244F8E91D}" type="slidenum">
              <a:rPr lang="da-DK" smtClean="0"/>
              <a:pPr/>
              <a:t>‹#›</a:t>
            </a:fld>
            <a:endParaRPr lang="da-DK" dirty="0"/>
          </a:p>
        </p:txBody>
      </p:sp>
    </p:spTree>
    <p:extLst>
      <p:ext uri="{BB962C8B-B14F-4D97-AF65-F5344CB8AC3E}">
        <p14:creationId xmlns:p14="http://schemas.microsoft.com/office/powerpoint/2010/main" val="121791705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56">
          <p15:clr>
            <a:srgbClr val="F26B43"/>
          </p15:clr>
        </p15:guide>
        <p15:guide id="2" pos="6984">
          <p15:clr>
            <a:srgbClr val="F26B43"/>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ront B">
    <p:bg>
      <p:bgRef idx="1001">
        <a:schemeClr val="bg1"/>
      </p:bgRef>
    </p:bg>
    <p:spTree>
      <p:nvGrpSpPr>
        <p:cNvPr id="1" name=""/>
        <p:cNvGrpSpPr/>
        <p:nvPr/>
      </p:nvGrpSpPr>
      <p:grpSpPr>
        <a:xfrm>
          <a:off x="0" y="0"/>
          <a:ext cx="0" cy="0"/>
          <a:chOff x="0" y="0"/>
          <a:chExt cx="0" cy="0"/>
        </a:xfrm>
      </p:grpSpPr>
      <p:sp>
        <p:nvSpPr>
          <p:cNvPr id="114690" name="Rectangle 2"/>
          <p:cNvSpPr>
            <a:spLocks noGrp="1" noChangeArrowheads="1"/>
          </p:cNvSpPr>
          <p:nvPr>
            <p:ph type="ctrTitle"/>
          </p:nvPr>
        </p:nvSpPr>
        <p:spPr>
          <a:xfrm>
            <a:off x="249859" y="3545117"/>
            <a:ext cx="10840028" cy="2706458"/>
          </a:xfrm>
        </p:spPr>
        <p:txBody>
          <a:bodyPr anchor="t" anchorCtr="0"/>
          <a:lstStyle>
            <a:lvl1pPr>
              <a:lnSpc>
                <a:spcPct val="93000"/>
              </a:lnSpc>
              <a:defRPr sz="8000">
                <a:solidFill>
                  <a:schemeClr val="tx1"/>
                </a:solidFill>
              </a:defRPr>
            </a:lvl1pPr>
          </a:lstStyle>
          <a:p>
            <a:pPr lvl="0"/>
            <a:r>
              <a:rPr lang="da-DK" noProof="0"/>
              <a:t>Click to edit Master title style</a:t>
            </a:r>
            <a:endParaRPr lang="da-DK" noProof="0" dirty="0"/>
          </a:p>
        </p:txBody>
      </p:sp>
      <p:sp>
        <p:nvSpPr>
          <p:cNvPr id="114691" name="Rectangle 3"/>
          <p:cNvSpPr>
            <a:spLocks noGrp="1" noChangeArrowheads="1"/>
          </p:cNvSpPr>
          <p:nvPr>
            <p:ph type="subTitle" idx="1"/>
          </p:nvPr>
        </p:nvSpPr>
        <p:spPr>
          <a:xfrm>
            <a:off x="247072" y="1704975"/>
            <a:ext cx="10840028" cy="1660654"/>
          </a:xfrm>
        </p:spPr>
        <p:txBody>
          <a:bodyPr anchor="b" anchorCtr="0"/>
          <a:lstStyle>
            <a:lvl1pPr marL="0" indent="0">
              <a:lnSpc>
                <a:spcPct val="110000"/>
              </a:lnSpc>
              <a:spcBef>
                <a:spcPts val="0"/>
              </a:spcBef>
              <a:buFontTx/>
              <a:buNone/>
              <a:defRPr sz="3000">
                <a:solidFill>
                  <a:schemeClr val="tx1"/>
                </a:solidFill>
              </a:defRPr>
            </a:lvl1pPr>
          </a:lstStyle>
          <a:p>
            <a:pPr lvl="0"/>
            <a:r>
              <a:rPr lang="da-DK" noProof="0"/>
              <a:t>Click to edit Master subtitle style</a:t>
            </a:r>
            <a:endParaRPr lang="da-DK" noProof="0" dirty="0"/>
          </a:p>
        </p:txBody>
      </p:sp>
      <p:sp>
        <p:nvSpPr>
          <p:cNvPr id="3" name="Footer Placeholder 2">
            <a:extLst>
              <a:ext uri="{FF2B5EF4-FFF2-40B4-BE49-F238E27FC236}">
                <a16:creationId xmlns:a16="http://schemas.microsoft.com/office/drawing/2014/main" id="{71346B4F-F02C-40EC-9B70-932B18214C6A}"/>
              </a:ext>
            </a:extLst>
          </p:cNvPr>
          <p:cNvSpPr>
            <a:spLocks noGrp="1"/>
          </p:cNvSpPr>
          <p:nvPr>
            <p:ph type="ftr" sz="quarter" idx="16"/>
          </p:nvPr>
        </p:nvSpPr>
        <p:spPr/>
        <p:txBody>
          <a:bodyPr/>
          <a:lstStyle/>
          <a:p>
            <a:endParaRPr lang="da-DK" dirty="0"/>
          </a:p>
        </p:txBody>
      </p:sp>
      <p:sp>
        <p:nvSpPr>
          <p:cNvPr id="4" name="Slide Number Placeholder 3">
            <a:extLst>
              <a:ext uri="{FF2B5EF4-FFF2-40B4-BE49-F238E27FC236}">
                <a16:creationId xmlns:a16="http://schemas.microsoft.com/office/drawing/2014/main" id="{FE67EB69-BB5A-407E-BF0A-1CB9B24506D8}"/>
              </a:ext>
            </a:extLst>
          </p:cNvPr>
          <p:cNvSpPr>
            <a:spLocks noGrp="1"/>
          </p:cNvSpPr>
          <p:nvPr>
            <p:ph type="sldNum" sz="quarter" idx="17"/>
          </p:nvPr>
        </p:nvSpPr>
        <p:spPr/>
        <p:txBody>
          <a:bodyPr/>
          <a:lstStyle>
            <a:lvl1pPr>
              <a:defRPr>
                <a:solidFill>
                  <a:schemeClr val="bg1"/>
                </a:solidFill>
              </a:defRPr>
            </a:lvl1pPr>
          </a:lstStyle>
          <a:p>
            <a:fld id="{103EA872-A674-449B-A120-B97244F8E91D}" type="slidenum">
              <a:rPr lang="da-DK" smtClean="0"/>
              <a:pPr/>
              <a:t>‹#›</a:t>
            </a:fld>
            <a:endParaRPr lang="da-DK" dirty="0"/>
          </a:p>
        </p:txBody>
      </p:sp>
    </p:spTree>
    <p:extLst>
      <p:ext uri="{BB962C8B-B14F-4D97-AF65-F5344CB8AC3E}">
        <p14:creationId xmlns:p14="http://schemas.microsoft.com/office/powerpoint/2010/main" val="186595835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56">
          <p15:clr>
            <a:srgbClr val="F26B43"/>
          </p15:clr>
        </p15:guide>
        <p15:guide id="2" pos="6984">
          <p15:clr>
            <a:srgbClr val="F26B43"/>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48A0E3C-0CE1-4BBF-A912-5A81BF3B7BCA}"/>
              </a:ext>
            </a:extLst>
          </p:cNvPr>
          <p:cNvSpPr>
            <a:spLocks noGrp="1"/>
          </p:cNvSpPr>
          <p:nvPr>
            <p:ph type="title"/>
          </p:nvPr>
        </p:nvSpPr>
        <p:spPr/>
        <p:txBody>
          <a:bodyPr/>
          <a:lstStyle/>
          <a:p>
            <a:r>
              <a:rPr lang="da-DK" dirty="0"/>
              <a:t>Click to edit Master title style</a:t>
            </a:r>
            <a:endParaRPr lang="da-DK"/>
          </a:p>
        </p:txBody>
      </p:sp>
      <p:sp>
        <p:nvSpPr>
          <p:cNvPr id="3" name="Content Placeholder 2"/>
          <p:cNvSpPr>
            <a:spLocks noGrp="1"/>
          </p:cNvSpPr>
          <p:nvPr>
            <p:ph idx="1"/>
          </p:nvPr>
        </p:nvSpPr>
        <p:spPr/>
        <p:txBody>
          <a:bodyPr/>
          <a:lstStyle/>
          <a:p>
            <a:pPr lvl="0"/>
            <a:r>
              <a:rPr lang="da-DK"/>
              <a:t>Edit Master text styles</a:t>
            </a:r>
          </a:p>
          <a:p>
            <a:pPr lvl="1"/>
            <a:r>
              <a:rPr lang="da-DK"/>
              <a:t>Second level</a:t>
            </a:r>
          </a:p>
          <a:p>
            <a:pPr lvl="2"/>
            <a:r>
              <a:rPr lang="da-DK"/>
              <a:t>Third level</a:t>
            </a:r>
          </a:p>
          <a:p>
            <a:pPr lvl="3"/>
            <a:r>
              <a:rPr lang="da-DK"/>
              <a:t>Fourth level</a:t>
            </a:r>
          </a:p>
          <a:p>
            <a:pPr lvl="4"/>
            <a:r>
              <a:rPr lang="da-DK"/>
              <a:t>Fifth level</a:t>
            </a:r>
            <a:endParaRPr lang="da-DK" dirty="0"/>
          </a:p>
        </p:txBody>
      </p:sp>
      <p:sp>
        <p:nvSpPr>
          <p:cNvPr id="2" name="Footer Placeholder 1">
            <a:extLst>
              <a:ext uri="{FF2B5EF4-FFF2-40B4-BE49-F238E27FC236}">
                <a16:creationId xmlns:a16="http://schemas.microsoft.com/office/drawing/2014/main" id="{1FCA8860-CDAD-4F91-9292-2B11655C191E}"/>
              </a:ext>
            </a:extLst>
          </p:cNvPr>
          <p:cNvSpPr>
            <a:spLocks noGrp="1"/>
          </p:cNvSpPr>
          <p:nvPr>
            <p:ph type="ftr" sz="quarter" idx="10"/>
          </p:nvPr>
        </p:nvSpPr>
        <p:spPr/>
        <p:txBody>
          <a:bodyPr/>
          <a:lstStyle/>
          <a:p>
            <a:endParaRPr lang="da-DK" dirty="0"/>
          </a:p>
        </p:txBody>
      </p:sp>
      <p:sp>
        <p:nvSpPr>
          <p:cNvPr id="6" name="Slide Number Placeholder 5">
            <a:extLst>
              <a:ext uri="{FF2B5EF4-FFF2-40B4-BE49-F238E27FC236}">
                <a16:creationId xmlns:a16="http://schemas.microsoft.com/office/drawing/2014/main" id="{88C7A21B-9B48-4777-BF0D-9FB95719C2E7}"/>
              </a:ext>
            </a:extLst>
          </p:cNvPr>
          <p:cNvSpPr>
            <a:spLocks noGrp="1"/>
          </p:cNvSpPr>
          <p:nvPr>
            <p:ph type="sldNum" sz="quarter" idx="11"/>
          </p:nvPr>
        </p:nvSpPr>
        <p:spPr/>
        <p:txBody>
          <a:bodyPr/>
          <a:lstStyle/>
          <a:p>
            <a:fld id="{103EA872-A674-449B-A120-B97244F8E91D}" type="slidenum">
              <a:rPr lang="da-DK" smtClean="0"/>
              <a:pPr/>
              <a:t>‹#›</a:t>
            </a:fld>
            <a:endParaRPr lang="da-DK" dirty="0"/>
          </a:p>
        </p:txBody>
      </p:sp>
    </p:spTree>
    <p:extLst>
      <p:ext uri="{BB962C8B-B14F-4D97-AF65-F5344CB8AC3E}">
        <p14:creationId xmlns:p14="http://schemas.microsoft.com/office/powerpoint/2010/main" val="3669246166"/>
      </p:ext>
    </p:extLst>
  </p:cSld>
  <p:clrMapOvr>
    <a:masterClrMapping/>
  </p:clrMapOvr>
  <p:extLst>
    <p:ext uri="{DCECCB84-F9BA-43D5-87BE-67443E8EF086}">
      <p15:sldGuideLst xmlns:p15="http://schemas.microsoft.com/office/powerpoint/2012/main">
        <p15:guide id="1" pos="6984">
          <p15:clr>
            <a:srgbClr val="F26B43"/>
          </p15:clr>
        </p15:guide>
        <p15:guide id="2" pos="1117">
          <p15:clr>
            <a:srgbClr val="F26B43"/>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EB1D5E1-0C4E-4A74-BE37-26307F7E2821}"/>
              </a:ext>
            </a:extLst>
          </p:cNvPr>
          <p:cNvSpPr>
            <a:spLocks noGrp="1"/>
          </p:cNvSpPr>
          <p:nvPr>
            <p:ph type="title"/>
          </p:nvPr>
        </p:nvSpPr>
        <p:spPr>
          <a:xfrm>
            <a:off x="1774726" y="426127"/>
            <a:ext cx="9312374" cy="972716"/>
          </a:xfrm>
        </p:spPr>
        <p:txBody>
          <a:bodyPr/>
          <a:lstStyle/>
          <a:p>
            <a:r>
              <a:rPr lang="da-DK"/>
              <a:t>Click to edit Master title style</a:t>
            </a:r>
            <a:endParaRPr lang="da-DK" dirty="0"/>
          </a:p>
        </p:txBody>
      </p:sp>
      <p:sp>
        <p:nvSpPr>
          <p:cNvPr id="3" name="Content Placeholder 2"/>
          <p:cNvSpPr>
            <a:spLocks noGrp="1"/>
          </p:cNvSpPr>
          <p:nvPr>
            <p:ph sz="half" idx="1"/>
          </p:nvPr>
        </p:nvSpPr>
        <p:spPr>
          <a:xfrm>
            <a:off x="1774800" y="1706399"/>
            <a:ext cx="4410177" cy="454680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a-DK"/>
              <a:t>Edit Master text styles</a:t>
            </a:r>
          </a:p>
          <a:p>
            <a:pPr lvl="1"/>
            <a:r>
              <a:rPr lang="da-DK"/>
              <a:t>Second level</a:t>
            </a:r>
          </a:p>
          <a:p>
            <a:pPr lvl="2"/>
            <a:r>
              <a:rPr lang="da-DK"/>
              <a:t>Third level</a:t>
            </a:r>
          </a:p>
          <a:p>
            <a:pPr lvl="3"/>
            <a:r>
              <a:rPr lang="da-DK"/>
              <a:t>Fourth level</a:t>
            </a:r>
          </a:p>
          <a:p>
            <a:pPr lvl="4"/>
            <a:r>
              <a:rPr lang="da-DK"/>
              <a:t>Fifth level</a:t>
            </a:r>
            <a:endParaRPr lang="da-DK" dirty="0"/>
          </a:p>
        </p:txBody>
      </p:sp>
      <p:sp>
        <p:nvSpPr>
          <p:cNvPr id="4" name="Content Placeholder 3"/>
          <p:cNvSpPr>
            <a:spLocks noGrp="1"/>
          </p:cNvSpPr>
          <p:nvPr>
            <p:ph sz="half" idx="2"/>
          </p:nvPr>
        </p:nvSpPr>
        <p:spPr>
          <a:xfrm>
            <a:off x="6678001" y="1706399"/>
            <a:ext cx="4409100" cy="454680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a-DK"/>
              <a:t>Edit Master text styles</a:t>
            </a:r>
          </a:p>
          <a:p>
            <a:pPr lvl="1"/>
            <a:r>
              <a:rPr lang="da-DK"/>
              <a:t>Second level</a:t>
            </a:r>
          </a:p>
          <a:p>
            <a:pPr lvl="2"/>
            <a:r>
              <a:rPr lang="da-DK"/>
              <a:t>Third level</a:t>
            </a:r>
          </a:p>
          <a:p>
            <a:pPr lvl="3"/>
            <a:r>
              <a:rPr lang="da-DK"/>
              <a:t>Fourth level</a:t>
            </a:r>
          </a:p>
          <a:p>
            <a:pPr lvl="4"/>
            <a:r>
              <a:rPr lang="da-DK"/>
              <a:t>Fifth level</a:t>
            </a:r>
            <a:endParaRPr lang="da-DK" dirty="0"/>
          </a:p>
        </p:txBody>
      </p:sp>
      <p:sp>
        <p:nvSpPr>
          <p:cNvPr id="7" name="Footer Placeholder 6">
            <a:extLst>
              <a:ext uri="{FF2B5EF4-FFF2-40B4-BE49-F238E27FC236}">
                <a16:creationId xmlns:a16="http://schemas.microsoft.com/office/drawing/2014/main" id="{02499420-B0E8-4C8A-8C00-E21262271ADD}"/>
              </a:ext>
            </a:extLst>
          </p:cNvPr>
          <p:cNvSpPr>
            <a:spLocks noGrp="1"/>
          </p:cNvSpPr>
          <p:nvPr>
            <p:ph type="ftr" sz="quarter" idx="10"/>
          </p:nvPr>
        </p:nvSpPr>
        <p:spPr/>
        <p:txBody>
          <a:bodyPr/>
          <a:lstStyle/>
          <a:p>
            <a:endParaRPr lang="da-DK" dirty="0"/>
          </a:p>
        </p:txBody>
      </p:sp>
      <p:sp>
        <p:nvSpPr>
          <p:cNvPr id="8" name="Slide Number Placeholder 7">
            <a:extLst>
              <a:ext uri="{FF2B5EF4-FFF2-40B4-BE49-F238E27FC236}">
                <a16:creationId xmlns:a16="http://schemas.microsoft.com/office/drawing/2014/main" id="{E3EE7F0E-E606-41AC-BBBF-B5AECB1112EB}"/>
              </a:ext>
            </a:extLst>
          </p:cNvPr>
          <p:cNvSpPr>
            <a:spLocks noGrp="1"/>
          </p:cNvSpPr>
          <p:nvPr>
            <p:ph type="sldNum" sz="quarter" idx="11"/>
          </p:nvPr>
        </p:nvSpPr>
        <p:spPr/>
        <p:txBody>
          <a:bodyPr/>
          <a:lstStyle/>
          <a:p>
            <a:fld id="{103EA872-A674-449B-A120-B97244F8E91D}" type="slidenum">
              <a:rPr lang="da-DK" smtClean="0"/>
              <a:pPr/>
              <a:t>‹#›</a:t>
            </a:fld>
            <a:endParaRPr lang="da-DK" dirty="0"/>
          </a:p>
        </p:txBody>
      </p:sp>
    </p:spTree>
    <p:extLst>
      <p:ext uri="{BB962C8B-B14F-4D97-AF65-F5344CB8AC3E}">
        <p14:creationId xmlns:p14="http://schemas.microsoft.com/office/powerpoint/2010/main" val="1119992162"/>
      </p:ext>
    </p:extLst>
  </p:cSld>
  <p:clrMapOvr>
    <a:masterClrMapping/>
  </p:clrMapOvr>
  <p:extLst>
    <p:ext uri="{DCECCB84-F9BA-43D5-87BE-67443E8EF086}">
      <p15:sldGuideLst xmlns:p15="http://schemas.microsoft.com/office/powerpoint/2012/main">
        <p15:guide id="1" pos="1118">
          <p15:clr>
            <a:srgbClr val="F26B43"/>
          </p15:clr>
        </p15:guide>
        <p15:guide id="2" pos="3896">
          <p15:clr>
            <a:srgbClr val="F26B43"/>
          </p15:clr>
        </p15:guide>
        <p15:guide id="3" pos="4205">
          <p15:clr>
            <a:srgbClr val="F26B43"/>
          </p15:clr>
        </p15:guide>
        <p15:guide id="4" pos="6984">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and two pictures">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90A2595F-A737-4D92-946C-EC0BBF885334}"/>
              </a:ext>
            </a:extLst>
          </p:cNvPr>
          <p:cNvSpPr>
            <a:spLocks noGrp="1"/>
          </p:cNvSpPr>
          <p:nvPr>
            <p:ph type="title"/>
          </p:nvPr>
        </p:nvSpPr>
        <p:spPr>
          <a:xfrm>
            <a:off x="1774726" y="426127"/>
            <a:ext cx="6048672" cy="972716"/>
          </a:xfrm>
        </p:spPr>
        <p:txBody>
          <a:bodyPr/>
          <a:lstStyle/>
          <a:p>
            <a:r>
              <a:rPr lang="da-DK"/>
              <a:t>Click to edit Master title style</a:t>
            </a:r>
            <a:endParaRPr lang="da-DK" dirty="0"/>
          </a:p>
        </p:txBody>
      </p:sp>
      <p:sp>
        <p:nvSpPr>
          <p:cNvPr id="3" name="Content Placeholder 2"/>
          <p:cNvSpPr>
            <a:spLocks noGrp="1"/>
          </p:cNvSpPr>
          <p:nvPr>
            <p:ph idx="1"/>
          </p:nvPr>
        </p:nvSpPr>
        <p:spPr>
          <a:xfrm>
            <a:off x="1774726" y="1706328"/>
            <a:ext cx="6048672" cy="4545578"/>
          </a:xfrm>
        </p:spPr>
        <p:txBody>
          <a:bodyPr/>
          <a:lstStyle/>
          <a:p>
            <a:pPr lvl="0"/>
            <a:r>
              <a:rPr lang="da-DK"/>
              <a:t>Edit Master text styles</a:t>
            </a:r>
          </a:p>
          <a:p>
            <a:pPr lvl="1"/>
            <a:r>
              <a:rPr lang="da-DK"/>
              <a:t>Second level</a:t>
            </a:r>
          </a:p>
          <a:p>
            <a:pPr lvl="2"/>
            <a:r>
              <a:rPr lang="da-DK"/>
              <a:t>Third level</a:t>
            </a:r>
          </a:p>
          <a:p>
            <a:pPr lvl="3"/>
            <a:r>
              <a:rPr lang="da-DK"/>
              <a:t>Fourth level</a:t>
            </a:r>
          </a:p>
          <a:p>
            <a:pPr lvl="4"/>
            <a:r>
              <a:rPr lang="da-DK"/>
              <a:t>Fifth level</a:t>
            </a:r>
            <a:endParaRPr lang="da-DK" dirty="0"/>
          </a:p>
        </p:txBody>
      </p:sp>
      <p:sp>
        <p:nvSpPr>
          <p:cNvPr id="10" name="Picture Placeholder 9">
            <a:extLst>
              <a:ext uri="{FF2B5EF4-FFF2-40B4-BE49-F238E27FC236}">
                <a16:creationId xmlns:a16="http://schemas.microsoft.com/office/drawing/2014/main" id="{565D29D0-EA4F-4318-8A82-6C2B200A712B}"/>
              </a:ext>
            </a:extLst>
          </p:cNvPr>
          <p:cNvSpPr>
            <a:spLocks noGrp="1"/>
          </p:cNvSpPr>
          <p:nvPr>
            <p:ph type="pic" sz="quarter" idx="13" hasCustomPrompt="1"/>
          </p:nvPr>
        </p:nvSpPr>
        <p:spPr>
          <a:xfrm>
            <a:off x="8331213" y="849734"/>
            <a:ext cx="3859200" cy="2505600"/>
          </a:xfrm>
        </p:spPr>
        <p:txBody>
          <a:bodyPr/>
          <a:lstStyle>
            <a:lvl1pPr marL="0" indent="0" algn="ctr">
              <a:buNone/>
              <a:defRPr sz="1200"/>
            </a:lvl1pPr>
          </a:lstStyle>
          <a:p>
            <a:r>
              <a:rPr lang="da-DK" dirty="0"/>
              <a:t>Click the placeholder and paste image via Skyfish icon</a:t>
            </a:r>
            <a:endParaRPr lang="da-DK"/>
          </a:p>
        </p:txBody>
      </p:sp>
      <p:sp>
        <p:nvSpPr>
          <p:cNvPr id="12" name="Picture Placeholder 11">
            <a:extLst>
              <a:ext uri="{FF2B5EF4-FFF2-40B4-BE49-F238E27FC236}">
                <a16:creationId xmlns:a16="http://schemas.microsoft.com/office/drawing/2014/main" id="{25B8511D-E10E-40C3-82A6-3DCDC97CF6C2}"/>
              </a:ext>
            </a:extLst>
          </p:cNvPr>
          <p:cNvSpPr>
            <a:spLocks noGrp="1"/>
          </p:cNvSpPr>
          <p:nvPr>
            <p:ph type="pic" sz="quarter" idx="14" hasCustomPrompt="1"/>
          </p:nvPr>
        </p:nvSpPr>
        <p:spPr>
          <a:xfrm>
            <a:off x="8331213" y="3563718"/>
            <a:ext cx="3859200" cy="2505600"/>
          </a:xfrm>
        </p:spPr>
        <p:txBody>
          <a:bodyPr/>
          <a:lstStyle>
            <a:lvl1pPr marL="0" indent="0" algn="ctr">
              <a:buNone/>
              <a:defRPr sz="1200"/>
            </a:lvl1pPr>
          </a:lstStyle>
          <a:p>
            <a:r>
              <a:rPr lang="da-DK" dirty="0"/>
              <a:t>Click the placeholder and paste image via Skyfish icon</a:t>
            </a:r>
            <a:endParaRPr lang="da-DK"/>
          </a:p>
          <a:p>
            <a:endParaRPr lang="da-DK" dirty="0"/>
          </a:p>
        </p:txBody>
      </p:sp>
      <p:sp>
        <p:nvSpPr>
          <p:cNvPr id="2" name="Footer Placeholder 1">
            <a:extLst>
              <a:ext uri="{FF2B5EF4-FFF2-40B4-BE49-F238E27FC236}">
                <a16:creationId xmlns:a16="http://schemas.microsoft.com/office/drawing/2014/main" id="{D2986237-C7E2-4498-82A4-361A340A6504}"/>
              </a:ext>
            </a:extLst>
          </p:cNvPr>
          <p:cNvSpPr>
            <a:spLocks noGrp="1"/>
          </p:cNvSpPr>
          <p:nvPr>
            <p:ph type="ftr" sz="quarter" idx="15"/>
          </p:nvPr>
        </p:nvSpPr>
        <p:spPr/>
        <p:txBody>
          <a:bodyPr/>
          <a:lstStyle/>
          <a:p>
            <a:endParaRPr lang="da-DK" dirty="0"/>
          </a:p>
        </p:txBody>
      </p:sp>
      <p:sp>
        <p:nvSpPr>
          <p:cNvPr id="6" name="Slide Number Placeholder 5">
            <a:extLst>
              <a:ext uri="{FF2B5EF4-FFF2-40B4-BE49-F238E27FC236}">
                <a16:creationId xmlns:a16="http://schemas.microsoft.com/office/drawing/2014/main" id="{21664EEF-2B63-484E-803A-4FCD66F243A5}"/>
              </a:ext>
            </a:extLst>
          </p:cNvPr>
          <p:cNvSpPr>
            <a:spLocks noGrp="1"/>
          </p:cNvSpPr>
          <p:nvPr>
            <p:ph type="sldNum" sz="quarter" idx="16"/>
          </p:nvPr>
        </p:nvSpPr>
        <p:spPr/>
        <p:txBody>
          <a:bodyPr/>
          <a:lstStyle/>
          <a:p>
            <a:fld id="{103EA872-A674-449B-A120-B97244F8E91D}" type="slidenum">
              <a:rPr lang="da-DK" smtClean="0"/>
              <a:pPr/>
              <a:t>‹#›</a:t>
            </a:fld>
            <a:endParaRPr lang="da-DK" dirty="0"/>
          </a:p>
        </p:txBody>
      </p:sp>
    </p:spTree>
    <p:extLst>
      <p:ext uri="{BB962C8B-B14F-4D97-AF65-F5344CB8AC3E}">
        <p14:creationId xmlns:p14="http://schemas.microsoft.com/office/powerpoint/2010/main" val="3146835191"/>
      </p:ext>
    </p:extLst>
  </p:cSld>
  <p:clrMapOvr>
    <a:masterClrMapping/>
  </p:clrMapOvr>
  <p:extLst>
    <p:ext uri="{DCECCB84-F9BA-43D5-87BE-67443E8EF086}">
      <p15:sldGuideLst xmlns:p15="http://schemas.microsoft.com/office/powerpoint/2012/main">
        <p15:guide id="1" pos="4927">
          <p15:clr>
            <a:srgbClr val="F26B43"/>
          </p15:clr>
        </p15:guide>
        <p15:guide id="2" pos="5247">
          <p15:clr>
            <a:srgbClr val="F26B43"/>
          </p15:clr>
        </p15:guide>
        <p15:guide id="3" pos="1117">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48A0E3C-0CE1-4BBF-A912-5A81BF3B7BCA}"/>
              </a:ext>
            </a:extLst>
          </p:cNvPr>
          <p:cNvSpPr>
            <a:spLocks noGrp="1"/>
          </p:cNvSpPr>
          <p:nvPr>
            <p:ph type="title"/>
          </p:nvPr>
        </p:nvSpPr>
        <p:spPr/>
        <p:txBody>
          <a:bodyPr/>
          <a:lstStyle/>
          <a:p>
            <a:r>
              <a:rPr lang="da-DK" dirty="0"/>
              <a:t>Click to edit Master title style</a:t>
            </a:r>
            <a:endParaRPr lang="da-DK"/>
          </a:p>
        </p:txBody>
      </p:sp>
      <p:sp>
        <p:nvSpPr>
          <p:cNvPr id="3" name="Content Placeholder 2"/>
          <p:cNvSpPr>
            <a:spLocks noGrp="1"/>
          </p:cNvSpPr>
          <p:nvPr>
            <p:ph idx="1"/>
          </p:nvPr>
        </p:nvSpPr>
        <p:spPr/>
        <p:txBody>
          <a:bodyPr/>
          <a:lstStyle/>
          <a:p>
            <a:pPr lvl="0"/>
            <a:r>
              <a:rPr lang="da-DK"/>
              <a:t>Edit Master text styles</a:t>
            </a:r>
          </a:p>
          <a:p>
            <a:pPr lvl="1"/>
            <a:r>
              <a:rPr lang="da-DK"/>
              <a:t>Second level</a:t>
            </a:r>
          </a:p>
          <a:p>
            <a:pPr lvl="2"/>
            <a:r>
              <a:rPr lang="da-DK"/>
              <a:t>Third level</a:t>
            </a:r>
          </a:p>
          <a:p>
            <a:pPr lvl="3"/>
            <a:r>
              <a:rPr lang="da-DK"/>
              <a:t>Fourth level</a:t>
            </a:r>
          </a:p>
          <a:p>
            <a:pPr lvl="4"/>
            <a:r>
              <a:rPr lang="da-DK"/>
              <a:t>Fifth level</a:t>
            </a:r>
            <a:endParaRPr lang="da-DK" dirty="0"/>
          </a:p>
        </p:txBody>
      </p:sp>
      <p:sp>
        <p:nvSpPr>
          <p:cNvPr id="2" name="Footer Placeholder 1">
            <a:extLst>
              <a:ext uri="{FF2B5EF4-FFF2-40B4-BE49-F238E27FC236}">
                <a16:creationId xmlns:a16="http://schemas.microsoft.com/office/drawing/2014/main" id="{1FCA8860-CDAD-4F91-9292-2B11655C191E}"/>
              </a:ext>
            </a:extLst>
          </p:cNvPr>
          <p:cNvSpPr>
            <a:spLocks noGrp="1"/>
          </p:cNvSpPr>
          <p:nvPr>
            <p:ph type="ftr" sz="quarter" idx="10"/>
          </p:nvPr>
        </p:nvSpPr>
        <p:spPr/>
        <p:txBody>
          <a:bodyPr/>
          <a:lstStyle/>
          <a:p>
            <a:endParaRPr lang="da-DK" dirty="0"/>
          </a:p>
        </p:txBody>
      </p:sp>
      <p:sp>
        <p:nvSpPr>
          <p:cNvPr id="6" name="Slide Number Placeholder 5">
            <a:extLst>
              <a:ext uri="{FF2B5EF4-FFF2-40B4-BE49-F238E27FC236}">
                <a16:creationId xmlns:a16="http://schemas.microsoft.com/office/drawing/2014/main" id="{88C7A21B-9B48-4777-BF0D-9FB95719C2E7}"/>
              </a:ext>
            </a:extLst>
          </p:cNvPr>
          <p:cNvSpPr>
            <a:spLocks noGrp="1"/>
          </p:cNvSpPr>
          <p:nvPr>
            <p:ph type="sldNum" sz="quarter" idx="11"/>
          </p:nvPr>
        </p:nvSpPr>
        <p:spPr/>
        <p:txBody>
          <a:bodyPr/>
          <a:lstStyle/>
          <a:p>
            <a:fld id="{103EA872-A674-449B-A120-B97244F8E91D}" type="slidenum">
              <a:rPr lang="da-DK" smtClean="0"/>
              <a:pPr/>
              <a:t>‹#›</a:t>
            </a:fld>
            <a:endParaRPr lang="da-DK" dirty="0"/>
          </a:p>
        </p:txBody>
      </p:sp>
    </p:spTree>
    <p:extLst>
      <p:ext uri="{BB962C8B-B14F-4D97-AF65-F5344CB8AC3E}">
        <p14:creationId xmlns:p14="http://schemas.microsoft.com/office/powerpoint/2010/main" val="1187774059"/>
      </p:ext>
    </p:extLst>
  </p:cSld>
  <p:clrMapOvr>
    <a:masterClrMapping/>
  </p:clrMapOvr>
  <p:extLst>
    <p:ext uri="{DCECCB84-F9BA-43D5-87BE-67443E8EF086}">
      <p15:sldGuideLst xmlns:p15="http://schemas.microsoft.com/office/powerpoint/2012/main">
        <p15:guide id="1" pos="6984" userDrawn="1">
          <p15:clr>
            <a:srgbClr val="F26B43"/>
          </p15:clr>
        </p15:guide>
        <p15:guide id="2" pos="1117" userDrawn="1">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pictures and text">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92213382-11A1-48CE-B0A0-D8A7D26861FB}"/>
              </a:ext>
            </a:extLst>
          </p:cNvPr>
          <p:cNvSpPr>
            <a:spLocks noGrp="1"/>
          </p:cNvSpPr>
          <p:nvPr>
            <p:ph type="title"/>
          </p:nvPr>
        </p:nvSpPr>
        <p:spPr>
          <a:xfrm>
            <a:off x="4221360" y="426127"/>
            <a:ext cx="6865740" cy="972716"/>
          </a:xfrm>
        </p:spPr>
        <p:txBody>
          <a:bodyPr/>
          <a:lstStyle/>
          <a:p>
            <a:r>
              <a:rPr lang="da-DK" dirty="0"/>
              <a:t>Click to edit Master title style</a:t>
            </a:r>
            <a:endParaRPr lang="da-DK"/>
          </a:p>
        </p:txBody>
      </p:sp>
      <p:sp>
        <p:nvSpPr>
          <p:cNvPr id="3" name="Content Placeholder 2"/>
          <p:cNvSpPr>
            <a:spLocks noGrp="1"/>
          </p:cNvSpPr>
          <p:nvPr>
            <p:ph idx="1"/>
          </p:nvPr>
        </p:nvSpPr>
        <p:spPr>
          <a:xfrm>
            <a:off x="4221360" y="1706328"/>
            <a:ext cx="6865740" cy="4545578"/>
          </a:xfrm>
        </p:spPr>
        <p:txBody>
          <a:bodyPr/>
          <a:lstStyle/>
          <a:p>
            <a:pPr lvl="0"/>
            <a:r>
              <a:rPr lang="da-DK"/>
              <a:t>Edit Master text styles</a:t>
            </a:r>
          </a:p>
          <a:p>
            <a:pPr lvl="1"/>
            <a:r>
              <a:rPr lang="da-DK"/>
              <a:t>Second level</a:t>
            </a:r>
          </a:p>
          <a:p>
            <a:pPr lvl="2"/>
            <a:r>
              <a:rPr lang="da-DK"/>
              <a:t>Third level</a:t>
            </a:r>
          </a:p>
          <a:p>
            <a:pPr lvl="3"/>
            <a:r>
              <a:rPr lang="da-DK"/>
              <a:t>Fourth level</a:t>
            </a:r>
          </a:p>
          <a:p>
            <a:pPr lvl="4"/>
            <a:r>
              <a:rPr lang="da-DK"/>
              <a:t>Fifth level</a:t>
            </a:r>
            <a:endParaRPr lang="da-DK" dirty="0"/>
          </a:p>
        </p:txBody>
      </p:sp>
      <p:sp>
        <p:nvSpPr>
          <p:cNvPr id="10" name="Picture Placeholder 9">
            <a:extLst>
              <a:ext uri="{FF2B5EF4-FFF2-40B4-BE49-F238E27FC236}">
                <a16:creationId xmlns:a16="http://schemas.microsoft.com/office/drawing/2014/main" id="{565D29D0-EA4F-4318-8A82-6C2B200A712B}"/>
              </a:ext>
            </a:extLst>
          </p:cNvPr>
          <p:cNvSpPr>
            <a:spLocks noGrp="1"/>
          </p:cNvSpPr>
          <p:nvPr>
            <p:ph type="pic" sz="quarter" idx="13" hasCustomPrompt="1"/>
          </p:nvPr>
        </p:nvSpPr>
        <p:spPr>
          <a:xfrm>
            <a:off x="-1" y="1314523"/>
            <a:ext cx="3708000" cy="2455200"/>
          </a:xfrm>
        </p:spPr>
        <p:txBody>
          <a:bodyPr/>
          <a:lstStyle>
            <a:lvl1pPr marL="0" indent="0" algn="ctr">
              <a:buNone/>
              <a:defRPr sz="1200"/>
            </a:lvl1pPr>
          </a:lstStyle>
          <a:p>
            <a:r>
              <a:rPr lang="da-DK" dirty="0"/>
              <a:t>Click the placeholder and paste image via Skyfish icon</a:t>
            </a:r>
            <a:endParaRPr lang="da-DK"/>
          </a:p>
        </p:txBody>
      </p:sp>
      <p:sp>
        <p:nvSpPr>
          <p:cNvPr id="12" name="Picture Placeholder 11">
            <a:extLst>
              <a:ext uri="{FF2B5EF4-FFF2-40B4-BE49-F238E27FC236}">
                <a16:creationId xmlns:a16="http://schemas.microsoft.com/office/drawing/2014/main" id="{25B8511D-E10E-40C3-82A6-3DCDC97CF6C2}"/>
              </a:ext>
            </a:extLst>
          </p:cNvPr>
          <p:cNvSpPr>
            <a:spLocks noGrp="1"/>
          </p:cNvSpPr>
          <p:nvPr>
            <p:ph type="pic" sz="quarter" idx="14" hasCustomPrompt="1"/>
          </p:nvPr>
        </p:nvSpPr>
        <p:spPr>
          <a:xfrm>
            <a:off x="-1" y="3968153"/>
            <a:ext cx="3708000" cy="2455200"/>
          </a:xfrm>
        </p:spPr>
        <p:txBody>
          <a:bodyPr/>
          <a:lstStyle>
            <a:lvl1pPr marL="0" indent="0" algn="ctr">
              <a:buNone/>
              <a:defRPr sz="1200"/>
            </a:lvl1pPr>
          </a:lstStyle>
          <a:p>
            <a:r>
              <a:rPr lang="da-DK" dirty="0"/>
              <a:t>Click the placeholder and paste image via Skyfish icon</a:t>
            </a:r>
            <a:endParaRPr lang="da-DK"/>
          </a:p>
          <a:p>
            <a:endParaRPr lang="da-DK" dirty="0"/>
          </a:p>
        </p:txBody>
      </p:sp>
      <p:sp>
        <p:nvSpPr>
          <p:cNvPr id="2" name="Footer Placeholder 1">
            <a:extLst>
              <a:ext uri="{FF2B5EF4-FFF2-40B4-BE49-F238E27FC236}">
                <a16:creationId xmlns:a16="http://schemas.microsoft.com/office/drawing/2014/main" id="{AE26B732-1A52-4AA9-89FC-8FC5439E40DC}"/>
              </a:ext>
            </a:extLst>
          </p:cNvPr>
          <p:cNvSpPr>
            <a:spLocks noGrp="1"/>
          </p:cNvSpPr>
          <p:nvPr>
            <p:ph type="ftr" sz="quarter" idx="15"/>
          </p:nvPr>
        </p:nvSpPr>
        <p:spPr/>
        <p:txBody>
          <a:bodyPr/>
          <a:lstStyle/>
          <a:p>
            <a:endParaRPr lang="da-DK" dirty="0"/>
          </a:p>
        </p:txBody>
      </p:sp>
      <p:sp>
        <p:nvSpPr>
          <p:cNvPr id="6" name="Slide Number Placeholder 5">
            <a:extLst>
              <a:ext uri="{FF2B5EF4-FFF2-40B4-BE49-F238E27FC236}">
                <a16:creationId xmlns:a16="http://schemas.microsoft.com/office/drawing/2014/main" id="{3B25D0DC-E43F-43DA-AA0F-C0C54C8939F7}"/>
              </a:ext>
            </a:extLst>
          </p:cNvPr>
          <p:cNvSpPr>
            <a:spLocks noGrp="1"/>
          </p:cNvSpPr>
          <p:nvPr>
            <p:ph type="sldNum" sz="quarter" idx="16"/>
          </p:nvPr>
        </p:nvSpPr>
        <p:spPr/>
        <p:txBody>
          <a:bodyPr/>
          <a:lstStyle/>
          <a:p>
            <a:fld id="{103EA872-A674-449B-A120-B97244F8E91D}" type="slidenum">
              <a:rPr lang="da-DK" smtClean="0"/>
              <a:pPr/>
              <a:t>‹#›</a:t>
            </a:fld>
            <a:endParaRPr lang="da-DK" dirty="0"/>
          </a:p>
        </p:txBody>
      </p:sp>
    </p:spTree>
    <p:extLst>
      <p:ext uri="{BB962C8B-B14F-4D97-AF65-F5344CB8AC3E}">
        <p14:creationId xmlns:p14="http://schemas.microsoft.com/office/powerpoint/2010/main" val="2352760136"/>
      </p:ext>
    </p:extLst>
  </p:cSld>
  <p:clrMapOvr>
    <a:masterClrMapping/>
  </p:clrMapOvr>
  <p:extLst>
    <p:ext uri="{DCECCB84-F9BA-43D5-87BE-67443E8EF086}">
      <p15:sldGuideLst xmlns:p15="http://schemas.microsoft.com/office/powerpoint/2012/main">
        <p15:guide id="1" pos="6984">
          <p15:clr>
            <a:srgbClr val="F26B43"/>
          </p15:clr>
        </p15:guide>
        <p15:guide id="2" pos="2660">
          <p15:clr>
            <a:srgbClr val="F26B43"/>
          </p15:clr>
        </p15:guide>
        <p15:guide id="3" pos="2335">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ree columns">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8953C3-F3F7-4638-96F8-7CF20CB55E0C}"/>
              </a:ext>
            </a:extLst>
          </p:cNvPr>
          <p:cNvSpPr>
            <a:spLocks noGrp="1"/>
          </p:cNvSpPr>
          <p:nvPr>
            <p:ph type="title" hasCustomPrompt="1"/>
          </p:nvPr>
        </p:nvSpPr>
        <p:spPr>
          <a:xfrm>
            <a:off x="247650" y="980727"/>
            <a:ext cx="3740400" cy="418115"/>
          </a:xfrm>
        </p:spPr>
        <p:txBody>
          <a:bodyPr/>
          <a:lstStyle>
            <a:lvl1pPr>
              <a:defRPr sz="2400"/>
            </a:lvl1pPr>
          </a:lstStyle>
          <a:p>
            <a:r>
              <a:rPr lang="da-DK" dirty="0"/>
              <a:t>Click to add title one line</a:t>
            </a:r>
          </a:p>
        </p:txBody>
      </p:sp>
      <p:sp>
        <p:nvSpPr>
          <p:cNvPr id="15" name="Content Placeholder 2">
            <a:extLst>
              <a:ext uri="{FF2B5EF4-FFF2-40B4-BE49-F238E27FC236}">
                <a16:creationId xmlns:a16="http://schemas.microsoft.com/office/drawing/2014/main" id="{CC0DB591-4602-46B3-B1C3-1E64148AB9B7}"/>
              </a:ext>
            </a:extLst>
          </p:cNvPr>
          <p:cNvSpPr>
            <a:spLocks noGrp="1"/>
          </p:cNvSpPr>
          <p:nvPr>
            <p:ph idx="1"/>
          </p:nvPr>
        </p:nvSpPr>
        <p:spPr>
          <a:xfrm>
            <a:off x="247650" y="4407150"/>
            <a:ext cx="3740400" cy="1844425"/>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da-DK" dirty="0"/>
              <a:t>Edit Master text styles</a:t>
            </a:r>
            <a:endParaRPr lang="da-DK"/>
          </a:p>
          <a:p>
            <a:pPr lvl="1"/>
            <a:r>
              <a:rPr lang="da-DK" dirty="0"/>
              <a:t>Second level</a:t>
            </a:r>
            <a:endParaRPr lang="da-DK"/>
          </a:p>
          <a:p>
            <a:pPr lvl="2"/>
            <a:r>
              <a:rPr lang="da-DK" dirty="0"/>
              <a:t>Third level</a:t>
            </a:r>
            <a:endParaRPr lang="da-DK"/>
          </a:p>
          <a:p>
            <a:pPr lvl="3"/>
            <a:r>
              <a:rPr lang="da-DK" dirty="0"/>
              <a:t>Fourth level</a:t>
            </a:r>
            <a:endParaRPr lang="da-DK"/>
          </a:p>
          <a:p>
            <a:pPr lvl="4"/>
            <a:r>
              <a:rPr lang="da-DK" dirty="0"/>
              <a:t>Fifth level</a:t>
            </a:r>
            <a:endParaRPr lang="da-DK"/>
          </a:p>
        </p:txBody>
      </p:sp>
      <p:sp>
        <p:nvSpPr>
          <p:cNvPr id="19" name="Text Placeholder 18">
            <a:extLst>
              <a:ext uri="{FF2B5EF4-FFF2-40B4-BE49-F238E27FC236}">
                <a16:creationId xmlns:a16="http://schemas.microsoft.com/office/drawing/2014/main" id="{68416079-1CFC-426F-A6ED-5AB355FC545F}"/>
              </a:ext>
            </a:extLst>
          </p:cNvPr>
          <p:cNvSpPr>
            <a:spLocks noGrp="1"/>
          </p:cNvSpPr>
          <p:nvPr>
            <p:ph type="body" sz="quarter" idx="21" hasCustomPrompt="1"/>
          </p:nvPr>
        </p:nvSpPr>
        <p:spPr>
          <a:xfrm>
            <a:off x="4222750" y="979200"/>
            <a:ext cx="3740400" cy="417767"/>
          </a:xfrm>
        </p:spPr>
        <p:txBody>
          <a:bodyPr anchor="b" anchorCtr="0"/>
          <a:lstStyle>
            <a:lvl1pPr marL="0" indent="0">
              <a:buNone/>
              <a:defRPr sz="2400" b="1"/>
            </a:lvl1pPr>
            <a:lvl2pPr marL="0" indent="0">
              <a:buNone/>
              <a:defRPr sz="2400" b="1"/>
            </a:lvl2pPr>
            <a:lvl3pPr marL="0" indent="0">
              <a:buNone/>
              <a:defRPr sz="2400" b="1"/>
            </a:lvl3pPr>
            <a:lvl4pPr marL="0" indent="0">
              <a:buNone/>
              <a:defRPr sz="2400" b="1"/>
            </a:lvl4pPr>
            <a:lvl5pPr marL="0" indent="0">
              <a:buNone/>
              <a:defRPr sz="2400" b="1"/>
            </a:lvl5pPr>
          </a:lstStyle>
          <a:p>
            <a:pPr lvl="0"/>
            <a:r>
              <a:rPr lang="da-DK" dirty="0"/>
              <a:t>Click to add title one line</a:t>
            </a:r>
            <a:endParaRPr lang="da-DK"/>
          </a:p>
        </p:txBody>
      </p:sp>
      <p:sp>
        <p:nvSpPr>
          <p:cNvPr id="21" name="Content Placeholder 20">
            <a:extLst>
              <a:ext uri="{FF2B5EF4-FFF2-40B4-BE49-F238E27FC236}">
                <a16:creationId xmlns:a16="http://schemas.microsoft.com/office/drawing/2014/main" id="{D358873C-68BF-4E89-B536-B3248F2B25FE}"/>
              </a:ext>
            </a:extLst>
          </p:cNvPr>
          <p:cNvSpPr>
            <a:spLocks noGrp="1"/>
          </p:cNvSpPr>
          <p:nvPr>
            <p:ph sz="quarter" idx="22"/>
          </p:nvPr>
        </p:nvSpPr>
        <p:spPr>
          <a:xfrm>
            <a:off x="4222750" y="4406899"/>
            <a:ext cx="3740401" cy="1844675"/>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da-DK" dirty="0"/>
              <a:t>Edit Master text styles</a:t>
            </a:r>
            <a:endParaRPr lang="da-DK"/>
          </a:p>
          <a:p>
            <a:pPr lvl="1"/>
            <a:r>
              <a:rPr lang="da-DK" dirty="0"/>
              <a:t>Second level</a:t>
            </a:r>
            <a:endParaRPr lang="da-DK"/>
          </a:p>
          <a:p>
            <a:pPr lvl="2"/>
            <a:r>
              <a:rPr lang="da-DK" dirty="0"/>
              <a:t>Third level</a:t>
            </a:r>
            <a:endParaRPr lang="da-DK"/>
          </a:p>
          <a:p>
            <a:pPr lvl="3"/>
            <a:r>
              <a:rPr lang="da-DK" dirty="0"/>
              <a:t>Fourth level</a:t>
            </a:r>
            <a:endParaRPr lang="da-DK"/>
          </a:p>
          <a:p>
            <a:pPr lvl="4"/>
            <a:r>
              <a:rPr lang="da-DK" dirty="0"/>
              <a:t>Fifth level</a:t>
            </a:r>
            <a:endParaRPr lang="da-DK"/>
          </a:p>
          <a:p>
            <a:pPr lvl="5"/>
            <a:endParaRPr lang="da-DK" dirty="0"/>
          </a:p>
        </p:txBody>
      </p:sp>
      <p:sp>
        <p:nvSpPr>
          <p:cNvPr id="23" name="Text Placeholder 22">
            <a:extLst>
              <a:ext uri="{FF2B5EF4-FFF2-40B4-BE49-F238E27FC236}">
                <a16:creationId xmlns:a16="http://schemas.microsoft.com/office/drawing/2014/main" id="{69A0E900-1FE2-4CC1-B435-93F3A1189356}"/>
              </a:ext>
            </a:extLst>
          </p:cNvPr>
          <p:cNvSpPr>
            <a:spLocks noGrp="1"/>
          </p:cNvSpPr>
          <p:nvPr>
            <p:ph type="body" sz="quarter" idx="23" hasCustomPrompt="1"/>
          </p:nvPr>
        </p:nvSpPr>
        <p:spPr>
          <a:xfrm>
            <a:off x="8197850" y="979200"/>
            <a:ext cx="3740400" cy="417767"/>
          </a:xfrm>
        </p:spPr>
        <p:txBody>
          <a:bodyPr anchor="b" anchorCtr="0"/>
          <a:lstStyle>
            <a:lvl1pPr marL="0" indent="0">
              <a:buNone/>
              <a:defRPr sz="2400" b="1"/>
            </a:lvl1pPr>
            <a:lvl2pPr marL="0" indent="0">
              <a:buNone/>
              <a:defRPr sz="2400" b="1"/>
            </a:lvl2pPr>
            <a:lvl3pPr marL="0" indent="0">
              <a:buNone/>
              <a:defRPr sz="2400" b="1"/>
            </a:lvl3pPr>
            <a:lvl4pPr marL="0" indent="0">
              <a:buNone/>
              <a:defRPr sz="2400" b="1"/>
            </a:lvl4pPr>
            <a:lvl5pPr marL="0" indent="0">
              <a:buNone/>
              <a:defRPr sz="2400" b="1"/>
            </a:lvl5pPr>
          </a:lstStyle>
          <a:p>
            <a:pPr lvl="0"/>
            <a:r>
              <a:rPr lang="da-DK" dirty="0"/>
              <a:t>Click to add title one line</a:t>
            </a:r>
            <a:endParaRPr lang="da-DK"/>
          </a:p>
        </p:txBody>
      </p:sp>
      <p:sp>
        <p:nvSpPr>
          <p:cNvPr id="25" name="Content Placeholder 24">
            <a:extLst>
              <a:ext uri="{FF2B5EF4-FFF2-40B4-BE49-F238E27FC236}">
                <a16:creationId xmlns:a16="http://schemas.microsoft.com/office/drawing/2014/main" id="{E094886A-F110-4851-B1DA-8DFC40D509F8}"/>
              </a:ext>
            </a:extLst>
          </p:cNvPr>
          <p:cNvSpPr>
            <a:spLocks noGrp="1"/>
          </p:cNvSpPr>
          <p:nvPr>
            <p:ph sz="quarter" idx="24"/>
          </p:nvPr>
        </p:nvSpPr>
        <p:spPr>
          <a:xfrm>
            <a:off x="8197850" y="4406899"/>
            <a:ext cx="3740400" cy="1844675"/>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da-DK" dirty="0"/>
              <a:t>Edit Master text styles</a:t>
            </a:r>
            <a:endParaRPr lang="da-DK"/>
          </a:p>
          <a:p>
            <a:pPr lvl="1"/>
            <a:r>
              <a:rPr lang="da-DK" dirty="0"/>
              <a:t>Second level</a:t>
            </a:r>
            <a:endParaRPr lang="da-DK"/>
          </a:p>
          <a:p>
            <a:pPr lvl="2"/>
            <a:r>
              <a:rPr lang="da-DK" dirty="0"/>
              <a:t>Third level</a:t>
            </a:r>
            <a:endParaRPr lang="da-DK"/>
          </a:p>
          <a:p>
            <a:pPr lvl="3"/>
            <a:r>
              <a:rPr lang="da-DK" dirty="0"/>
              <a:t>Fourth level</a:t>
            </a:r>
            <a:endParaRPr lang="da-DK"/>
          </a:p>
          <a:p>
            <a:pPr lvl="4"/>
            <a:r>
              <a:rPr lang="da-DK" dirty="0"/>
              <a:t>Fifth level</a:t>
            </a:r>
            <a:endParaRPr lang="da-DK"/>
          </a:p>
          <a:p>
            <a:pPr lvl="5"/>
            <a:endParaRPr lang="da-DK" dirty="0"/>
          </a:p>
        </p:txBody>
      </p:sp>
      <p:sp>
        <p:nvSpPr>
          <p:cNvPr id="9" name="Picture Placeholder 8">
            <a:extLst>
              <a:ext uri="{FF2B5EF4-FFF2-40B4-BE49-F238E27FC236}">
                <a16:creationId xmlns:a16="http://schemas.microsoft.com/office/drawing/2014/main" id="{91B02311-54A6-4455-B615-BBCA0DA742E4}"/>
              </a:ext>
            </a:extLst>
          </p:cNvPr>
          <p:cNvSpPr>
            <a:spLocks noGrp="1"/>
          </p:cNvSpPr>
          <p:nvPr>
            <p:ph type="pic" sz="quarter" idx="18" hasCustomPrompt="1"/>
          </p:nvPr>
        </p:nvSpPr>
        <p:spPr>
          <a:xfrm>
            <a:off x="247650" y="1546282"/>
            <a:ext cx="3740400" cy="2664000"/>
          </a:xfrm>
        </p:spPr>
        <p:txBody>
          <a:bodyPr/>
          <a:lstStyle>
            <a:lvl1pPr marL="0" indent="0" algn="ctr">
              <a:buNone/>
              <a:defRPr sz="1200"/>
            </a:lvl1pPr>
          </a:lstStyle>
          <a:p>
            <a:r>
              <a:rPr lang="da-DK" dirty="0"/>
              <a:t>Click the placeholder and paste image via Skyfish icon</a:t>
            </a:r>
            <a:endParaRPr lang="da-DK"/>
          </a:p>
        </p:txBody>
      </p:sp>
      <p:sp>
        <p:nvSpPr>
          <p:cNvPr id="13" name="Picture Placeholder 8">
            <a:extLst>
              <a:ext uri="{FF2B5EF4-FFF2-40B4-BE49-F238E27FC236}">
                <a16:creationId xmlns:a16="http://schemas.microsoft.com/office/drawing/2014/main" id="{710A5827-3485-49A0-81F0-FF89EE34B804}"/>
              </a:ext>
            </a:extLst>
          </p:cNvPr>
          <p:cNvSpPr>
            <a:spLocks noGrp="1"/>
          </p:cNvSpPr>
          <p:nvPr>
            <p:ph type="pic" sz="quarter" idx="19" hasCustomPrompt="1"/>
          </p:nvPr>
        </p:nvSpPr>
        <p:spPr>
          <a:xfrm>
            <a:off x="4223149" y="1548581"/>
            <a:ext cx="3740400" cy="2664000"/>
          </a:xfrm>
        </p:spPr>
        <p:txBody>
          <a:bodyPr/>
          <a:lstStyle>
            <a:lvl1pPr marL="0" indent="0" algn="ctr">
              <a:buNone/>
              <a:defRPr sz="1200"/>
            </a:lvl1pPr>
          </a:lstStyle>
          <a:p>
            <a:r>
              <a:rPr lang="da-DK" dirty="0"/>
              <a:t>Click the placeholder and paste image via Skyfish icon</a:t>
            </a:r>
            <a:endParaRPr lang="da-DK"/>
          </a:p>
        </p:txBody>
      </p:sp>
      <p:sp>
        <p:nvSpPr>
          <p:cNvPr id="14" name="Picture Placeholder 8">
            <a:extLst>
              <a:ext uri="{FF2B5EF4-FFF2-40B4-BE49-F238E27FC236}">
                <a16:creationId xmlns:a16="http://schemas.microsoft.com/office/drawing/2014/main" id="{E27B0558-FCB8-4A55-9BA9-182DFF0387F4}"/>
              </a:ext>
            </a:extLst>
          </p:cNvPr>
          <p:cNvSpPr>
            <a:spLocks noGrp="1"/>
          </p:cNvSpPr>
          <p:nvPr>
            <p:ph type="pic" sz="quarter" idx="20" hasCustomPrompt="1"/>
          </p:nvPr>
        </p:nvSpPr>
        <p:spPr>
          <a:xfrm>
            <a:off x="8198648" y="1546282"/>
            <a:ext cx="3740400" cy="2664000"/>
          </a:xfrm>
        </p:spPr>
        <p:txBody>
          <a:bodyPr/>
          <a:lstStyle>
            <a:lvl1pPr marL="0" indent="0" algn="ctr">
              <a:buNone/>
              <a:defRPr sz="1200"/>
            </a:lvl1pPr>
          </a:lstStyle>
          <a:p>
            <a:r>
              <a:rPr lang="da-DK" dirty="0"/>
              <a:t>Click the placeholder and paste image via Skyfish icon</a:t>
            </a:r>
            <a:endParaRPr lang="da-DK"/>
          </a:p>
        </p:txBody>
      </p:sp>
      <p:sp>
        <p:nvSpPr>
          <p:cNvPr id="3" name="Footer Placeholder 2">
            <a:extLst>
              <a:ext uri="{FF2B5EF4-FFF2-40B4-BE49-F238E27FC236}">
                <a16:creationId xmlns:a16="http://schemas.microsoft.com/office/drawing/2014/main" id="{71346B4F-F02C-40EC-9B70-932B18214C6A}"/>
              </a:ext>
            </a:extLst>
          </p:cNvPr>
          <p:cNvSpPr>
            <a:spLocks noGrp="1"/>
          </p:cNvSpPr>
          <p:nvPr>
            <p:ph type="ftr" sz="quarter" idx="16"/>
          </p:nvPr>
        </p:nvSpPr>
        <p:spPr/>
        <p:txBody>
          <a:bodyPr/>
          <a:lstStyle/>
          <a:p>
            <a:endParaRPr lang="da-DK" dirty="0"/>
          </a:p>
        </p:txBody>
      </p:sp>
      <p:sp>
        <p:nvSpPr>
          <p:cNvPr id="4" name="Slide Number Placeholder 3">
            <a:extLst>
              <a:ext uri="{FF2B5EF4-FFF2-40B4-BE49-F238E27FC236}">
                <a16:creationId xmlns:a16="http://schemas.microsoft.com/office/drawing/2014/main" id="{FE67EB69-BB5A-407E-BF0A-1CB9B24506D8}"/>
              </a:ext>
            </a:extLst>
          </p:cNvPr>
          <p:cNvSpPr>
            <a:spLocks noGrp="1"/>
          </p:cNvSpPr>
          <p:nvPr>
            <p:ph type="sldNum" sz="quarter" idx="17"/>
          </p:nvPr>
        </p:nvSpPr>
        <p:spPr/>
        <p:txBody>
          <a:bodyPr/>
          <a:lstStyle>
            <a:lvl1pPr>
              <a:defRPr>
                <a:solidFill>
                  <a:schemeClr val="bg1"/>
                </a:solidFill>
              </a:defRPr>
            </a:lvl1pPr>
          </a:lstStyle>
          <a:p>
            <a:fld id="{103EA872-A674-449B-A120-B97244F8E91D}" type="slidenum">
              <a:rPr lang="da-DK" smtClean="0"/>
              <a:pPr/>
              <a:t>‹#›</a:t>
            </a:fld>
            <a:endParaRPr lang="da-DK" dirty="0"/>
          </a:p>
        </p:txBody>
      </p:sp>
    </p:spTree>
    <p:extLst>
      <p:ext uri="{BB962C8B-B14F-4D97-AF65-F5344CB8AC3E}">
        <p14:creationId xmlns:p14="http://schemas.microsoft.com/office/powerpoint/2010/main" val="1171028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56">
          <p15:clr>
            <a:srgbClr val="F26B43"/>
          </p15:clr>
        </p15:guide>
        <p15:guide id="2" pos="7522">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297DEAA-3B7B-49C7-8C28-3F21F36A93D7}"/>
              </a:ext>
            </a:extLst>
          </p:cNvPr>
          <p:cNvSpPr>
            <a:spLocks noGrp="1"/>
          </p:cNvSpPr>
          <p:nvPr>
            <p:ph type="title"/>
          </p:nvPr>
        </p:nvSpPr>
        <p:spPr/>
        <p:txBody>
          <a:bodyPr/>
          <a:lstStyle/>
          <a:p>
            <a:r>
              <a:rPr lang="da-DK"/>
              <a:t>Click to edit Master title style</a:t>
            </a:r>
            <a:endParaRPr lang="da-DK" dirty="0"/>
          </a:p>
        </p:txBody>
      </p:sp>
      <p:sp>
        <p:nvSpPr>
          <p:cNvPr id="2" name="Footer Placeholder 1">
            <a:extLst>
              <a:ext uri="{FF2B5EF4-FFF2-40B4-BE49-F238E27FC236}">
                <a16:creationId xmlns:a16="http://schemas.microsoft.com/office/drawing/2014/main" id="{51F74546-9D06-4CF7-806D-E04B043BF5A5}"/>
              </a:ext>
            </a:extLst>
          </p:cNvPr>
          <p:cNvSpPr>
            <a:spLocks noGrp="1"/>
          </p:cNvSpPr>
          <p:nvPr>
            <p:ph type="ftr" sz="quarter" idx="10"/>
          </p:nvPr>
        </p:nvSpPr>
        <p:spPr/>
        <p:txBody>
          <a:bodyPr/>
          <a:lstStyle/>
          <a:p>
            <a:endParaRPr lang="da-DK" dirty="0"/>
          </a:p>
        </p:txBody>
      </p:sp>
      <p:sp>
        <p:nvSpPr>
          <p:cNvPr id="6" name="Slide Number Placeholder 5">
            <a:extLst>
              <a:ext uri="{FF2B5EF4-FFF2-40B4-BE49-F238E27FC236}">
                <a16:creationId xmlns:a16="http://schemas.microsoft.com/office/drawing/2014/main" id="{42F53AB3-8AAF-469F-AD3F-AE5E1A39D7C8}"/>
              </a:ext>
            </a:extLst>
          </p:cNvPr>
          <p:cNvSpPr>
            <a:spLocks noGrp="1"/>
          </p:cNvSpPr>
          <p:nvPr>
            <p:ph type="sldNum" sz="quarter" idx="11"/>
          </p:nvPr>
        </p:nvSpPr>
        <p:spPr/>
        <p:txBody>
          <a:bodyPr/>
          <a:lstStyle/>
          <a:p>
            <a:fld id="{103EA872-A674-449B-A120-B97244F8E91D}" type="slidenum">
              <a:rPr lang="da-DK" smtClean="0"/>
              <a:pPr/>
              <a:t>‹#›</a:t>
            </a:fld>
            <a:endParaRPr lang="da-DK" dirty="0"/>
          </a:p>
        </p:txBody>
      </p:sp>
    </p:spTree>
    <p:extLst>
      <p:ext uri="{BB962C8B-B14F-4D97-AF65-F5344CB8AC3E}">
        <p14:creationId xmlns:p14="http://schemas.microsoft.com/office/powerpoint/2010/main" val="3131932206"/>
      </p:ext>
    </p:extLst>
  </p:cSld>
  <p:clrMapOvr>
    <a:masterClrMapping/>
  </p:clrMapOvr>
  <p:extLst>
    <p:ext uri="{DCECCB84-F9BA-43D5-87BE-67443E8EF086}">
      <p15:sldGuideLst xmlns:p15="http://schemas.microsoft.com/office/powerpoint/2012/main">
        <p15:guide id="1" pos="1117">
          <p15:clr>
            <a:srgbClr val="F26B43"/>
          </p15:clr>
        </p15:guide>
        <p15:guide id="2" pos="6984">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Logo og footer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3AE75ABF-082F-4A38-B952-09157E37A81A}"/>
              </a:ext>
            </a:extLst>
          </p:cNvPr>
          <p:cNvSpPr>
            <a:spLocks noGrp="1"/>
          </p:cNvSpPr>
          <p:nvPr>
            <p:ph type="ftr" sz="quarter" idx="10"/>
          </p:nvPr>
        </p:nvSpPr>
        <p:spPr/>
        <p:txBody>
          <a:bodyPr/>
          <a:lstStyle/>
          <a:p>
            <a:endParaRPr lang="da-DK" dirty="0"/>
          </a:p>
        </p:txBody>
      </p:sp>
      <p:sp>
        <p:nvSpPr>
          <p:cNvPr id="5" name="Slide Number Placeholder 4">
            <a:extLst>
              <a:ext uri="{FF2B5EF4-FFF2-40B4-BE49-F238E27FC236}">
                <a16:creationId xmlns:a16="http://schemas.microsoft.com/office/drawing/2014/main" id="{D0A39F3A-7714-4FD6-9132-D60FFA220D98}"/>
              </a:ext>
            </a:extLst>
          </p:cNvPr>
          <p:cNvSpPr>
            <a:spLocks noGrp="1"/>
          </p:cNvSpPr>
          <p:nvPr>
            <p:ph type="sldNum" sz="quarter" idx="11"/>
          </p:nvPr>
        </p:nvSpPr>
        <p:spPr/>
        <p:txBody>
          <a:bodyPr/>
          <a:lstStyle/>
          <a:p>
            <a:fld id="{103EA872-A674-449B-A120-B97244F8E91D}" type="slidenum">
              <a:rPr lang="da-DK" smtClean="0"/>
              <a:pPr/>
              <a:t>‹#›</a:t>
            </a:fld>
            <a:endParaRPr lang="da-DK" dirty="0"/>
          </a:p>
        </p:txBody>
      </p:sp>
    </p:spTree>
    <p:extLst>
      <p:ext uri="{BB962C8B-B14F-4D97-AF65-F5344CB8AC3E}">
        <p14:creationId xmlns:p14="http://schemas.microsoft.com/office/powerpoint/2010/main" val="26703966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Front/Pause A ">
    <p:spTree>
      <p:nvGrpSpPr>
        <p:cNvPr id="1" name=""/>
        <p:cNvGrpSpPr/>
        <p:nvPr/>
      </p:nvGrpSpPr>
      <p:grpSpPr>
        <a:xfrm>
          <a:off x="0" y="0"/>
          <a:ext cx="0" cy="0"/>
          <a:chOff x="0" y="0"/>
          <a:chExt cx="0" cy="0"/>
        </a:xfrm>
      </p:grpSpPr>
      <p:sp>
        <p:nvSpPr>
          <p:cNvPr id="9" name="Background">
            <a:extLst>
              <a:ext uri="{FF2B5EF4-FFF2-40B4-BE49-F238E27FC236}">
                <a16:creationId xmlns:a16="http://schemas.microsoft.com/office/drawing/2014/main" id="{AF9D3C51-A276-4E1F-B6B6-FD6A4E17EE28}"/>
              </a:ext>
            </a:extLst>
          </p:cNvPr>
          <p:cNvSpPr/>
          <p:nvPr userDrawn="1"/>
        </p:nvSpPr>
        <p:spPr bwMode="auto">
          <a:xfrm>
            <a:off x="0" y="-3600"/>
            <a:ext cx="12193200" cy="6861600"/>
          </a:xfrm>
          <a:prstGeom prst="rect">
            <a:avLst/>
          </a:prstGeom>
          <a:solidFill>
            <a:srgbClr val="008737"/>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da-DK" sz="1600" b="0" i="0" u="none" strike="noStrike" cap="none" normalizeH="0" baseline="0" dirty="0">
              <a:ln>
                <a:noFill/>
              </a:ln>
              <a:solidFill>
                <a:schemeClr val="tx1"/>
              </a:solidFill>
              <a:effectLst/>
              <a:latin typeface="Arial" panose="020B0604020202020204" pitchFamily="34" charset="0"/>
              <a:ea typeface="ＭＳ Ｐゴシック" pitchFamily="-80" charset="-128"/>
            </a:endParaRPr>
          </a:p>
        </p:txBody>
      </p:sp>
      <p:sp>
        <p:nvSpPr>
          <p:cNvPr id="4" name="Date Placeholder 2">
            <a:extLst>
              <a:ext uri="{FF2B5EF4-FFF2-40B4-BE49-F238E27FC236}">
                <a16:creationId xmlns:a16="http://schemas.microsoft.com/office/drawing/2014/main" id="{C9776080-6230-4AB8-AB28-4D6744DD01F9}"/>
              </a:ext>
            </a:extLst>
          </p:cNvPr>
          <p:cNvSpPr>
            <a:spLocks noGrp="1"/>
          </p:cNvSpPr>
          <p:nvPr>
            <p:ph type="dt" sz="half" idx="10"/>
          </p:nvPr>
        </p:nvSpPr>
        <p:spPr>
          <a:xfrm>
            <a:off x="0" y="6912000"/>
            <a:ext cx="0" cy="0"/>
          </a:xfrm>
          <a:prstGeom prst="rect">
            <a:avLst/>
          </a:prstGeom>
        </p:spPr>
        <p:txBody>
          <a:bodyPr/>
          <a:lstStyle>
            <a:lvl1pPr>
              <a:defRPr>
                <a:noFill/>
              </a:defRPr>
            </a:lvl1pPr>
          </a:lstStyle>
          <a:p>
            <a:endParaRPr lang="da-DK" dirty="0"/>
          </a:p>
        </p:txBody>
      </p:sp>
      <p:sp>
        <p:nvSpPr>
          <p:cNvPr id="5" name="Footer Placeholder 3">
            <a:extLst>
              <a:ext uri="{FF2B5EF4-FFF2-40B4-BE49-F238E27FC236}">
                <a16:creationId xmlns:a16="http://schemas.microsoft.com/office/drawing/2014/main" id="{2B7FFAE6-D148-4A15-9DFC-7D71B82020C9}"/>
              </a:ext>
            </a:extLst>
          </p:cNvPr>
          <p:cNvSpPr>
            <a:spLocks noGrp="1"/>
          </p:cNvSpPr>
          <p:nvPr>
            <p:ph type="ftr" sz="quarter" idx="11"/>
          </p:nvPr>
        </p:nvSpPr>
        <p:spPr>
          <a:xfrm>
            <a:off x="0" y="6912000"/>
            <a:ext cx="0" cy="0"/>
          </a:xfrm>
        </p:spPr>
        <p:txBody>
          <a:bodyPr/>
          <a:lstStyle>
            <a:lvl1pPr>
              <a:defRPr>
                <a:noFill/>
              </a:defRPr>
            </a:lvl1pPr>
          </a:lstStyle>
          <a:p>
            <a:endParaRPr lang="da-DK" dirty="0"/>
          </a:p>
        </p:txBody>
      </p:sp>
      <p:sp>
        <p:nvSpPr>
          <p:cNvPr id="6" name="Slide Number Placeholder 4">
            <a:extLst>
              <a:ext uri="{FF2B5EF4-FFF2-40B4-BE49-F238E27FC236}">
                <a16:creationId xmlns:a16="http://schemas.microsoft.com/office/drawing/2014/main" id="{3125B57E-AFC7-4517-B327-461DB01D2867}"/>
              </a:ext>
            </a:extLst>
          </p:cNvPr>
          <p:cNvSpPr>
            <a:spLocks noGrp="1"/>
          </p:cNvSpPr>
          <p:nvPr>
            <p:ph type="sldNum" sz="quarter" idx="12"/>
          </p:nvPr>
        </p:nvSpPr>
        <p:spPr>
          <a:xfrm flipV="1">
            <a:off x="0" y="6912000"/>
            <a:ext cx="0" cy="0"/>
          </a:xfrm>
        </p:spPr>
        <p:txBody>
          <a:bodyPr/>
          <a:lstStyle>
            <a:lvl1pPr>
              <a:defRPr>
                <a:noFill/>
              </a:defRPr>
            </a:lvl1pPr>
          </a:lstStyle>
          <a:p>
            <a:fld id="{24C8C45C-947F-4981-8B3F-4F32E973C901}" type="slidenum">
              <a:rPr lang="da-DK" smtClean="0"/>
              <a:pPr/>
              <a:t>‹#›</a:t>
            </a:fld>
            <a:endParaRPr lang="da-DK" dirty="0"/>
          </a:p>
        </p:txBody>
      </p:sp>
      <p:sp>
        <p:nvSpPr>
          <p:cNvPr id="10" name="Logo color">
            <a:extLst>
              <a:ext uri="{FF2B5EF4-FFF2-40B4-BE49-F238E27FC236}">
                <a16:creationId xmlns:a16="http://schemas.microsoft.com/office/drawing/2014/main" id="{B0EE486B-843B-49D6-90AE-5093AB56E30F}"/>
              </a:ext>
            </a:extLst>
          </p:cNvPr>
          <p:cNvSpPr>
            <a:spLocks noChangeAspect="1"/>
          </p:cNvSpPr>
          <p:nvPr userDrawn="1">
            <p:custDataLst>
              <p:tags r:id="rId1"/>
            </p:custDataLst>
          </p:nvPr>
        </p:nvSpPr>
        <p:spPr bwMode="auto">
          <a:xfrm>
            <a:off x="2494806" y="5013176"/>
            <a:ext cx="792619" cy="1156030"/>
          </a:xfrm>
          <a:custGeom>
            <a:avLst/>
            <a:gdLst>
              <a:gd name="connsiteX0" fmla="*/ 1050029 w 4933949"/>
              <a:gd name="connsiteY0" fmla="*/ 6094413 h 7196138"/>
              <a:gd name="connsiteX1" fmla="*/ 3883920 w 4933949"/>
              <a:gd name="connsiteY1" fmla="*/ 6094413 h 7196138"/>
              <a:gd name="connsiteX2" fmla="*/ 4933949 w 4933949"/>
              <a:gd name="connsiteY2" fmla="*/ 6645934 h 7196138"/>
              <a:gd name="connsiteX3" fmla="*/ 3883920 w 4933949"/>
              <a:gd name="connsiteY3" fmla="*/ 7196138 h 7196138"/>
              <a:gd name="connsiteX4" fmla="*/ 1050029 w 4933949"/>
              <a:gd name="connsiteY4" fmla="*/ 7196138 h 7196138"/>
              <a:gd name="connsiteX5" fmla="*/ 0 w 4933949"/>
              <a:gd name="connsiteY5" fmla="*/ 6645934 h 7196138"/>
              <a:gd name="connsiteX6" fmla="*/ 1050029 w 4933949"/>
              <a:gd name="connsiteY6" fmla="*/ 6094413 h 7196138"/>
              <a:gd name="connsiteX7" fmla="*/ 1050029 w 4933949"/>
              <a:gd name="connsiteY7" fmla="*/ 4730750 h 7196138"/>
              <a:gd name="connsiteX8" fmla="*/ 3883920 w 4933949"/>
              <a:gd name="connsiteY8" fmla="*/ 4730750 h 7196138"/>
              <a:gd name="connsiteX9" fmla="*/ 4933949 w 4933949"/>
              <a:gd name="connsiteY9" fmla="*/ 5283066 h 7196138"/>
              <a:gd name="connsiteX10" fmla="*/ 3883920 w 4933949"/>
              <a:gd name="connsiteY10" fmla="*/ 5834063 h 7196138"/>
              <a:gd name="connsiteX11" fmla="*/ 1050029 w 4933949"/>
              <a:gd name="connsiteY11" fmla="*/ 5834063 h 7196138"/>
              <a:gd name="connsiteX12" fmla="*/ 0 w 4933949"/>
              <a:gd name="connsiteY12" fmla="*/ 5283066 h 7196138"/>
              <a:gd name="connsiteX13" fmla="*/ 1050029 w 4933949"/>
              <a:gd name="connsiteY13" fmla="*/ 4730750 h 7196138"/>
              <a:gd name="connsiteX14" fmla="*/ 1050029 w 4933949"/>
              <a:gd name="connsiteY14" fmla="*/ 3368675 h 7196138"/>
              <a:gd name="connsiteX15" fmla="*/ 3883920 w 4933949"/>
              <a:gd name="connsiteY15" fmla="*/ 3368675 h 7196138"/>
              <a:gd name="connsiteX16" fmla="*/ 4933949 w 4933949"/>
              <a:gd name="connsiteY16" fmla="*/ 3920991 h 7196138"/>
              <a:gd name="connsiteX17" fmla="*/ 3883920 w 4933949"/>
              <a:gd name="connsiteY17" fmla="*/ 4471988 h 7196138"/>
              <a:gd name="connsiteX18" fmla="*/ 1050029 w 4933949"/>
              <a:gd name="connsiteY18" fmla="*/ 4471988 h 7196138"/>
              <a:gd name="connsiteX19" fmla="*/ 0 w 4933949"/>
              <a:gd name="connsiteY19" fmla="*/ 3920991 h 7196138"/>
              <a:gd name="connsiteX20" fmla="*/ 1050029 w 4933949"/>
              <a:gd name="connsiteY20" fmla="*/ 3368675 h 7196138"/>
              <a:gd name="connsiteX21" fmla="*/ 678543 w 4933949"/>
              <a:gd name="connsiteY21" fmla="*/ 305710 h 7196138"/>
              <a:gd name="connsiteX22" fmla="*/ 678543 w 4933949"/>
              <a:gd name="connsiteY22" fmla="*/ 2307316 h 7196138"/>
              <a:gd name="connsiteX23" fmla="*/ 909109 w 4933949"/>
              <a:gd name="connsiteY23" fmla="*/ 2307316 h 7196138"/>
              <a:gd name="connsiteX24" fmla="*/ 1119911 w 4933949"/>
              <a:gd name="connsiteY24" fmla="*/ 2234842 h 7196138"/>
              <a:gd name="connsiteX25" fmla="*/ 1198962 w 4933949"/>
              <a:gd name="connsiteY25" fmla="*/ 1615517 h 7196138"/>
              <a:gd name="connsiteX26" fmla="*/ 1198962 w 4933949"/>
              <a:gd name="connsiteY26" fmla="*/ 996191 h 7196138"/>
              <a:gd name="connsiteX27" fmla="*/ 1119911 w 4933949"/>
              <a:gd name="connsiteY27" fmla="*/ 378184 h 7196138"/>
              <a:gd name="connsiteX28" fmla="*/ 909109 w 4933949"/>
              <a:gd name="connsiteY28" fmla="*/ 305710 h 7196138"/>
              <a:gd name="connsiteX29" fmla="*/ 678543 w 4933949"/>
              <a:gd name="connsiteY29" fmla="*/ 305710 h 7196138"/>
              <a:gd name="connsiteX30" fmla="*/ 1842869 w 4933949"/>
              <a:gd name="connsiteY30" fmla="*/ 0 h 7196138"/>
              <a:gd name="connsiteX31" fmla="*/ 3073618 w 4933949"/>
              <a:gd name="connsiteY31" fmla="*/ 0 h 7196138"/>
              <a:gd name="connsiteX32" fmla="*/ 3114467 w 4933949"/>
              <a:gd name="connsiteY32" fmla="*/ 14495 h 7196138"/>
              <a:gd name="connsiteX33" fmla="*/ 3128962 w 4933949"/>
              <a:gd name="connsiteY33" fmla="*/ 54027 h 7196138"/>
              <a:gd name="connsiteX34" fmla="*/ 3128962 w 4933949"/>
              <a:gd name="connsiteY34" fmla="*/ 275402 h 7196138"/>
              <a:gd name="connsiteX35" fmla="*/ 3114467 w 4933949"/>
              <a:gd name="connsiteY35" fmla="*/ 314934 h 7196138"/>
              <a:gd name="connsiteX36" fmla="*/ 3073618 w 4933949"/>
              <a:gd name="connsiteY36" fmla="*/ 329429 h 7196138"/>
              <a:gd name="connsiteX37" fmla="*/ 2679620 w 4933949"/>
              <a:gd name="connsiteY37" fmla="*/ 329429 h 7196138"/>
              <a:gd name="connsiteX38" fmla="*/ 2679620 w 4933949"/>
              <a:gd name="connsiteY38" fmla="*/ 2558999 h 7196138"/>
              <a:gd name="connsiteX39" fmla="*/ 2665125 w 4933949"/>
              <a:gd name="connsiteY39" fmla="*/ 2598530 h 7196138"/>
              <a:gd name="connsiteX40" fmla="*/ 2625594 w 4933949"/>
              <a:gd name="connsiteY40" fmla="*/ 2613025 h 7196138"/>
              <a:gd name="connsiteX41" fmla="*/ 2290893 w 4933949"/>
              <a:gd name="connsiteY41" fmla="*/ 2613025 h 7196138"/>
              <a:gd name="connsiteX42" fmla="*/ 2250044 w 4933949"/>
              <a:gd name="connsiteY42" fmla="*/ 2598530 h 7196138"/>
              <a:gd name="connsiteX43" fmla="*/ 2235549 w 4933949"/>
              <a:gd name="connsiteY43" fmla="*/ 2558999 h 7196138"/>
              <a:gd name="connsiteX44" fmla="*/ 2235549 w 4933949"/>
              <a:gd name="connsiteY44" fmla="*/ 329429 h 7196138"/>
              <a:gd name="connsiteX45" fmla="*/ 1842869 w 4933949"/>
              <a:gd name="connsiteY45" fmla="*/ 329429 h 7196138"/>
              <a:gd name="connsiteX46" fmla="*/ 1802020 w 4933949"/>
              <a:gd name="connsiteY46" fmla="*/ 314934 h 7196138"/>
              <a:gd name="connsiteX47" fmla="*/ 1787525 w 4933949"/>
              <a:gd name="connsiteY47" fmla="*/ 275402 h 7196138"/>
              <a:gd name="connsiteX48" fmla="*/ 1787525 w 4933949"/>
              <a:gd name="connsiteY48" fmla="*/ 54027 h 7196138"/>
              <a:gd name="connsiteX49" fmla="*/ 1802020 w 4933949"/>
              <a:gd name="connsiteY49" fmla="*/ 14495 h 7196138"/>
              <a:gd name="connsiteX50" fmla="*/ 1842869 w 4933949"/>
              <a:gd name="connsiteY50" fmla="*/ 0 h 7196138"/>
              <a:gd name="connsiteX51" fmla="*/ 317544 w 4933949"/>
              <a:gd name="connsiteY51" fmla="*/ 0 h 7196138"/>
              <a:gd name="connsiteX52" fmla="*/ 972349 w 4933949"/>
              <a:gd name="connsiteY52" fmla="*/ 0 h 7196138"/>
              <a:gd name="connsiteX53" fmla="*/ 1476958 w 4933949"/>
              <a:gd name="connsiteY53" fmla="*/ 179209 h 7196138"/>
              <a:gd name="connsiteX54" fmla="*/ 1619250 w 4933949"/>
              <a:gd name="connsiteY54" fmla="*/ 1025181 h 7196138"/>
              <a:gd name="connsiteX55" fmla="*/ 1619250 w 4933949"/>
              <a:gd name="connsiteY55" fmla="*/ 1587845 h 7196138"/>
              <a:gd name="connsiteX56" fmla="*/ 1476958 w 4933949"/>
              <a:gd name="connsiteY56" fmla="*/ 2433816 h 7196138"/>
              <a:gd name="connsiteX57" fmla="*/ 972349 w 4933949"/>
              <a:gd name="connsiteY57" fmla="*/ 2613025 h 7196138"/>
              <a:gd name="connsiteX58" fmla="*/ 317544 w 4933949"/>
              <a:gd name="connsiteY58" fmla="*/ 2613025 h 7196138"/>
              <a:gd name="connsiteX59" fmla="*/ 278018 w 4933949"/>
              <a:gd name="connsiteY59" fmla="*/ 2598530 h 7196138"/>
              <a:gd name="connsiteX60" fmla="*/ 263525 w 4933949"/>
              <a:gd name="connsiteY60" fmla="*/ 2558999 h 7196138"/>
              <a:gd name="connsiteX61" fmla="*/ 263525 w 4933949"/>
              <a:gd name="connsiteY61" fmla="*/ 54027 h 7196138"/>
              <a:gd name="connsiteX62" fmla="*/ 278018 w 4933949"/>
              <a:gd name="connsiteY62" fmla="*/ 14495 h 7196138"/>
              <a:gd name="connsiteX63" fmla="*/ 317544 w 4933949"/>
              <a:gd name="connsiteY63" fmla="*/ 0 h 7196138"/>
              <a:gd name="connsiteX64" fmla="*/ 3359213 w 4933949"/>
              <a:gd name="connsiteY64" fmla="*/ 0 h 7196138"/>
              <a:gd name="connsiteX65" fmla="*/ 3664991 w 4933949"/>
              <a:gd name="connsiteY65" fmla="*/ 0 h 7196138"/>
              <a:gd name="connsiteX66" fmla="*/ 3705850 w 4933949"/>
              <a:gd name="connsiteY66" fmla="*/ 14497 h 7196138"/>
              <a:gd name="connsiteX67" fmla="*/ 3720348 w 4933949"/>
              <a:gd name="connsiteY67" fmla="*/ 54035 h 7196138"/>
              <a:gd name="connsiteX68" fmla="*/ 3720348 w 4933949"/>
              <a:gd name="connsiteY68" fmla="*/ 1903062 h 7196138"/>
              <a:gd name="connsiteX69" fmla="*/ 3798111 w 4933949"/>
              <a:gd name="connsiteY69" fmla="*/ 2279984 h 7196138"/>
              <a:gd name="connsiteX70" fmla="*/ 3976042 w 4933949"/>
              <a:gd name="connsiteY70" fmla="*/ 2349833 h 7196138"/>
              <a:gd name="connsiteX71" fmla="*/ 4163200 w 4933949"/>
              <a:gd name="connsiteY71" fmla="*/ 2279984 h 7196138"/>
              <a:gd name="connsiteX72" fmla="*/ 4240963 w 4933949"/>
              <a:gd name="connsiteY72" fmla="*/ 1903062 h 7196138"/>
              <a:gd name="connsiteX73" fmla="*/ 4240963 w 4933949"/>
              <a:gd name="connsiteY73" fmla="*/ 54035 h 7196138"/>
              <a:gd name="connsiteX74" fmla="*/ 4255461 w 4933949"/>
              <a:gd name="connsiteY74" fmla="*/ 14497 h 7196138"/>
              <a:gd name="connsiteX75" fmla="*/ 4295001 w 4933949"/>
              <a:gd name="connsiteY75" fmla="*/ 0 h 7196138"/>
              <a:gd name="connsiteX76" fmla="*/ 4602098 w 4933949"/>
              <a:gd name="connsiteY76" fmla="*/ 0 h 7196138"/>
              <a:gd name="connsiteX77" fmla="*/ 4641638 w 4933949"/>
              <a:gd name="connsiteY77" fmla="*/ 14497 h 7196138"/>
              <a:gd name="connsiteX78" fmla="*/ 4656136 w 4933949"/>
              <a:gd name="connsiteY78" fmla="*/ 54035 h 7196138"/>
              <a:gd name="connsiteX79" fmla="*/ 4656136 w 4933949"/>
              <a:gd name="connsiteY79" fmla="*/ 1904380 h 7196138"/>
              <a:gd name="connsiteX80" fmla="*/ 4507201 w 4933949"/>
              <a:gd name="connsiteY80" fmla="*/ 2459220 h 7196138"/>
              <a:gd name="connsiteX81" fmla="*/ 3981314 w 4933949"/>
              <a:gd name="connsiteY81" fmla="*/ 2646363 h 7196138"/>
              <a:gd name="connsiteX82" fmla="*/ 3447519 w 4933949"/>
              <a:gd name="connsiteY82" fmla="*/ 2459220 h 7196138"/>
              <a:gd name="connsiteX83" fmla="*/ 3305174 w 4933949"/>
              <a:gd name="connsiteY83" fmla="*/ 1904380 h 7196138"/>
              <a:gd name="connsiteX84" fmla="*/ 3305174 w 4933949"/>
              <a:gd name="connsiteY84" fmla="*/ 54035 h 7196138"/>
              <a:gd name="connsiteX85" fmla="*/ 3318354 w 4933949"/>
              <a:gd name="connsiteY85" fmla="*/ 14497 h 7196138"/>
              <a:gd name="connsiteX86" fmla="*/ 3359213 w 4933949"/>
              <a:gd name="connsiteY86" fmla="*/ 0 h 7196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933949" h="7196138">
                <a:moveTo>
                  <a:pt x="1050029" y="6094413"/>
                </a:moveTo>
                <a:cubicBezTo>
                  <a:pt x="2409664" y="6623557"/>
                  <a:pt x="2524285" y="6623557"/>
                  <a:pt x="3883920" y="6094413"/>
                </a:cubicBezTo>
                <a:cubicBezTo>
                  <a:pt x="3883920" y="6094413"/>
                  <a:pt x="3883920" y="6094413"/>
                  <a:pt x="4933949" y="6645934"/>
                </a:cubicBezTo>
                <a:cubicBezTo>
                  <a:pt x="4933949" y="6645934"/>
                  <a:pt x="4933949" y="6645934"/>
                  <a:pt x="3883920" y="7196138"/>
                </a:cubicBezTo>
                <a:cubicBezTo>
                  <a:pt x="2524285" y="6668311"/>
                  <a:pt x="2409664" y="6668311"/>
                  <a:pt x="1050029" y="7196138"/>
                </a:cubicBezTo>
                <a:cubicBezTo>
                  <a:pt x="1050029" y="7196138"/>
                  <a:pt x="1050029" y="7196138"/>
                  <a:pt x="0" y="6645934"/>
                </a:cubicBezTo>
                <a:cubicBezTo>
                  <a:pt x="0" y="6645934"/>
                  <a:pt x="0" y="6645934"/>
                  <a:pt x="1050029" y="6094413"/>
                </a:cubicBezTo>
                <a:close/>
                <a:moveTo>
                  <a:pt x="1050029" y="4730750"/>
                </a:moveTo>
                <a:cubicBezTo>
                  <a:pt x="2409664" y="5260657"/>
                  <a:pt x="2524285" y="5260657"/>
                  <a:pt x="3883920" y="4730750"/>
                </a:cubicBezTo>
                <a:cubicBezTo>
                  <a:pt x="3883920" y="4730750"/>
                  <a:pt x="3883920" y="4730750"/>
                  <a:pt x="4933949" y="5283066"/>
                </a:cubicBezTo>
                <a:cubicBezTo>
                  <a:pt x="4933949" y="5283066"/>
                  <a:pt x="4933949" y="5283066"/>
                  <a:pt x="3883920" y="5834063"/>
                </a:cubicBezTo>
                <a:cubicBezTo>
                  <a:pt x="2524285" y="5305475"/>
                  <a:pt x="2409664" y="5305475"/>
                  <a:pt x="1050029" y="5834063"/>
                </a:cubicBezTo>
                <a:cubicBezTo>
                  <a:pt x="1050029" y="5834063"/>
                  <a:pt x="1050029" y="5834063"/>
                  <a:pt x="0" y="5283066"/>
                </a:cubicBezTo>
                <a:cubicBezTo>
                  <a:pt x="0" y="5283066"/>
                  <a:pt x="0" y="5283066"/>
                  <a:pt x="1050029" y="4730750"/>
                </a:cubicBezTo>
                <a:close/>
                <a:moveTo>
                  <a:pt x="1050029" y="3368675"/>
                </a:moveTo>
                <a:cubicBezTo>
                  <a:pt x="2409664" y="3898582"/>
                  <a:pt x="2524285" y="3898582"/>
                  <a:pt x="3883920" y="3368675"/>
                </a:cubicBezTo>
                <a:cubicBezTo>
                  <a:pt x="3883920" y="3368675"/>
                  <a:pt x="3883920" y="3368675"/>
                  <a:pt x="4933949" y="3920991"/>
                </a:cubicBezTo>
                <a:cubicBezTo>
                  <a:pt x="4933949" y="3920991"/>
                  <a:pt x="4933949" y="3920991"/>
                  <a:pt x="3883920" y="4471988"/>
                </a:cubicBezTo>
                <a:cubicBezTo>
                  <a:pt x="2524285" y="3943400"/>
                  <a:pt x="2409664" y="3943400"/>
                  <a:pt x="1050029" y="4471988"/>
                </a:cubicBezTo>
                <a:cubicBezTo>
                  <a:pt x="1050029" y="4471988"/>
                  <a:pt x="1050029" y="4471988"/>
                  <a:pt x="0" y="3920991"/>
                </a:cubicBezTo>
                <a:cubicBezTo>
                  <a:pt x="0" y="3920991"/>
                  <a:pt x="0" y="3920991"/>
                  <a:pt x="1050029" y="3368675"/>
                </a:cubicBezTo>
                <a:close/>
                <a:moveTo>
                  <a:pt x="678543" y="305710"/>
                </a:moveTo>
                <a:lnTo>
                  <a:pt x="678543" y="2307316"/>
                </a:lnTo>
                <a:cubicBezTo>
                  <a:pt x="678543" y="2307316"/>
                  <a:pt x="678543" y="2307316"/>
                  <a:pt x="909109" y="2307316"/>
                </a:cubicBezTo>
                <a:cubicBezTo>
                  <a:pt x="1011875" y="2307316"/>
                  <a:pt x="1072481" y="2291503"/>
                  <a:pt x="1119911" y="2234842"/>
                </a:cubicBezTo>
                <a:cubicBezTo>
                  <a:pt x="1192375" y="2147873"/>
                  <a:pt x="1198962" y="1971299"/>
                  <a:pt x="1198962" y="1615517"/>
                </a:cubicBezTo>
                <a:cubicBezTo>
                  <a:pt x="1198962" y="1615517"/>
                  <a:pt x="1198962" y="1615517"/>
                  <a:pt x="1198962" y="996191"/>
                </a:cubicBezTo>
                <a:cubicBezTo>
                  <a:pt x="1198962" y="641727"/>
                  <a:pt x="1192375" y="465153"/>
                  <a:pt x="1119911" y="378184"/>
                </a:cubicBezTo>
                <a:cubicBezTo>
                  <a:pt x="1072481" y="321522"/>
                  <a:pt x="1011875" y="305710"/>
                  <a:pt x="909109" y="305710"/>
                </a:cubicBezTo>
                <a:cubicBezTo>
                  <a:pt x="909109" y="305710"/>
                  <a:pt x="909109" y="305710"/>
                  <a:pt x="678543" y="305710"/>
                </a:cubicBezTo>
                <a:close/>
                <a:moveTo>
                  <a:pt x="1842869" y="0"/>
                </a:moveTo>
                <a:cubicBezTo>
                  <a:pt x="1842869" y="0"/>
                  <a:pt x="1842869" y="0"/>
                  <a:pt x="3073618" y="0"/>
                </a:cubicBezTo>
                <a:cubicBezTo>
                  <a:pt x="3093384" y="0"/>
                  <a:pt x="3105243" y="5271"/>
                  <a:pt x="3114467" y="14495"/>
                </a:cubicBezTo>
                <a:cubicBezTo>
                  <a:pt x="3122374" y="22401"/>
                  <a:pt x="3128962" y="34261"/>
                  <a:pt x="3128962" y="54027"/>
                </a:cubicBezTo>
                <a:cubicBezTo>
                  <a:pt x="3128962" y="54027"/>
                  <a:pt x="3128962" y="54027"/>
                  <a:pt x="3128962" y="275402"/>
                </a:cubicBezTo>
                <a:cubicBezTo>
                  <a:pt x="3128962" y="295168"/>
                  <a:pt x="3122374" y="307028"/>
                  <a:pt x="3114467" y="314934"/>
                </a:cubicBezTo>
                <a:cubicBezTo>
                  <a:pt x="3105243" y="324158"/>
                  <a:pt x="3093384" y="329429"/>
                  <a:pt x="3073618" y="329429"/>
                </a:cubicBezTo>
                <a:cubicBezTo>
                  <a:pt x="3073618" y="329429"/>
                  <a:pt x="3073618" y="329429"/>
                  <a:pt x="2679620" y="329429"/>
                </a:cubicBezTo>
                <a:cubicBezTo>
                  <a:pt x="2679620" y="329429"/>
                  <a:pt x="2679620" y="329429"/>
                  <a:pt x="2679620" y="2558999"/>
                </a:cubicBezTo>
                <a:cubicBezTo>
                  <a:pt x="2679620" y="2578765"/>
                  <a:pt x="2674349" y="2590624"/>
                  <a:pt x="2665125" y="2598530"/>
                </a:cubicBezTo>
                <a:cubicBezTo>
                  <a:pt x="2657219" y="2607755"/>
                  <a:pt x="2645360" y="2613025"/>
                  <a:pt x="2625594" y="2613025"/>
                </a:cubicBezTo>
                <a:cubicBezTo>
                  <a:pt x="2625594" y="2613025"/>
                  <a:pt x="2625594" y="2613025"/>
                  <a:pt x="2290893" y="2613025"/>
                </a:cubicBezTo>
                <a:cubicBezTo>
                  <a:pt x="2271128" y="2613025"/>
                  <a:pt x="2259268" y="2607755"/>
                  <a:pt x="2250044" y="2598530"/>
                </a:cubicBezTo>
                <a:cubicBezTo>
                  <a:pt x="2240820" y="2590624"/>
                  <a:pt x="2235549" y="2578765"/>
                  <a:pt x="2235549" y="2558999"/>
                </a:cubicBezTo>
                <a:cubicBezTo>
                  <a:pt x="2235549" y="2558999"/>
                  <a:pt x="2235549" y="2558999"/>
                  <a:pt x="2235549" y="329429"/>
                </a:cubicBezTo>
                <a:cubicBezTo>
                  <a:pt x="2235549" y="329429"/>
                  <a:pt x="2235549" y="329429"/>
                  <a:pt x="1842869" y="329429"/>
                </a:cubicBezTo>
                <a:cubicBezTo>
                  <a:pt x="1823104" y="329429"/>
                  <a:pt x="1811244" y="324158"/>
                  <a:pt x="1802020" y="314934"/>
                </a:cubicBezTo>
                <a:cubicBezTo>
                  <a:pt x="1792796" y="307028"/>
                  <a:pt x="1787525" y="295168"/>
                  <a:pt x="1787525" y="275402"/>
                </a:cubicBezTo>
                <a:cubicBezTo>
                  <a:pt x="1787525" y="275402"/>
                  <a:pt x="1787525" y="275402"/>
                  <a:pt x="1787525" y="54027"/>
                </a:cubicBezTo>
                <a:cubicBezTo>
                  <a:pt x="1787525" y="34261"/>
                  <a:pt x="1792796" y="22401"/>
                  <a:pt x="1802020" y="14495"/>
                </a:cubicBezTo>
                <a:cubicBezTo>
                  <a:pt x="1811244" y="5271"/>
                  <a:pt x="1823104" y="0"/>
                  <a:pt x="1842869" y="0"/>
                </a:cubicBezTo>
                <a:close/>
                <a:moveTo>
                  <a:pt x="317544" y="0"/>
                </a:moveTo>
                <a:cubicBezTo>
                  <a:pt x="317544" y="0"/>
                  <a:pt x="317544" y="0"/>
                  <a:pt x="972349" y="0"/>
                </a:cubicBezTo>
                <a:cubicBezTo>
                  <a:pt x="1226630" y="0"/>
                  <a:pt x="1382097" y="57980"/>
                  <a:pt x="1476958" y="179209"/>
                </a:cubicBezTo>
                <a:cubicBezTo>
                  <a:pt x="1615298" y="345241"/>
                  <a:pt x="1619250" y="614055"/>
                  <a:pt x="1619250" y="1025181"/>
                </a:cubicBezTo>
                <a:cubicBezTo>
                  <a:pt x="1619250" y="1025181"/>
                  <a:pt x="1619250" y="1025181"/>
                  <a:pt x="1619250" y="1587845"/>
                </a:cubicBezTo>
                <a:cubicBezTo>
                  <a:pt x="1619250" y="1998971"/>
                  <a:pt x="1615298" y="2267784"/>
                  <a:pt x="1476958" y="2433816"/>
                </a:cubicBezTo>
                <a:cubicBezTo>
                  <a:pt x="1382097" y="2555046"/>
                  <a:pt x="1226630" y="2613025"/>
                  <a:pt x="972349" y="2613025"/>
                </a:cubicBezTo>
                <a:cubicBezTo>
                  <a:pt x="972349" y="2613025"/>
                  <a:pt x="972349" y="2613025"/>
                  <a:pt x="317544" y="2613025"/>
                </a:cubicBezTo>
                <a:cubicBezTo>
                  <a:pt x="297781" y="2613025"/>
                  <a:pt x="285923" y="2607755"/>
                  <a:pt x="278018" y="2598530"/>
                </a:cubicBezTo>
                <a:cubicBezTo>
                  <a:pt x="268795" y="2590624"/>
                  <a:pt x="263525" y="2578765"/>
                  <a:pt x="263525" y="2558999"/>
                </a:cubicBezTo>
                <a:cubicBezTo>
                  <a:pt x="263525" y="2558999"/>
                  <a:pt x="263525" y="2558999"/>
                  <a:pt x="263525" y="54027"/>
                </a:cubicBezTo>
                <a:cubicBezTo>
                  <a:pt x="263525" y="34261"/>
                  <a:pt x="268795" y="22401"/>
                  <a:pt x="278018" y="14495"/>
                </a:cubicBezTo>
                <a:cubicBezTo>
                  <a:pt x="285923" y="5271"/>
                  <a:pt x="297781" y="0"/>
                  <a:pt x="317544" y="0"/>
                </a:cubicBezTo>
                <a:close/>
                <a:moveTo>
                  <a:pt x="3359213" y="0"/>
                </a:moveTo>
                <a:cubicBezTo>
                  <a:pt x="3359213" y="0"/>
                  <a:pt x="3359213" y="0"/>
                  <a:pt x="3664991" y="0"/>
                </a:cubicBezTo>
                <a:cubicBezTo>
                  <a:pt x="3684762" y="0"/>
                  <a:pt x="3696624" y="5272"/>
                  <a:pt x="3705850" y="14497"/>
                </a:cubicBezTo>
                <a:cubicBezTo>
                  <a:pt x="3715076" y="22405"/>
                  <a:pt x="3720348" y="34266"/>
                  <a:pt x="3720348" y="54035"/>
                </a:cubicBezTo>
                <a:cubicBezTo>
                  <a:pt x="3720348" y="54035"/>
                  <a:pt x="3720348" y="54035"/>
                  <a:pt x="3720348" y="1903062"/>
                </a:cubicBezTo>
                <a:cubicBezTo>
                  <a:pt x="3720348" y="2103384"/>
                  <a:pt x="3738800" y="2214089"/>
                  <a:pt x="3798111" y="2279984"/>
                </a:cubicBezTo>
                <a:cubicBezTo>
                  <a:pt x="3841605" y="2328747"/>
                  <a:pt x="3899597" y="2349833"/>
                  <a:pt x="3976042" y="2349833"/>
                </a:cubicBezTo>
                <a:cubicBezTo>
                  <a:pt x="4060395" y="2349833"/>
                  <a:pt x="4121023" y="2326111"/>
                  <a:pt x="4163200" y="2279984"/>
                </a:cubicBezTo>
                <a:cubicBezTo>
                  <a:pt x="4226464" y="2211453"/>
                  <a:pt x="4240963" y="2096795"/>
                  <a:pt x="4240963" y="1903062"/>
                </a:cubicBezTo>
                <a:cubicBezTo>
                  <a:pt x="4240963" y="1903062"/>
                  <a:pt x="4240963" y="1903062"/>
                  <a:pt x="4240963" y="54035"/>
                </a:cubicBezTo>
                <a:cubicBezTo>
                  <a:pt x="4240963" y="34266"/>
                  <a:pt x="4246235" y="22405"/>
                  <a:pt x="4255461" y="14497"/>
                </a:cubicBezTo>
                <a:cubicBezTo>
                  <a:pt x="4263369" y="5272"/>
                  <a:pt x="4276549" y="0"/>
                  <a:pt x="4295001" y="0"/>
                </a:cubicBezTo>
                <a:cubicBezTo>
                  <a:pt x="4295001" y="0"/>
                  <a:pt x="4295001" y="0"/>
                  <a:pt x="4602098" y="0"/>
                </a:cubicBezTo>
                <a:cubicBezTo>
                  <a:pt x="4621868" y="0"/>
                  <a:pt x="4633730" y="5272"/>
                  <a:pt x="4641638" y="14497"/>
                </a:cubicBezTo>
                <a:cubicBezTo>
                  <a:pt x="4650864" y="22405"/>
                  <a:pt x="4656136" y="34266"/>
                  <a:pt x="4656136" y="54035"/>
                </a:cubicBezTo>
                <a:cubicBezTo>
                  <a:pt x="4656136" y="54035"/>
                  <a:pt x="4656136" y="54035"/>
                  <a:pt x="4656136" y="1904380"/>
                </a:cubicBezTo>
                <a:cubicBezTo>
                  <a:pt x="4656136" y="2153465"/>
                  <a:pt x="4627140" y="2319521"/>
                  <a:pt x="4507201" y="2459220"/>
                </a:cubicBezTo>
                <a:cubicBezTo>
                  <a:pt x="4405714" y="2577832"/>
                  <a:pt x="4239645" y="2646363"/>
                  <a:pt x="3981314" y="2646363"/>
                </a:cubicBezTo>
                <a:cubicBezTo>
                  <a:pt x="3726938" y="2646363"/>
                  <a:pt x="3559550" y="2581786"/>
                  <a:pt x="3447519" y="2459220"/>
                </a:cubicBezTo>
                <a:cubicBezTo>
                  <a:pt x="3340760" y="2341926"/>
                  <a:pt x="3305174" y="2173233"/>
                  <a:pt x="3305174" y="1904380"/>
                </a:cubicBezTo>
                <a:cubicBezTo>
                  <a:pt x="3305174" y="1904380"/>
                  <a:pt x="3305174" y="1904380"/>
                  <a:pt x="3305174" y="54035"/>
                </a:cubicBezTo>
                <a:cubicBezTo>
                  <a:pt x="3305174" y="34266"/>
                  <a:pt x="3310446" y="22405"/>
                  <a:pt x="3318354" y="14497"/>
                </a:cubicBezTo>
                <a:cubicBezTo>
                  <a:pt x="3327580" y="5272"/>
                  <a:pt x="3339442" y="0"/>
                  <a:pt x="3359213"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da-DK"/>
          </a:p>
        </p:txBody>
      </p:sp>
    </p:spTree>
    <p:extLst>
      <p:ext uri="{BB962C8B-B14F-4D97-AF65-F5344CB8AC3E}">
        <p14:creationId xmlns:p14="http://schemas.microsoft.com/office/powerpoint/2010/main" val="23274368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ront/Pause B">
    <p:bg>
      <p:bgRef idx="1001">
        <a:schemeClr val="bg1"/>
      </p:bgRef>
    </p:bg>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A3420087-96DF-432F-B192-585D42BF6A4E}"/>
              </a:ext>
            </a:extLst>
          </p:cNvPr>
          <p:cNvSpPr/>
          <p:nvPr userDrawn="1"/>
        </p:nvSpPr>
        <p:spPr bwMode="auto">
          <a:xfrm>
            <a:off x="0" y="0"/>
            <a:ext cx="12193200" cy="6861600"/>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da-DK" sz="1600" b="0" i="0" u="none" strike="noStrike" cap="none" normalizeH="0" baseline="0" dirty="0">
              <a:ln>
                <a:noFill/>
              </a:ln>
              <a:solidFill>
                <a:schemeClr val="tx1"/>
              </a:solidFill>
              <a:effectLst/>
              <a:latin typeface="Arial" panose="020B0604020202020204" pitchFamily="34" charset="0"/>
              <a:ea typeface="ＭＳ Ｐゴシック" pitchFamily="-80" charset="-128"/>
            </a:endParaRPr>
          </a:p>
        </p:txBody>
      </p:sp>
      <p:sp>
        <p:nvSpPr>
          <p:cNvPr id="13" name="Logo color">
            <a:extLst>
              <a:ext uri="{FF2B5EF4-FFF2-40B4-BE49-F238E27FC236}">
                <a16:creationId xmlns:a16="http://schemas.microsoft.com/office/drawing/2014/main" id="{09BBEE10-6A59-474F-B766-7643F97F869F}"/>
              </a:ext>
            </a:extLst>
          </p:cNvPr>
          <p:cNvSpPr>
            <a:spLocks noChangeAspect="1"/>
          </p:cNvSpPr>
          <p:nvPr userDrawn="1">
            <p:custDataLst>
              <p:tags r:id="rId1"/>
            </p:custDataLst>
          </p:nvPr>
        </p:nvSpPr>
        <p:spPr bwMode="auto">
          <a:xfrm>
            <a:off x="4870539" y="1651373"/>
            <a:ext cx="2388323" cy="3483354"/>
          </a:xfrm>
          <a:custGeom>
            <a:avLst/>
            <a:gdLst>
              <a:gd name="connsiteX0" fmla="*/ 1050029 w 4933949"/>
              <a:gd name="connsiteY0" fmla="*/ 6094413 h 7196138"/>
              <a:gd name="connsiteX1" fmla="*/ 3883920 w 4933949"/>
              <a:gd name="connsiteY1" fmla="*/ 6094413 h 7196138"/>
              <a:gd name="connsiteX2" fmla="*/ 4933949 w 4933949"/>
              <a:gd name="connsiteY2" fmla="*/ 6645934 h 7196138"/>
              <a:gd name="connsiteX3" fmla="*/ 3883920 w 4933949"/>
              <a:gd name="connsiteY3" fmla="*/ 7196138 h 7196138"/>
              <a:gd name="connsiteX4" fmla="*/ 1050029 w 4933949"/>
              <a:gd name="connsiteY4" fmla="*/ 7196138 h 7196138"/>
              <a:gd name="connsiteX5" fmla="*/ 0 w 4933949"/>
              <a:gd name="connsiteY5" fmla="*/ 6645934 h 7196138"/>
              <a:gd name="connsiteX6" fmla="*/ 1050029 w 4933949"/>
              <a:gd name="connsiteY6" fmla="*/ 6094413 h 7196138"/>
              <a:gd name="connsiteX7" fmla="*/ 1050029 w 4933949"/>
              <a:gd name="connsiteY7" fmla="*/ 4730750 h 7196138"/>
              <a:gd name="connsiteX8" fmla="*/ 3883920 w 4933949"/>
              <a:gd name="connsiteY8" fmla="*/ 4730750 h 7196138"/>
              <a:gd name="connsiteX9" fmla="*/ 4933949 w 4933949"/>
              <a:gd name="connsiteY9" fmla="*/ 5283066 h 7196138"/>
              <a:gd name="connsiteX10" fmla="*/ 3883920 w 4933949"/>
              <a:gd name="connsiteY10" fmla="*/ 5834063 h 7196138"/>
              <a:gd name="connsiteX11" fmla="*/ 1050029 w 4933949"/>
              <a:gd name="connsiteY11" fmla="*/ 5834063 h 7196138"/>
              <a:gd name="connsiteX12" fmla="*/ 0 w 4933949"/>
              <a:gd name="connsiteY12" fmla="*/ 5283066 h 7196138"/>
              <a:gd name="connsiteX13" fmla="*/ 1050029 w 4933949"/>
              <a:gd name="connsiteY13" fmla="*/ 4730750 h 7196138"/>
              <a:gd name="connsiteX14" fmla="*/ 1050029 w 4933949"/>
              <a:gd name="connsiteY14" fmla="*/ 3368675 h 7196138"/>
              <a:gd name="connsiteX15" fmla="*/ 3883920 w 4933949"/>
              <a:gd name="connsiteY15" fmla="*/ 3368675 h 7196138"/>
              <a:gd name="connsiteX16" fmla="*/ 4933949 w 4933949"/>
              <a:gd name="connsiteY16" fmla="*/ 3920991 h 7196138"/>
              <a:gd name="connsiteX17" fmla="*/ 3883920 w 4933949"/>
              <a:gd name="connsiteY17" fmla="*/ 4471988 h 7196138"/>
              <a:gd name="connsiteX18" fmla="*/ 1050029 w 4933949"/>
              <a:gd name="connsiteY18" fmla="*/ 4471988 h 7196138"/>
              <a:gd name="connsiteX19" fmla="*/ 0 w 4933949"/>
              <a:gd name="connsiteY19" fmla="*/ 3920991 h 7196138"/>
              <a:gd name="connsiteX20" fmla="*/ 1050029 w 4933949"/>
              <a:gd name="connsiteY20" fmla="*/ 3368675 h 7196138"/>
              <a:gd name="connsiteX21" fmla="*/ 678543 w 4933949"/>
              <a:gd name="connsiteY21" fmla="*/ 305710 h 7196138"/>
              <a:gd name="connsiteX22" fmla="*/ 678543 w 4933949"/>
              <a:gd name="connsiteY22" fmla="*/ 2307316 h 7196138"/>
              <a:gd name="connsiteX23" fmla="*/ 909109 w 4933949"/>
              <a:gd name="connsiteY23" fmla="*/ 2307316 h 7196138"/>
              <a:gd name="connsiteX24" fmla="*/ 1119911 w 4933949"/>
              <a:gd name="connsiteY24" fmla="*/ 2234842 h 7196138"/>
              <a:gd name="connsiteX25" fmla="*/ 1198962 w 4933949"/>
              <a:gd name="connsiteY25" fmla="*/ 1615517 h 7196138"/>
              <a:gd name="connsiteX26" fmla="*/ 1198962 w 4933949"/>
              <a:gd name="connsiteY26" fmla="*/ 996191 h 7196138"/>
              <a:gd name="connsiteX27" fmla="*/ 1119911 w 4933949"/>
              <a:gd name="connsiteY27" fmla="*/ 378184 h 7196138"/>
              <a:gd name="connsiteX28" fmla="*/ 909109 w 4933949"/>
              <a:gd name="connsiteY28" fmla="*/ 305710 h 7196138"/>
              <a:gd name="connsiteX29" fmla="*/ 678543 w 4933949"/>
              <a:gd name="connsiteY29" fmla="*/ 305710 h 7196138"/>
              <a:gd name="connsiteX30" fmla="*/ 1842869 w 4933949"/>
              <a:gd name="connsiteY30" fmla="*/ 0 h 7196138"/>
              <a:gd name="connsiteX31" fmla="*/ 3073618 w 4933949"/>
              <a:gd name="connsiteY31" fmla="*/ 0 h 7196138"/>
              <a:gd name="connsiteX32" fmla="*/ 3114467 w 4933949"/>
              <a:gd name="connsiteY32" fmla="*/ 14495 h 7196138"/>
              <a:gd name="connsiteX33" fmla="*/ 3128962 w 4933949"/>
              <a:gd name="connsiteY33" fmla="*/ 54027 h 7196138"/>
              <a:gd name="connsiteX34" fmla="*/ 3128962 w 4933949"/>
              <a:gd name="connsiteY34" fmla="*/ 275402 h 7196138"/>
              <a:gd name="connsiteX35" fmla="*/ 3114467 w 4933949"/>
              <a:gd name="connsiteY35" fmla="*/ 314934 h 7196138"/>
              <a:gd name="connsiteX36" fmla="*/ 3073618 w 4933949"/>
              <a:gd name="connsiteY36" fmla="*/ 329429 h 7196138"/>
              <a:gd name="connsiteX37" fmla="*/ 2679620 w 4933949"/>
              <a:gd name="connsiteY37" fmla="*/ 329429 h 7196138"/>
              <a:gd name="connsiteX38" fmla="*/ 2679620 w 4933949"/>
              <a:gd name="connsiteY38" fmla="*/ 2558999 h 7196138"/>
              <a:gd name="connsiteX39" fmla="*/ 2665125 w 4933949"/>
              <a:gd name="connsiteY39" fmla="*/ 2598530 h 7196138"/>
              <a:gd name="connsiteX40" fmla="*/ 2625594 w 4933949"/>
              <a:gd name="connsiteY40" fmla="*/ 2613025 h 7196138"/>
              <a:gd name="connsiteX41" fmla="*/ 2290893 w 4933949"/>
              <a:gd name="connsiteY41" fmla="*/ 2613025 h 7196138"/>
              <a:gd name="connsiteX42" fmla="*/ 2250044 w 4933949"/>
              <a:gd name="connsiteY42" fmla="*/ 2598530 h 7196138"/>
              <a:gd name="connsiteX43" fmla="*/ 2235549 w 4933949"/>
              <a:gd name="connsiteY43" fmla="*/ 2558999 h 7196138"/>
              <a:gd name="connsiteX44" fmla="*/ 2235549 w 4933949"/>
              <a:gd name="connsiteY44" fmla="*/ 329429 h 7196138"/>
              <a:gd name="connsiteX45" fmla="*/ 1842869 w 4933949"/>
              <a:gd name="connsiteY45" fmla="*/ 329429 h 7196138"/>
              <a:gd name="connsiteX46" fmla="*/ 1802020 w 4933949"/>
              <a:gd name="connsiteY46" fmla="*/ 314934 h 7196138"/>
              <a:gd name="connsiteX47" fmla="*/ 1787525 w 4933949"/>
              <a:gd name="connsiteY47" fmla="*/ 275402 h 7196138"/>
              <a:gd name="connsiteX48" fmla="*/ 1787525 w 4933949"/>
              <a:gd name="connsiteY48" fmla="*/ 54027 h 7196138"/>
              <a:gd name="connsiteX49" fmla="*/ 1802020 w 4933949"/>
              <a:gd name="connsiteY49" fmla="*/ 14495 h 7196138"/>
              <a:gd name="connsiteX50" fmla="*/ 1842869 w 4933949"/>
              <a:gd name="connsiteY50" fmla="*/ 0 h 7196138"/>
              <a:gd name="connsiteX51" fmla="*/ 317544 w 4933949"/>
              <a:gd name="connsiteY51" fmla="*/ 0 h 7196138"/>
              <a:gd name="connsiteX52" fmla="*/ 972349 w 4933949"/>
              <a:gd name="connsiteY52" fmla="*/ 0 h 7196138"/>
              <a:gd name="connsiteX53" fmla="*/ 1476958 w 4933949"/>
              <a:gd name="connsiteY53" fmla="*/ 179209 h 7196138"/>
              <a:gd name="connsiteX54" fmla="*/ 1619250 w 4933949"/>
              <a:gd name="connsiteY54" fmla="*/ 1025181 h 7196138"/>
              <a:gd name="connsiteX55" fmla="*/ 1619250 w 4933949"/>
              <a:gd name="connsiteY55" fmla="*/ 1587845 h 7196138"/>
              <a:gd name="connsiteX56" fmla="*/ 1476958 w 4933949"/>
              <a:gd name="connsiteY56" fmla="*/ 2433816 h 7196138"/>
              <a:gd name="connsiteX57" fmla="*/ 972349 w 4933949"/>
              <a:gd name="connsiteY57" fmla="*/ 2613025 h 7196138"/>
              <a:gd name="connsiteX58" fmla="*/ 317544 w 4933949"/>
              <a:gd name="connsiteY58" fmla="*/ 2613025 h 7196138"/>
              <a:gd name="connsiteX59" fmla="*/ 278018 w 4933949"/>
              <a:gd name="connsiteY59" fmla="*/ 2598530 h 7196138"/>
              <a:gd name="connsiteX60" fmla="*/ 263525 w 4933949"/>
              <a:gd name="connsiteY60" fmla="*/ 2558999 h 7196138"/>
              <a:gd name="connsiteX61" fmla="*/ 263525 w 4933949"/>
              <a:gd name="connsiteY61" fmla="*/ 54027 h 7196138"/>
              <a:gd name="connsiteX62" fmla="*/ 278018 w 4933949"/>
              <a:gd name="connsiteY62" fmla="*/ 14495 h 7196138"/>
              <a:gd name="connsiteX63" fmla="*/ 317544 w 4933949"/>
              <a:gd name="connsiteY63" fmla="*/ 0 h 7196138"/>
              <a:gd name="connsiteX64" fmla="*/ 3359213 w 4933949"/>
              <a:gd name="connsiteY64" fmla="*/ 0 h 7196138"/>
              <a:gd name="connsiteX65" fmla="*/ 3664991 w 4933949"/>
              <a:gd name="connsiteY65" fmla="*/ 0 h 7196138"/>
              <a:gd name="connsiteX66" fmla="*/ 3705850 w 4933949"/>
              <a:gd name="connsiteY66" fmla="*/ 14497 h 7196138"/>
              <a:gd name="connsiteX67" fmla="*/ 3720348 w 4933949"/>
              <a:gd name="connsiteY67" fmla="*/ 54035 h 7196138"/>
              <a:gd name="connsiteX68" fmla="*/ 3720348 w 4933949"/>
              <a:gd name="connsiteY68" fmla="*/ 1903062 h 7196138"/>
              <a:gd name="connsiteX69" fmla="*/ 3798111 w 4933949"/>
              <a:gd name="connsiteY69" fmla="*/ 2279984 h 7196138"/>
              <a:gd name="connsiteX70" fmla="*/ 3976042 w 4933949"/>
              <a:gd name="connsiteY70" fmla="*/ 2349833 h 7196138"/>
              <a:gd name="connsiteX71" fmla="*/ 4163200 w 4933949"/>
              <a:gd name="connsiteY71" fmla="*/ 2279984 h 7196138"/>
              <a:gd name="connsiteX72" fmla="*/ 4240963 w 4933949"/>
              <a:gd name="connsiteY72" fmla="*/ 1903062 h 7196138"/>
              <a:gd name="connsiteX73" fmla="*/ 4240963 w 4933949"/>
              <a:gd name="connsiteY73" fmla="*/ 54035 h 7196138"/>
              <a:gd name="connsiteX74" fmla="*/ 4255461 w 4933949"/>
              <a:gd name="connsiteY74" fmla="*/ 14497 h 7196138"/>
              <a:gd name="connsiteX75" fmla="*/ 4295001 w 4933949"/>
              <a:gd name="connsiteY75" fmla="*/ 0 h 7196138"/>
              <a:gd name="connsiteX76" fmla="*/ 4602098 w 4933949"/>
              <a:gd name="connsiteY76" fmla="*/ 0 h 7196138"/>
              <a:gd name="connsiteX77" fmla="*/ 4641638 w 4933949"/>
              <a:gd name="connsiteY77" fmla="*/ 14497 h 7196138"/>
              <a:gd name="connsiteX78" fmla="*/ 4656136 w 4933949"/>
              <a:gd name="connsiteY78" fmla="*/ 54035 h 7196138"/>
              <a:gd name="connsiteX79" fmla="*/ 4656136 w 4933949"/>
              <a:gd name="connsiteY79" fmla="*/ 1904380 h 7196138"/>
              <a:gd name="connsiteX80" fmla="*/ 4507201 w 4933949"/>
              <a:gd name="connsiteY80" fmla="*/ 2459220 h 7196138"/>
              <a:gd name="connsiteX81" fmla="*/ 3981314 w 4933949"/>
              <a:gd name="connsiteY81" fmla="*/ 2646363 h 7196138"/>
              <a:gd name="connsiteX82" fmla="*/ 3447519 w 4933949"/>
              <a:gd name="connsiteY82" fmla="*/ 2459220 h 7196138"/>
              <a:gd name="connsiteX83" fmla="*/ 3305174 w 4933949"/>
              <a:gd name="connsiteY83" fmla="*/ 1904380 h 7196138"/>
              <a:gd name="connsiteX84" fmla="*/ 3305174 w 4933949"/>
              <a:gd name="connsiteY84" fmla="*/ 54035 h 7196138"/>
              <a:gd name="connsiteX85" fmla="*/ 3318354 w 4933949"/>
              <a:gd name="connsiteY85" fmla="*/ 14497 h 7196138"/>
              <a:gd name="connsiteX86" fmla="*/ 3359213 w 4933949"/>
              <a:gd name="connsiteY86" fmla="*/ 0 h 7196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933949" h="7196138">
                <a:moveTo>
                  <a:pt x="1050029" y="6094413"/>
                </a:moveTo>
                <a:cubicBezTo>
                  <a:pt x="2409664" y="6623557"/>
                  <a:pt x="2524285" y="6623557"/>
                  <a:pt x="3883920" y="6094413"/>
                </a:cubicBezTo>
                <a:cubicBezTo>
                  <a:pt x="3883920" y="6094413"/>
                  <a:pt x="3883920" y="6094413"/>
                  <a:pt x="4933949" y="6645934"/>
                </a:cubicBezTo>
                <a:cubicBezTo>
                  <a:pt x="4933949" y="6645934"/>
                  <a:pt x="4933949" y="6645934"/>
                  <a:pt x="3883920" y="7196138"/>
                </a:cubicBezTo>
                <a:cubicBezTo>
                  <a:pt x="2524285" y="6668311"/>
                  <a:pt x="2409664" y="6668311"/>
                  <a:pt x="1050029" y="7196138"/>
                </a:cubicBezTo>
                <a:cubicBezTo>
                  <a:pt x="1050029" y="7196138"/>
                  <a:pt x="1050029" y="7196138"/>
                  <a:pt x="0" y="6645934"/>
                </a:cubicBezTo>
                <a:cubicBezTo>
                  <a:pt x="0" y="6645934"/>
                  <a:pt x="0" y="6645934"/>
                  <a:pt x="1050029" y="6094413"/>
                </a:cubicBezTo>
                <a:close/>
                <a:moveTo>
                  <a:pt x="1050029" y="4730750"/>
                </a:moveTo>
                <a:cubicBezTo>
                  <a:pt x="2409664" y="5260657"/>
                  <a:pt x="2524285" y="5260657"/>
                  <a:pt x="3883920" y="4730750"/>
                </a:cubicBezTo>
                <a:cubicBezTo>
                  <a:pt x="3883920" y="4730750"/>
                  <a:pt x="3883920" y="4730750"/>
                  <a:pt x="4933949" y="5283066"/>
                </a:cubicBezTo>
                <a:cubicBezTo>
                  <a:pt x="4933949" y="5283066"/>
                  <a:pt x="4933949" y="5283066"/>
                  <a:pt x="3883920" y="5834063"/>
                </a:cubicBezTo>
                <a:cubicBezTo>
                  <a:pt x="2524285" y="5305475"/>
                  <a:pt x="2409664" y="5305475"/>
                  <a:pt x="1050029" y="5834063"/>
                </a:cubicBezTo>
                <a:cubicBezTo>
                  <a:pt x="1050029" y="5834063"/>
                  <a:pt x="1050029" y="5834063"/>
                  <a:pt x="0" y="5283066"/>
                </a:cubicBezTo>
                <a:cubicBezTo>
                  <a:pt x="0" y="5283066"/>
                  <a:pt x="0" y="5283066"/>
                  <a:pt x="1050029" y="4730750"/>
                </a:cubicBezTo>
                <a:close/>
                <a:moveTo>
                  <a:pt x="1050029" y="3368675"/>
                </a:moveTo>
                <a:cubicBezTo>
                  <a:pt x="2409664" y="3898582"/>
                  <a:pt x="2524285" y="3898582"/>
                  <a:pt x="3883920" y="3368675"/>
                </a:cubicBezTo>
                <a:cubicBezTo>
                  <a:pt x="3883920" y="3368675"/>
                  <a:pt x="3883920" y="3368675"/>
                  <a:pt x="4933949" y="3920991"/>
                </a:cubicBezTo>
                <a:cubicBezTo>
                  <a:pt x="4933949" y="3920991"/>
                  <a:pt x="4933949" y="3920991"/>
                  <a:pt x="3883920" y="4471988"/>
                </a:cubicBezTo>
                <a:cubicBezTo>
                  <a:pt x="2524285" y="3943400"/>
                  <a:pt x="2409664" y="3943400"/>
                  <a:pt x="1050029" y="4471988"/>
                </a:cubicBezTo>
                <a:cubicBezTo>
                  <a:pt x="1050029" y="4471988"/>
                  <a:pt x="1050029" y="4471988"/>
                  <a:pt x="0" y="3920991"/>
                </a:cubicBezTo>
                <a:cubicBezTo>
                  <a:pt x="0" y="3920991"/>
                  <a:pt x="0" y="3920991"/>
                  <a:pt x="1050029" y="3368675"/>
                </a:cubicBezTo>
                <a:close/>
                <a:moveTo>
                  <a:pt x="678543" y="305710"/>
                </a:moveTo>
                <a:lnTo>
                  <a:pt x="678543" y="2307316"/>
                </a:lnTo>
                <a:cubicBezTo>
                  <a:pt x="678543" y="2307316"/>
                  <a:pt x="678543" y="2307316"/>
                  <a:pt x="909109" y="2307316"/>
                </a:cubicBezTo>
                <a:cubicBezTo>
                  <a:pt x="1011875" y="2307316"/>
                  <a:pt x="1072481" y="2291503"/>
                  <a:pt x="1119911" y="2234842"/>
                </a:cubicBezTo>
                <a:cubicBezTo>
                  <a:pt x="1192375" y="2147873"/>
                  <a:pt x="1198962" y="1971299"/>
                  <a:pt x="1198962" y="1615517"/>
                </a:cubicBezTo>
                <a:cubicBezTo>
                  <a:pt x="1198962" y="1615517"/>
                  <a:pt x="1198962" y="1615517"/>
                  <a:pt x="1198962" y="996191"/>
                </a:cubicBezTo>
                <a:cubicBezTo>
                  <a:pt x="1198962" y="641727"/>
                  <a:pt x="1192375" y="465153"/>
                  <a:pt x="1119911" y="378184"/>
                </a:cubicBezTo>
                <a:cubicBezTo>
                  <a:pt x="1072481" y="321522"/>
                  <a:pt x="1011875" y="305710"/>
                  <a:pt x="909109" y="305710"/>
                </a:cubicBezTo>
                <a:cubicBezTo>
                  <a:pt x="909109" y="305710"/>
                  <a:pt x="909109" y="305710"/>
                  <a:pt x="678543" y="305710"/>
                </a:cubicBezTo>
                <a:close/>
                <a:moveTo>
                  <a:pt x="1842869" y="0"/>
                </a:moveTo>
                <a:cubicBezTo>
                  <a:pt x="1842869" y="0"/>
                  <a:pt x="1842869" y="0"/>
                  <a:pt x="3073618" y="0"/>
                </a:cubicBezTo>
                <a:cubicBezTo>
                  <a:pt x="3093384" y="0"/>
                  <a:pt x="3105243" y="5271"/>
                  <a:pt x="3114467" y="14495"/>
                </a:cubicBezTo>
                <a:cubicBezTo>
                  <a:pt x="3122374" y="22401"/>
                  <a:pt x="3128962" y="34261"/>
                  <a:pt x="3128962" y="54027"/>
                </a:cubicBezTo>
                <a:cubicBezTo>
                  <a:pt x="3128962" y="54027"/>
                  <a:pt x="3128962" y="54027"/>
                  <a:pt x="3128962" y="275402"/>
                </a:cubicBezTo>
                <a:cubicBezTo>
                  <a:pt x="3128962" y="295168"/>
                  <a:pt x="3122374" y="307028"/>
                  <a:pt x="3114467" y="314934"/>
                </a:cubicBezTo>
                <a:cubicBezTo>
                  <a:pt x="3105243" y="324158"/>
                  <a:pt x="3093384" y="329429"/>
                  <a:pt x="3073618" y="329429"/>
                </a:cubicBezTo>
                <a:cubicBezTo>
                  <a:pt x="3073618" y="329429"/>
                  <a:pt x="3073618" y="329429"/>
                  <a:pt x="2679620" y="329429"/>
                </a:cubicBezTo>
                <a:cubicBezTo>
                  <a:pt x="2679620" y="329429"/>
                  <a:pt x="2679620" y="329429"/>
                  <a:pt x="2679620" y="2558999"/>
                </a:cubicBezTo>
                <a:cubicBezTo>
                  <a:pt x="2679620" y="2578765"/>
                  <a:pt x="2674349" y="2590624"/>
                  <a:pt x="2665125" y="2598530"/>
                </a:cubicBezTo>
                <a:cubicBezTo>
                  <a:pt x="2657219" y="2607755"/>
                  <a:pt x="2645360" y="2613025"/>
                  <a:pt x="2625594" y="2613025"/>
                </a:cubicBezTo>
                <a:cubicBezTo>
                  <a:pt x="2625594" y="2613025"/>
                  <a:pt x="2625594" y="2613025"/>
                  <a:pt x="2290893" y="2613025"/>
                </a:cubicBezTo>
                <a:cubicBezTo>
                  <a:pt x="2271128" y="2613025"/>
                  <a:pt x="2259268" y="2607755"/>
                  <a:pt x="2250044" y="2598530"/>
                </a:cubicBezTo>
                <a:cubicBezTo>
                  <a:pt x="2240820" y="2590624"/>
                  <a:pt x="2235549" y="2578765"/>
                  <a:pt x="2235549" y="2558999"/>
                </a:cubicBezTo>
                <a:cubicBezTo>
                  <a:pt x="2235549" y="2558999"/>
                  <a:pt x="2235549" y="2558999"/>
                  <a:pt x="2235549" y="329429"/>
                </a:cubicBezTo>
                <a:cubicBezTo>
                  <a:pt x="2235549" y="329429"/>
                  <a:pt x="2235549" y="329429"/>
                  <a:pt x="1842869" y="329429"/>
                </a:cubicBezTo>
                <a:cubicBezTo>
                  <a:pt x="1823104" y="329429"/>
                  <a:pt x="1811244" y="324158"/>
                  <a:pt x="1802020" y="314934"/>
                </a:cubicBezTo>
                <a:cubicBezTo>
                  <a:pt x="1792796" y="307028"/>
                  <a:pt x="1787525" y="295168"/>
                  <a:pt x="1787525" y="275402"/>
                </a:cubicBezTo>
                <a:cubicBezTo>
                  <a:pt x="1787525" y="275402"/>
                  <a:pt x="1787525" y="275402"/>
                  <a:pt x="1787525" y="54027"/>
                </a:cubicBezTo>
                <a:cubicBezTo>
                  <a:pt x="1787525" y="34261"/>
                  <a:pt x="1792796" y="22401"/>
                  <a:pt x="1802020" y="14495"/>
                </a:cubicBezTo>
                <a:cubicBezTo>
                  <a:pt x="1811244" y="5271"/>
                  <a:pt x="1823104" y="0"/>
                  <a:pt x="1842869" y="0"/>
                </a:cubicBezTo>
                <a:close/>
                <a:moveTo>
                  <a:pt x="317544" y="0"/>
                </a:moveTo>
                <a:cubicBezTo>
                  <a:pt x="317544" y="0"/>
                  <a:pt x="317544" y="0"/>
                  <a:pt x="972349" y="0"/>
                </a:cubicBezTo>
                <a:cubicBezTo>
                  <a:pt x="1226630" y="0"/>
                  <a:pt x="1382097" y="57980"/>
                  <a:pt x="1476958" y="179209"/>
                </a:cubicBezTo>
                <a:cubicBezTo>
                  <a:pt x="1615298" y="345241"/>
                  <a:pt x="1619250" y="614055"/>
                  <a:pt x="1619250" y="1025181"/>
                </a:cubicBezTo>
                <a:cubicBezTo>
                  <a:pt x="1619250" y="1025181"/>
                  <a:pt x="1619250" y="1025181"/>
                  <a:pt x="1619250" y="1587845"/>
                </a:cubicBezTo>
                <a:cubicBezTo>
                  <a:pt x="1619250" y="1998971"/>
                  <a:pt x="1615298" y="2267784"/>
                  <a:pt x="1476958" y="2433816"/>
                </a:cubicBezTo>
                <a:cubicBezTo>
                  <a:pt x="1382097" y="2555046"/>
                  <a:pt x="1226630" y="2613025"/>
                  <a:pt x="972349" y="2613025"/>
                </a:cubicBezTo>
                <a:cubicBezTo>
                  <a:pt x="972349" y="2613025"/>
                  <a:pt x="972349" y="2613025"/>
                  <a:pt x="317544" y="2613025"/>
                </a:cubicBezTo>
                <a:cubicBezTo>
                  <a:pt x="297781" y="2613025"/>
                  <a:pt x="285923" y="2607755"/>
                  <a:pt x="278018" y="2598530"/>
                </a:cubicBezTo>
                <a:cubicBezTo>
                  <a:pt x="268795" y="2590624"/>
                  <a:pt x="263525" y="2578765"/>
                  <a:pt x="263525" y="2558999"/>
                </a:cubicBezTo>
                <a:cubicBezTo>
                  <a:pt x="263525" y="2558999"/>
                  <a:pt x="263525" y="2558999"/>
                  <a:pt x="263525" y="54027"/>
                </a:cubicBezTo>
                <a:cubicBezTo>
                  <a:pt x="263525" y="34261"/>
                  <a:pt x="268795" y="22401"/>
                  <a:pt x="278018" y="14495"/>
                </a:cubicBezTo>
                <a:cubicBezTo>
                  <a:pt x="285923" y="5271"/>
                  <a:pt x="297781" y="0"/>
                  <a:pt x="317544" y="0"/>
                </a:cubicBezTo>
                <a:close/>
                <a:moveTo>
                  <a:pt x="3359213" y="0"/>
                </a:moveTo>
                <a:cubicBezTo>
                  <a:pt x="3359213" y="0"/>
                  <a:pt x="3359213" y="0"/>
                  <a:pt x="3664991" y="0"/>
                </a:cubicBezTo>
                <a:cubicBezTo>
                  <a:pt x="3684762" y="0"/>
                  <a:pt x="3696624" y="5272"/>
                  <a:pt x="3705850" y="14497"/>
                </a:cubicBezTo>
                <a:cubicBezTo>
                  <a:pt x="3715076" y="22405"/>
                  <a:pt x="3720348" y="34266"/>
                  <a:pt x="3720348" y="54035"/>
                </a:cubicBezTo>
                <a:cubicBezTo>
                  <a:pt x="3720348" y="54035"/>
                  <a:pt x="3720348" y="54035"/>
                  <a:pt x="3720348" y="1903062"/>
                </a:cubicBezTo>
                <a:cubicBezTo>
                  <a:pt x="3720348" y="2103384"/>
                  <a:pt x="3738800" y="2214089"/>
                  <a:pt x="3798111" y="2279984"/>
                </a:cubicBezTo>
                <a:cubicBezTo>
                  <a:pt x="3841605" y="2328747"/>
                  <a:pt x="3899597" y="2349833"/>
                  <a:pt x="3976042" y="2349833"/>
                </a:cubicBezTo>
                <a:cubicBezTo>
                  <a:pt x="4060395" y="2349833"/>
                  <a:pt x="4121023" y="2326111"/>
                  <a:pt x="4163200" y="2279984"/>
                </a:cubicBezTo>
                <a:cubicBezTo>
                  <a:pt x="4226464" y="2211453"/>
                  <a:pt x="4240963" y="2096795"/>
                  <a:pt x="4240963" y="1903062"/>
                </a:cubicBezTo>
                <a:cubicBezTo>
                  <a:pt x="4240963" y="1903062"/>
                  <a:pt x="4240963" y="1903062"/>
                  <a:pt x="4240963" y="54035"/>
                </a:cubicBezTo>
                <a:cubicBezTo>
                  <a:pt x="4240963" y="34266"/>
                  <a:pt x="4246235" y="22405"/>
                  <a:pt x="4255461" y="14497"/>
                </a:cubicBezTo>
                <a:cubicBezTo>
                  <a:pt x="4263369" y="5272"/>
                  <a:pt x="4276549" y="0"/>
                  <a:pt x="4295001" y="0"/>
                </a:cubicBezTo>
                <a:cubicBezTo>
                  <a:pt x="4295001" y="0"/>
                  <a:pt x="4295001" y="0"/>
                  <a:pt x="4602098" y="0"/>
                </a:cubicBezTo>
                <a:cubicBezTo>
                  <a:pt x="4621868" y="0"/>
                  <a:pt x="4633730" y="5272"/>
                  <a:pt x="4641638" y="14497"/>
                </a:cubicBezTo>
                <a:cubicBezTo>
                  <a:pt x="4650864" y="22405"/>
                  <a:pt x="4656136" y="34266"/>
                  <a:pt x="4656136" y="54035"/>
                </a:cubicBezTo>
                <a:cubicBezTo>
                  <a:pt x="4656136" y="54035"/>
                  <a:pt x="4656136" y="54035"/>
                  <a:pt x="4656136" y="1904380"/>
                </a:cubicBezTo>
                <a:cubicBezTo>
                  <a:pt x="4656136" y="2153465"/>
                  <a:pt x="4627140" y="2319521"/>
                  <a:pt x="4507201" y="2459220"/>
                </a:cubicBezTo>
                <a:cubicBezTo>
                  <a:pt x="4405714" y="2577832"/>
                  <a:pt x="4239645" y="2646363"/>
                  <a:pt x="3981314" y="2646363"/>
                </a:cubicBezTo>
                <a:cubicBezTo>
                  <a:pt x="3726938" y="2646363"/>
                  <a:pt x="3559550" y="2581786"/>
                  <a:pt x="3447519" y="2459220"/>
                </a:cubicBezTo>
                <a:cubicBezTo>
                  <a:pt x="3340760" y="2341926"/>
                  <a:pt x="3305174" y="2173233"/>
                  <a:pt x="3305174" y="1904380"/>
                </a:cubicBezTo>
                <a:cubicBezTo>
                  <a:pt x="3305174" y="1904380"/>
                  <a:pt x="3305174" y="1904380"/>
                  <a:pt x="3305174" y="54035"/>
                </a:cubicBezTo>
                <a:cubicBezTo>
                  <a:pt x="3305174" y="34266"/>
                  <a:pt x="3310446" y="22405"/>
                  <a:pt x="3318354" y="14497"/>
                </a:cubicBezTo>
                <a:cubicBezTo>
                  <a:pt x="3327580" y="5272"/>
                  <a:pt x="3339442" y="0"/>
                  <a:pt x="3359213" y="0"/>
                </a:cubicBezTo>
                <a:close/>
              </a:path>
            </a:pathLst>
          </a:custGeom>
          <a:solidFill>
            <a:srgbClr val="008737"/>
          </a:solidFill>
          <a:ln>
            <a:noFill/>
          </a:ln>
        </p:spPr>
        <p:txBody>
          <a:bodyPr vert="horz" wrap="square" lIns="91440" tIns="45720" rIns="91440" bIns="45720" numCol="1" anchor="t" anchorCtr="0" compatLnSpc="1">
            <a:prstTxWarp prst="textNoShape">
              <a:avLst/>
            </a:prstTxWarp>
            <a:noAutofit/>
          </a:bodyPr>
          <a:lstStyle/>
          <a:p>
            <a:endParaRPr lang="da-DK"/>
          </a:p>
        </p:txBody>
      </p:sp>
      <p:sp>
        <p:nvSpPr>
          <p:cNvPr id="6" name="Date Placeholder 2">
            <a:extLst>
              <a:ext uri="{FF2B5EF4-FFF2-40B4-BE49-F238E27FC236}">
                <a16:creationId xmlns:a16="http://schemas.microsoft.com/office/drawing/2014/main" id="{AF062B26-8169-4B93-8FD8-CFDB0855A961}"/>
              </a:ext>
            </a:extLst>
          </p:cNvPr>
          <p:cNvSpPr>
            <a:spLocks noGrp="1"/>
          </p:cNvSpPr>
          <p:nvPr>
            <p:ph type="dt" sz="half" idx="10"/>
          </p:nvPr>
        </p:nvSpPr>
        <p:spPr>
          <a:xfrm>
            <a:off x="0" y="6912000"/>
            <a:ext cx="0" cy="0"/>
          </a:xfrm>
          <a:prstGeom prst="rect">
            <a:avLst/>
          </a:prstGeom>
        </p:spPr>
        <p:txBody>
          <a:bodyPr/>
          <a:lstStyle>
            <a:lvl1pPr>
              <a:defRPr>
                <a:noFill/>
              </a:defRPr>
            </a:lvl1pPr>
          </a:lstStyle>
          <a:p>
            <a:endParaRPr lang="da-DK" dirty="0"/>
          </a:p>
        </p:txBody>
      </p:sp>
      <p:sp>
        <p:nvSpPr>
          <p:cNvPr id="7" name="Footer Placeholder 3">
            <a:extLst>
              <a:ext uri="{FF2B5EF4-FFF2-40B4-BE49-F238E27FC236}">
                <a16:creationId xmlns:a16="http://schemas.microsoft.com/office/drawing/2014/main" id="{CA59923C-6F09-424E-AF1E-AC62326A9B2B}"/>
              </a:ext>
            </a:extLst>
          </p:cNvPr>
          <p:cNvSpPr>
            <a:spLocks noGrp="1"/>
          </p:cNvSpPr>
          <p:nvPr>
            <p:ph type="ftr" sz="quarter" idx="11"/>
          </p:nvPr>
        </p:nvSpPr>
        <p:spPr>
          <a:xfrm>
            <a:off x="0" y="6912000"/>
            <a:ext cx="0" cy="0"/>
          </a:xfrm>
        </p:spPr>
        <p:txBody>
          <a:bodyPr/>
          <a:lstStyle>
            <a:lvl1pPr>
              <a:defRPr>
                <a:noFill/>
              </a:defRPr>
            </a:lvl1pPr>
          </a:lstStyle>
          <a:p>
            <a:endParaRPr lang="da-DK" dirty="0"/>
          </a:p>
        </p:txBody>
      </p:sp>
      <p:sp>
        <p:nvSpPr>
          <p:cNvPr id="9" name="Slide Number Placeholder 4">
            <a:extLst>
              <a:ext uri="{FF2B5EF4-FFF2-40B4-BE49-F238E27FC236}">
                <a16:creationId xmlns:a16="http://schemas.microsoft.com/office/drawing/2014/main" id="{4C299FA2-BF46-4410-B2CD-E3C80B7A9893}"/>
              </a:ext>
            </a:extLst>
          </p:cNvPr>
          <p:cNvSpPr>
            <a:spLocks noGrp="1"/>
          </p:cNvSpPr>
          <p:nvPr>
            <p:ph type="sldNum" sz="quarter" idx="12"/>
          </p:nvPr>
        </p:nvSpPr>
        <p:spPr>
          <a:xfrm flipV="1">
            <a:off x="0" y="6912000"/>
            <a:ext cx="0" cy="0"/>
          </a:xfrm>
        </p:spPr>
        <p:txBody>
          <a:bodyPr/>
          <a:lstStyle>
            <a:lvl1pPr>
              <a:defRPr>
                <a:noFill/>
              </a:defRPr>
            </a:lvl1pPr>
          </a:lstStyle>
          <a:p>
            <a:fld id="{24C8C45C-947F-4981-8B3F-4F32E973C901}" type="slidenum">
              <a:rPr lang="da-DK" smtClean="0"/>
              <a:pPr/>
              <a:t>‹#›</a:t>
            </a:fld>
            <a:endParaRPr lang="da-DK" dirty="0"/>
          </a:p>
        </p:txBody>
      </p:sp>
      <p:sp>
        <p:nvSpPr>
          <p:cNvPr id="11" name="Bottom bar">
            <a:extLst>
              <a:ext uri="{FF2B5EF4-FFF2-40B4-BE49-F238E27FC236}">
                <a16:creationId xmlns:a16="http://schemas.microsoft.com/office/drawing/2014/main" id="{495865CE-5BE9-4122-8AB8-48E534DD88F7}"/>
              </a:ext>
            </a:extLst>
          </p:cNvPr>
          <p:cNvSpPr/>
          <p:nvPr userDrawn="1"/>
        </p:nvSpPr>
        <p:spPr bwMode="auto">
          <a:xfrm>
            <a:off x="0" y="6541200"/>
            <a:ext cx="12193200" cy="316800"/>
          </a:xfrm>
          <a:prstGeom prst="rect">
            <a:avLst/>
          </a:prstGeom>
          <a:solidFill>
            <a:srgbClr val="008737"/>
          </a:solidFill>
          <a:ln w="9525" cap="flat" cmpd="sng" algn="ctr">
            <a:noFill/>
            <a:prstDash val="solid"/>
            <a:miter lim="800000"/>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432"/>
              </a:spcBef>
              <a:spcAft>
                <a:spcPct val="0"/>
              </a:spcAft>
              <a:buClrTx/>
              <a:buSzTx/>
              <a:buFontTx/>
              <a:buNone/>
              <a:tabLst/>
            </a:pPr>
            <a:endParaRPr kumimoji="0" lang="da-DK" sz="1600" b="0" i="0" u="none" strike="noStrike" cap="none" normalizeH="0" baseline="0" dirty="0" err="1">
              <a:ln>
                <a:noFill/>
              </a:ln>
              <a:solidFill>
                <a:srgbClr val="FFFFFF"/>
              </a:solidFill>
              <a:effectLst/>
              <a:latin typeface="+mn-lt"/>
              <a:ea typeface="ＭＳ Ｐゴシック" pitchFamily="-80" charset="-128"/>
            </a:endParaRPr>
          </a:p>
        </p:txBody>
      </p:sp>
      <p:sp>
        <p:nvSpPr>
          <p:cNvPr id="12" name="Top bar">
            <a:extLst>
              <a:ext uri="{FF2B5EF4-FFF2-40B4-BE49-F238E27FC236}">
                <a16:creationId xmlns:a16="http://schemas.microsoft.com/office/drawing/2014/main" id="{0D436479-94F3-475C-8F8D-D3CDC81793FD}"/>
              </a:ext>
            </a:extLst>
          </p:cNvPr>
          <p:cNvSpPr/>
          <p:nvPr userDrawn="1"/>
        </p:nvSpPr>
        <p:spPr bwMode="auto">
          <a:xfrm>
            <a:off x="0" y="0"/>
            <a:ext cx="12193200" cy="50400"/>
          </a:xfrm>
          <a:prstGeom prst="rect">
            <a:avLst/>
          </a:prstGeom>
          <a:solidFill>
            <a:srgbClr val="008737"/>
          </a:solidFill>
          <a:ln w="9525" cap="flat" cmpd="sng" algn="ctr">
            <a:noFill/>
            <a:prstDash val="solid"/>
            <a:miter lim="800000"/>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432"/>
              </a:spcBef>
              <a:spcAft>
                <a:spcPct val="0"/>
              </a:spcAft>
              <a:buClrTx/>
              <a:buSzTx/>
              <a:buFontTx/>
              <a:buNone/>
              <a:tabLst/>
            </a:pPr>
            <a:endParaRPr kumimoji="0" lang="da-DK" sz="1600" b="0" i="0" u="none" strike="noStrike" cap="none" normalizeH="0" baseline="0" dirty="0" err="1">
              <a:ln>
                <a:noFill/>
              </a:ln>
              <a:solidFill>
                <a:srgbClr val="FFFFFF"/>
              </a:solidFill>
              <a:effectLst/>
              <a:latin typeface="+mn-lt"/>
              <a:ea typeface="ＭＳ Ｐゴシック" pitchFamily="-80" charset="-128"/>
            </a:endParaRPr>
          </a:p>
        </p:txBody>
      </p:sp>
    </p:spTree>
    <p:extLst>
      <p:ext uri="{BB962C8B-B14F-4D97-AF65-F5344CB8AC3E}">
        <p14:creationId xmlns:p14="http://schemas.microsoft.com/office/powerpoint/2010/main" val="2930692644"/>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3802" y="1122363"/>
            <a:ext cx="9142810" cy="2387600"/>
          </a:xfrm>
        </p:spPr>
        <p:txBody>
          <a:bodyPr anchor="b"/>
          <a:lstStyle>
            <a:lvl1pPr algn="ctr">
              <a:defRPr sz="5999"/>
            </a:lvl1pPr>
          </a:lstStyle>
          <a:p>
            <a:r>
              <a:rPr lang="en-US"/>
              <a:t>Click to edit Master title style</a:t>
            </a:r>
            <a:endParaRPr lang="da-DK"/>
          </a:p>
        </p:txBody>
      </p:sp>
      <p:sp>
        <p:nvSpPr>
          <p:cNvPr id="3" name="Subtitle 2"/>
          <p:cNvSpPr>
            <a:spLocks noGrp="1"/>
          </p:cNvSpPr>
          <p:nvPr>
            <p:ph type="subTitle" idx="1"/>
          </p:nvPr>
        </p:nvSpPr>
        <p:spPr>
          <a:xfrm>
            <a:off x="1523802" y="3602038"/>
            <a:ext cx="9142810" cy="1655762"/>
          </a:xfrm>
        </p:spPr>
        <p:txBody>
          <a:bodyPr/>
          <a:lstStyle>
            <a:lvl1pPr marL="0" indent="0" algn="ctr">
              <a:buNone/>
              <a:defRPr sz="2400"/>
            </a:lvl1pPr>
            <a:lvl2pPr marL="457154" indent="0" algn="ctr">
              <a:buNone/>
              <a:defRPr sz="2000"/>
            </a:lvl2pPr>
            <a:lvl3pPr marL="914309" indent="0" algn="ctr">
              <a:buNone/>
              <a:defRPr sz="1800"/>
            </a:lvl3pPr>
            <a:lvl4pPr marL="1371463" indent="0" algn="ctr">
              <a:buNone/>
              <a:defRPr sz="1600"/>
            </a:lvl4pPr>
            <a:lvl5pPr marL="1828617" indent="0" algn="ctr">
              <a:buNone/>
              <a:defRPr sz="1600"/>
            </a:lvl5pPr>
            <a:lvl6pPr marL="2285771" indent="0" algn="ctr">
              <a:buNone/>
              <a:defRPr sz="1600"/>
            </a:lvl6pPr>
            <a:lvl7pPr marL="2742926" indent="0" algn="ctr">
              <a:buNone/>
              <a:defRPr sz="1600"/>
            </a:lvl7pPr>
            <a:lvl8pPr marL="3200080" indent="0" algn="ctr">
              <a:buNone/>
              <a:defRPr sz="1600"/>
            </a:lvl8pPr>
            <a:lvl9pPr marL="3657234" indent="0" algn="ctr">
              <a:buNone/>
              <a:defRPr sz="1600"/>
            </a:lvl9pPr>
          </a:lstStyle>
          <a:p>
            <a:r>
              <a:rPr lang="en-US"/>
              <a:t>Click to edit Master subtitle style</a:t>
            </a:r>
            <a:endParaRPr lang="da-DK"/>
          </a:p>
        </p:txBody>
      </p:sp>
      <p:sp>
        <p:nvSpPr>
          <p:cNvPr id="4" name="Date Placeholder 3"/>
          <p:cNvSpPr>
            <a:spLocks noGrp="1"/>
          </p:cNvSpPr>
          <p:nvPr>
            <p:ph type="dt" sz="half" idx="10"/>
          </p:nvPr>
        </p:nvSpPr>
        <p:spPr/>
        <p:txBody>
          <a:bodyPr/>
          <a:lstStyle/>
          <a:p>
            <a:endParaRPr lang="da-DK" dirty="0"/>
          </a:p>
        </p:txBody>
      </p:sp>
      <p:sp>
        <p:nvSpPr>
          <p:cNvPr id="5" name="Footer Placeholder 4"/>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51B10101-CE5F-44C4-A3FE-7A8EB2967DBE}" type="slidenum">
              <a:rPr lang="da-DK" smtClean="0"/>
              <a:t>‹#›</a:t>
            </a:fld>
            <a:endParaRPr lang="da-DK"/>
          </a:p>
        </p:txBody>
      </p:sp>
    </p:spTree>
    <p:extLst>
      <p:ext uri="{BB962C8B-B14F-4D97-AF65-F5344CB8AC3E}">
        <p14:creationId xmlns:p14="http://schemas.microsoft.com/office/powerpoint/2010/main" val="45688709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E485669-4B55-374E-191F-47347B601180}"/>
              </a:ext>
            </a:extLst>
          </p:cNvPr>
          <p:cNvSpPr>
            <a:spLocks noGrp="1"/>
          </p:cNvSpPr>
          <p:nvPr>
            <p:ph type="ctrTitle"/>
          </p:nvPr>
        </p:nvSpPr>
        <p:spPr>
          <a:xfrm>
            <a:off x="1523802" y="1122363"/>
            <a:ext cx="9142810" cy="2387600"/>
          </a:xfrm>
        </p:spPr>
        <p:txBody>
          <a:bodyPr anchor="b"/>
          <a:lstStyle>
            <a:lvl1pPr algn="ctr">
              <a:defRPr sz="5999"/>
            </a:lvl1pPr>
          </a:lstStyle>
          <a:p>
            <a:r>
              <a:rPr lang="da-DK"/>
              <a:t>Klik for at redigere titeltypografien i masteren</a:t>
            </a:r>
          </a:p>
        </p:txBody>
      </p:sp>
      <p:sp>
        <p:nvSpPr>
          <p:cNvPr id="3" name="Undertitel 2">
            <a:extLst>
              <a:ext uri="{FF2B5EF4-FFF2-40B4-BE49-F238E27FC236}">
                <a16:creationId xmlns:a16="http://schemas.microsoft.com/office/drawing/2014/main" id="{156F6ABB-655D-5189-4F91-BA670091F19C}"/>
              </a:ext>
            </a:extLst>
          </p:cNvPr>
          <p:cNvSpPr>
            <a:spLocks noGrp="1"/>
          </p:cNvSpPr>
          <p:nvPr>
            <p:ph type="subTitle" idx="1"/>
          </p:nvPr>
        </p:nvSpPr>
        <p:spPr>
          <a:xfrm>
            <a:off x="1523802" y="3602038"/>
            <a:ext cx="9142810" cy="1655762"/>
          </a:xfrm>
        </p:spPr>
        <p:txBody>
          <a:bodyPr/>
          <a:lstStyle>
            <a:lvl1pPr marL="0" indent="0" algn="ctr">
              <a:buNone/>
              <a:defRPr sz="2400"/>
            </a:lvl1pPr>
            <a:lvl2pPr marL="457154" indent="0" algn="ctr">
              <a:buNone/>
              <a:defRPr sz="2000"/>
            </a:lvl2pPr>
            <a:lvl3pPr marL="914309" indent="0" algn="ctr">
              <a:buNone/>
              <a:defRPr sz="1800"/>
            </a:lvl3pPr>
            <a:lvl4pPr marL="1371463" indent="0" algn="ctr">
              <a:buNone/>
              <a:defRPr sz="1600"/>
            </a:lvl4pPr>
            <a:lvl5pPr marL="1828617" indent="0" algn="ctr">
              <a:buNone/>
              <a:defRPr sz="1600"/>
            </a:lvl5pPr>
            <a:lvl6pPr marL="2285771" indent="0" algn="ctr">
              <a:buNone/>
              <a:defRPr sz="1600"/>
            </a:lvl6pPr>
            <a:lvl7pPr marL="2742926" indent="0" algn="ctr">
              <a:buNone/>
              <a:defRPr sz="1600"/>
            </a:lvl7pPr>
            <a:lvl8pPr marL="3200080" indent="0" algn="ctr">
              <a:buNone/>
              <a:defRPr sz="1600"/>
            </a:lvl8pPr>
            <a:lvl9pPr marL="3657234" indent="0" algn="ctr">
              <a:buNone/>
              <a:defRPr sz="1600"/>
            </a:lvl9pPr>
          </a:lstStyle>
          <a:p>
            <a:r>
              <a:rPr lang="da-DK"/>
              <a:t>Klik for at redigere undertiteltypografien i masteren</a:t>
            </a:r>
          </a:p>
        </p:txBody>
      </p:sp>
      <p:sp>
        <p:nvSpPr>
          <p:cNvPr id="4" name="Pladsholder til dato 3">
            <a:extLst>
              <a:ext uri="{FF2B5EF4-FFF2-40B4-BE49-F238E27FC236}">
                <a16:creationId xmlns:a16="http://schemas.microsoft.com/office/drawing/2014/main" id="{A0F1BB02-5C2B-CA13-13CF-0057CB97CB45}"/>
              </a:ext>
            </a:extLst>
          </p:cNvPr>
          <p:cNvSpPr>
            <a:spLocks noGrp="1"/>
          </p:cNvSpPr>
          <p:nvPr>
            <p:ph type="dt" sz="half" idx="10"/>
          </p:nvPr>
        </p:nvSpPr>
        <p:spPr/>
        <p:txBody>
          <a:bodyPr/>
          <a:lstStyle/>
          <a:p>
            <a:fld id="{0A904970-E143-498E-99BA-81FB85B98DA8}" type="datetimeFigureOut">
              <a:rPr lang="da-DK" smtClean="0"/>
              <a:t>07-07-2025</a:t>
            </a:fld>
            <a:endParaRPr lang="da-DK"/>
          </a:p>
        </p:txBody>
      </p:sp>
      <p:sp>
        <p:nvSpPr>
          <p:cNvPr id="5" name="Pladsholder til sidefod 4">
            <a:extLst>
              <a:ext uri="{FF2B5EF4-FFF2-40B4-BE49-F238E27FC236}">
                <a16:creationId xmlns:a16="http://schemas.microsoft.com/office/drawing/2014/main" id="{1A3D3A46-E355-4652-F58C-4A4E9568957D}"/>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1E82D362-7B97-454A-3717-141D31C555AE}"/>
              </a:ext>
            </a:extLst>
          </p:cNvPr>
          <p:cNvSpPr>
            <a:spLocks noGrp="1"/>
          </p:cNvSpPr>
          <p:nvPr>
            <p:ph type="sldNum" sz="quarter" idx="12"/>
          </p:nvPr>
        </p:nvSpPr>
        <p:spPr/>
        <p:txBody>
          <a:bodyPr/>
          <a:lstStyle/>
          <a:p>
            <a:fld id="{2530B79F-606E-407B-8AD3-87B7DCCB602D}" type="slidenum">
              <a:rPr lang="da-DK" smtClean="0"/>
              <a:t>‹#›</a:t>
            </a:fld>
            <a:endParaRPr lang="da-DK"/>
          </a:p>
        </p:txBody>
      </p:sp>
    </p:spTree>
    <p:extLst>
      <p:ext uri="{BB962C8B-B14F-4D97-AF65-F5344CB8AC3E}">
        <p14:creationId xmlns:p14="http://schemas.microsoft.com/office/powerpoint/2010/main" val="41226770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11BDCE-AC81-420C-4D80-4C5BBF7D8540}"/>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C1FE546B-AD8A-517F-CC13-8BE876CEDE0E}"/>
              </a:ext>
            </a:extLst>
          </p:cNvPr>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BED73085-1DF3-966E-7CB2-F4BC67704EDF}"/>
              </a:ext>
            </a:extLst>
          </p:cNvPr>
          <p:cNvSpPr>
            <a:spLocks noGrp="1"/>
          </p:cNvSpPr>
          <p:nvPr>
            <p:ph type="dt" sz="half" idx="10"/>
          </p:nvPr>
        </p:nvSpPr>
        <p:spPr/>
        <p:txBody>
          <a:bodyPr/>
          <a:lstStyle/>
          <a:p>
            <a:fld id="{0A904970-E143-498E-99BA-81FB85B98DA8}" type="datetimeFigureOut">
              <a:rPr lang="da-DK" smtClean="0"/>
              <a:t>07-07-2025</a:t>
            </a:fld>
            <a:endParaRPr lang="da-DK"/>
          </a:p>
        </p:txBody>
      </p:sp>
      <p:sp>
        <p:nvSpPr>
          <p:cNvPr id="5" name="Pladsholder til sidefod 4">
            <a:extLst>
              <a:ext uri="{FF2B5EF4-FFF2-40B4-BE49-F238E27FC236}">
                <a16:creationId xmlns:a16="http://schemas.microsoft.com/office/drawing/2014/main" id="{26DB808F-2C5A-ABCF-35EC-94FD46AA7069}"/>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C045468E-AC57-720B-56FD-AC03DE61B9EB}"/>
              </a:ext>
            </a:extLst>
          </p:cNvPr>
          <p:cNvSpPr>
            <a:spLocks noGrp="1"/>
          </p:cNvSpPr>
          <p:nvPr>
            <p:ph type="sldNum" sz="quarter" idx="12"/>
          </p:nvPr>
        </p:nvSpPr>
        <p:spPr/>
        <p:txBody>
          <a:bodyPr/>
          <a:lstStyle/>
          <a:p>
            <a:fld id="{2530B79F-606E-407B-8AD3-87B7DCCB602D}" type="slidenum">
              <a:rPr lang="da-DK" smtClean="0"/>
              <a:t>‹#›</a:t>
            </a:fld>
            <a:endParaRPr lang="da-DK"/>
          </a:p>
        </p:txBody>
      </p:sp>
    </p:spTree>
    <p:extLst>
      <p:ext uri="{BB962C8B-B14F-4D97-AF65-F5344CB8AC3E}">
        <p14:creationId xmlns:p14="http://schemas.microsoft.com/office/powerpoint/2010/main" val="15000516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108E1B-F56E-53CE-5C07-C6308908A7CD}"/>
              </a:ext>
            </a:extLst>
          </p:cNvPr>
          <p:cNvSpPr>
            <a:spLocks noGrp="1"/>
          </p:cNvSpPr>
          <p:nvPr>
            <p:ph type="title"/>
          </p:nvPr>
        </p:nvSpPr>
        <p:spPr>
          <a:xfrm>
            <a:off x="831742" y="1709739"/>
            <a:ext cx="10514231" cy="2852737"/>
          </a:xfrm>
        </p:spPr>
        <p:txBody>
          <a:bodyPr anchor="b"/>
          <a:lstStyle>
            <a:lvl1pPr>
              <a:defRPr sz="5999"/>
            </a:lvl1pPr>
          </a:lstStyle>
          <a:p>
            <a:r>
              <a:rPr lang="da-DK"/>
              <a:t>Klik for at redigere titeltypografien i masteren</a:t>
            </a:r>
          </a:p>
        </p:txBody>
      </p:sp>
      <p:sp>
        <p:nvSpPr>
          <p:cNvPr id="3" name="Pladsholder til tekst 2">
            <a:extLst>
              <a:ext uri="{FF2B5EF4-FFF2-40B4-BE49-F238E27FC236}">
                <a16:creationId xmlns:a16="http://schemas.microsoft.com/office/drawing/2014/main" id="{2661E7E4-30EE-645D-9F69-46BF8CB73A20}"/>
              </a:ext>
            </a:extLst>
          </p:cNvPr>
          <p:cNvSpPr>
            <a:spLocks noGrp="1"/>
          </p:cNvSpPr>
          <p:nvPr>
            <p:ph type="body" idx="1"/>
          </p:nvPr>
        </p:nvSpPr>
        <p:spPr>
          <a:xfrm>
            <a:off x="831742" y="4589464"/>
            <a:ext cx="10514231" cy="1500187"/>
          </a:xfrm>
        </p:spPr>
        <p:txBody>
          <a:bodyPr/>
          <a:lstStyle>
            <a:lvl1pPr marL="0" indent="0">
              <a:buNone/>
              <a:defRPr sz="2400">
                <a:solidFill>
                  <a:schemeClr val="tx1">
                    <a:tint val="75000"/>
                  </a:schemeClr>
                </a:solidFill>
              </a:defRPr>
            </a:lvl1pPr>
            <a:lvl2pPr marL="457154" indent="0">
              <a:buNone/>
              <a:defRPr sz="2000">
                <a:solidFill>
                  <a:schemeClr val="tx1">
                    <a:tint val="75000"/>
                  </a:schemeClr>
                </a:solidFill>
              </a:defRPr>
            </a:lvl2pPr>
            <a:lvl3pPr marL="914309" indent="0">
              <a:buNone/>
              <a:defRPr sz="1800">
                <a:solidFill>
                  <a:schemeClr val="tx1">
                    <a:tint val="75000"/>
                  </a:schemeClr>
                </a:solidFill>
              </a:defRPr>
            </a:lvl3pPr>
            <a:lvl4pPr marL="1371463" indent="0">
              <a:buNone/>
              <a:defRPr sz="1600">
                <a:solidFill>
                  <a:schemeClr val="tx1">
                    <a:tint val="75000"/>
                  </a:schemeClr>
                </a:solidFill>
              </a:defRPr>
            </a:lvl4pPr>
            <a:lvl5pPr marL="1828617" indent="0">
              <a:buNone/>
              <a:defRPr sz="1600">
                <a:solidFill>
                  <a:schemeClr val="tx1">
                    <a:tint val="75000"/>
                  </a:schemeClr>
                </a:solidFill>
              </a:defRPr>
            </a:lvl5pPr>
            <a:lvl6pPr marL="2285771" indent="0">
              <a:buNone/>
              <a:defRPr sz="1600">
                <a:solidFill>
                  <a:schemeClr val="tx1">
                    <a:tint val="75000"/>
                  </a:schemeClr>
                </a:solidFill>
              </a:defRPr>
            </a:lvl6pPr>
            <a:lvl7pPr marL="2742926" indent="0">
              <a:buNone/>
              <a:defRPr sz="1600">
                <a:solidFill>
                  <a:schemeClr val="tx1">
                    <a:tint val="75000"/>
                  </a:schemeClr>
                </a:solidFill>
              </a:defRPr>
            </a:lvl7pPr>
            <a:lvl8pPr marL="3200080" indent="0">
              <a:buNone/>
              <a:defRPr sz="1600">
                <a:solidFill>
                  <a:schemeClr val="tx1">
                    <a:tint val="75000"/>
                  </a:schemeClr>
                </a:solidFill>
              </a:defRPr>
            </a:lvl8pPr>
            <a:lvl9pPr marL="3657234" indent="0">
              <a:buNone/>
              <a:defRPr sz="1600">
                <a:solidFill>
                  <a:schemeClr val="tx1">
                    <a:tint val="75000"/>
                  </a:schemeClr>
                </a:solidFill>
              </a:defRPr>
            </a:lvl9pPr>
          </a:lstStyle>
          <a:p>
            <a:pPr lvl="0"/>
            <a:r>
              <a:rPr lang="da-DK"/>
              <a:t>Klik for at redigere teksttypografierne i masteren</a:t>
            </a:r>
          </a:p>
        </p:txBody>
      </p:sp>
      <p:sp>
        <p:nvSpPr>
          <p:cNvPr id="4" name="Pladsholder til dato 3">
            <a:extLst>
              <a:ext uri="{FF2B5EF4-FFF2-40B4-BE49-F238E27FC236}">
                <a16:creationId xmlns:a16="http://schemas.microsoft.com/office/drawing/2014/main" id="{92E9056B-6D71-767D-E9C3-4536E7BE2C9F}"/>
              </a:ext>
            </a:extLst>
          </p:cNvPr>
          <p:cNvSpPr>
            <a:spLocks noGrp="1"/>
          </p:cNvSpPr>
          <p:nvPr>
            <p:ph type="dt" sz="half" idx="10"/>
          </p:nvPr>
        </p:nvSpPr>
        <p:spPr/>
        <p:txBody>
          <a:bodyPr/>
          <a:lstStyle/>
          <a:p>
            <a:fld id="{0A904970-E143-498E-99BA-81FB85B98DA8}" type="datetimeFigureOut">
              <a:rPr lang="da-DK" smtClean="0"/>
              <a:t>07-07-2025</a:t>
            </a:fld>
            <a:endParaRPr lang="da-DK"/>
          </a:p>
        </p:txBody>
      </p:sp>
      <p:sp>
        <p:nvSpPr>
          <p:cNvPr id="5" name="Pladsholder til sidefod 4">
            <a:extLst>
              <a:ext uri="{FF2B5EF4-FFF2-40B4-BE49-F238E27FC236}">
                <a16:creationId xmlns:a16="http://schemas.microsoft.com/office/drawing/2014/main" id="{BE8F118B-3B54-3FE2-9674-A8A6CF24D9C8}"/>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F840153D-4FE0-1FBA-47D8-5F0FB6A696B3}"/>
              </a:ext>
            </a:extLst>
          </p:cNvPr>
          <p:cNvSpPr>
            <a:spLocks noGrp="1"/>
          </p:cNvSpPr>
          <p:nvPr>
            <p:ph type="sldNum" sz="quarter" idx="12"/>
          </p:nvPr>
        </p:nvSpPr>
        <p:spPr/>
        <p:txBody>
          <a:bodyPr/>
          <a:lstStyle/>
          <a:p>
            <a:fld id="{2530B79F-606E-407B-8AD3-87B7DCCB602D}" type="slidenum">
              <a:rPr lang="da-DK" smtClean="0"/>
              <a:t>‹#›</a:t>
            </a:fld>
            <a:endParaRPr lang="da-DK"/>
          </a:p>
        </p:txBody>
      </p:sp>
    </p:spTree>
    <p:extLst>
      <p:ext uri="{BB962C8B-B14F-4D97-AF65-F5344CB8AC3E}">
        <p14:creationId xmlns:p14="http://schemas.microsoft.com/office/powerpoint/2010/main" val="36379445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EB1D5E1-0C4E-4A74-BE37-26307F7E2821}"/>
              </a:ext>
            </a:extLst>
          </p:cNvPr>
          <p:cNvSpPr>
            <a:spLocks noGrp="1"/>
          </p:cNvSpPr>
          <p:nvPr>
            <p:ph type="title"/>
          </p:nvPr>
        </p:nvSpPr>
        <p:spPr>
          <a:xfrm>
            <a:off x="1774726" y="426127"/>
            <a:ext cx="9312374" cy="972716"/>
          </a:xfrm>
        </p:spPr>
        <p:txBody>
          <a:bodyPr/>
          <a:lstStyle/>
          <a:p>
            <a:r>
              <a:rPr lang="da-DK"/>
              <a:t>Click to edit Master title style</a:t>
            </a:r>
            <a:endParaRPr lang="da-DK" dirty="0"/>
          </a:p>
        </p:txBody>
      </p:sp>
      <p:sp>
        <p:nvSpPr>
          <p:cNvPr id="3" name="Content Placeholder 2"/>
          <p:cNvSpPr>
            <a:spLocks noGrp="1"/>
          </p:cNvSpPr>
          <p:nvPr>
            <p:ph sz="half" idx="1"/>
          </p:nvPr>
        </p:nvSpPr>
        <p:spPr>
          <a:xfrm>
            <a:off x="1774800" y="1706399"/>
            <a:ext cx="4410177" cy="454680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a-DK"/>
              <a:t>Edit Master text styles</a:t>
            </a:r>
          </a:p>
          <a:p>
            <a:pPr lvl="1"/>
            <a:r>
              <a:rPr lang="da-DK"/>
              <a:t>Second level</a:t>
            </a:r>
          </a:p>
          <a:p>
            <a:pPr lvl="2"/>
            <a:r>
              <a:rPr lang="da-DK"/>
              <a:t>Third level</a:t>
            </a:r>
          </a:p>
          <a:p>
            <a:pPr lvl="3"/>
            <a:r>
              <a:rPr lang="da-DK"/>
              <a:t>Fourth level</a:t>
            </a:r>
          </a:p>
          <a:p>
            <a:pPr lvl="4"/>
            <a:r>
              <a:rPr lang="da-DK"/>
              <a:t>Fifth level</a:t>
            </a:r>
            <a:endParaRPr lang="da-DK" dirty="0"/>
          </a:p>
        </p:txBody>
      </p:sp>
      <p:sp>
        <p:nvSpPr>
          <p:cNvPr id="4" name="Content Placeholder 3"/>
          <p:cNvSpPr>
            <a:spLocks noGrp="1"/>
          </p:cNvSpPr>
          <p:nvPr>
            <p:ph sz="half" idx="2"/>
          </p:nvPr>
        </p:nvSpPr>
        <p:spPr>
          <a:xfrm>
            <a:off x="6678001" y="1706399"/>
            <a:ext cx="4409100" cy="454680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a-DK"/>
              <a:t>Edit Master text styles</a:t>
            </a:r>
          </a:p>
          <a:p>
            <a:pPr lvl="1"/>
            <a:r>
              <a:rPr lang="da-DK"/>
              <a:t>Second level</a:t>
            </a:r>
          </a:p>
          <a:p>
            <a:pPr lvl="2"/>
            <a:r>
              <a:rPr lang="da-DK"/>
              <a:t>Third level</a:t>
            </a:r>
          </a:p>
          <a:p>
            <a:pPr lvl="3"/>
            <a:r>
              <a:rPr lang="da-DK"/>
              <a:t>Fourth level</a:t>
            </a:r>
          </a:p>
          <a:p>
            <a:pPr lvl="4"/>
            <a:r>
              <a:rPr lang="da-DK"/>
              <a:t>Fifth level</a:t>
            </a:r>
            <a:endParaRPr lang="da-DK" dirty="0"/>
          </a:p>
        </p:txBody>
      </p:sp>
      <p:sp>
        <p:nvSpPr>
          <p:cNvPr id="7" name="Footer Placeholder 6">
            <a:extLst>
              <a:ext uri="{FF2B5EF4-FFF2-40B4-BE49-F238E27FC236}">
                <a16:creationId xmlns:a16="http://schemas.microsoft.com/office/drawing/2014/main" id="{02499420-B0E8-4C8A-8C00-E21262271ADD}"/>
              </a:ext>
            </a:extLst>
          </p:cNvPr>
          <p:cNvSpPr>
            <a:spLocks noGrp="1"/>
          </p:cNvSpPr>
          <p:nvPr>
            <p:ph type="ftr" sz="quarter" idx="10"/>
          </p:nvPr>
        </p:nvSpPr>
        <p:spPr/>
        <p:txBody>
          <a:bodyPr/>
          <a:lstStyle/>
          <a:p>
            <a:endParaRPr lang="da-DK" dirty="0"/>
          </a:p>
        </p:txBody>
      </p:sp>
      <p:sp>
        <p:nvSpPr>
          <p:cNvPr id="8" name="Slide Number Placeholder 7">
            <a:extLst>
              <a:ext uri="{FF2B5EF4-FFF2-40B4-BE49-F238E27FC236}">
                <a16:creationId xmlns:a16="http://schemas.microsoft.com/office/drawing/2014/main" id="{E3EE7F0E-E606-41AC-BBBF-B5AECB1112EB}"/>
              </a:ext>
            </a:extLst>
          </p:cNvPr>
          <p:cNvSpPr>
            <a:spLocks noGrp="1"/>
          </p:cNvSpPr>
          <p:nvPr>
            <p:ph type="sldNum" sz="quarter" idx="11"/>
          </p:nvPr>
        </p:nvSpPr>
        <p:spPr/>
        <p:txBody>
          <a:bodyPr/>
          <a:lstStyle/>
          <a:p>
            <a:fld id="{103EA872-A674-449B-A120-B97244F8E91D}" type="slidenum">
              <a:rPr lang="da-DK" smtClean="0"/>
              <a:pPr/>
              <a:t>‹#›</a:t>
            </a:fld>
            <a:endParaRPr lang="da-DK" dirty="0"/>
          </a:p>
        </p:txBody>
      </p:sp>
    </p:spTree>
    <p:extLst>
      <p:ext uri="{BB962C8B-B14F-4D97-AF65-F5344CB8AC3E}">
        <p14:creationId xmlns:p14="http://schemas.microsoft.com/office/powerpoint/2010/main" val="2174602141"/>
      </p:ext>
    </p:extLst>
  </p:cSld>
  <p:clrMapOvr>
    <a:masterClrMapping/>
  </p:clrMapOvr>
  <p:extLst>
    <p:ext uri="{DCECCB84-F9BA-43D5-87BE-67443E8EF086}">
      <p15:sldGuideLst xmlns:p15="http://schemas.microsoft.com/office/powerpoint/2012/main">
        <p15:guide id="1" pos="1118">
          <p15:clr>
            <a:srgbClr val="F26B43"/>
          </p15:clr>
        </p15:guide>
        <p15:guide id="2" pos="3896">
          <p15:clr>
            <a:srgbClr val="F26B43"/>
          </p15:clr>
        </p15:guide>
        <p15:guide id="3" pos="4205">
          <p15:clr>
            <a:srgbClr val="F26B43"/>
          </p15:clr>
        </p15:guide>
        <p15:guide id="4" pos="6984">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3BFE178-06C9-0454-3640-70F89BE33712}"/>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7F2CE9AE-2C38-C021-A7C4-9A1F8E980983}"/>
              </a:ext>
            </a:extLst>
          </p:cNvPr>
          <p:cNvSpPr>
            <a:spLocks noGrp="1"/>
          </p:cNvSpPr>
          <p:nvPr>
            <p:ph sz="half" idx="1"/>
          </p:nvPr>
        </p:nvSpPr>
        <p:spPr>
          <a:xfrm>
            <a:off x="838091" y="1825625"/>
            <a:ext cx="5180926"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indhold 3">
            <a:extLst>
              <a:ext uri="{FF2B5EF4-FFF2-40B4-BE49-F238E27FC236}">
                <a16:creationId xmlns:a16="http://schemas.microsoft.com/office/drawing/2014/main" id="{EA2794FB-6748-FC83-A42E-7B9DD76E9C0F}"/>
              </a:ext>
            </a:extLst>
          </p:cNvPr>
          <p:cNvSpPr>
            <a:spLocks noGrp="1"/>
          </p:cNvSpPr>
          <p:nvPr>
            <p:ph sz="half" idx="2"/>
          </p:nvPr>
        </p:nvSpPr>
        <p:spPr>
          <a:xfrm>
            <a:off x="6171396" y="1825625"/>
            <a:ext cx="5180926"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dato 4">
            <a:extLst>
              <a:ext uri="{FF2B5EF4-FFF2-40B4-BE49-F238E27FC236}">
                <a16:creationId xmlns:a16="http://schemas.microsoft.com/office/drawing/2014/main" id="{3E5DD6DF-B42E-4A20-D344-3111496FA287}"/>
              </a:ext>
            </a:extLst>
          </p:cNvPr>
          <p:cNvSpPr>
            <a:spLocks noGrp="1"/>
          </p:cNvSpPr>
          <p:nvPr>
            <p:ph type="dt" sz="half" idx="10"/>
          </p:nvPr>
        </p:nvSpPr>
        <p:spPr/>
        <p:txBody>
          <a:bodyPr/>
          <a:lstStyle/>
          <a:p>
            <a:fld id="{0A904970-E143-498E-99BA-81FB85B98DA8}" type="datetimeFigureOut">
              <a:rPr lang="da-DK" smtClean="0"/>
              <a:t>07-07-2025</a:t>
            </a:fld>
            <a:endParaRPr lang="da-DK"/>
          </a:p>
        </p:txBody>
      </p:sp>
      <p:sp>
        <p:nvSpPr>
          <p:cNvPr id="6" name="Pladsholder til sidefod 5">
            <a:extLst>
              <a:ext uri="{FF2B5EF4-FFF2-40B4-BE49-F238E27FC236}">
                <a16:creationId xmlns:a16="http://schemas.microsoft.com/office/drawing/2014/main" id="{E3FF3086-71D5-B66F-8D01-D5EC6C0A4BAC}"/>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15C5DED6-01C7-175E-BA30-45E5F1DD3A60}"/>
              </a:ext>
            </a:extLst>
          </p:cNvPr>
          <p:cNvSpPr>
            <a:spLocks noGrp="1"/>
          </p:cNvSpPr>
          <p:nvPr>
            <p:ph type="sldNum" sz="quarter" idx="12"/>
          </p:nvPr>
        </p:nvSpPr>
        <p:spPr/>
        <p:txBody>
          <a:bodyPr/>
          <a:lstStyle/>
          <a:p>
            <a:fld id="{2530B79F-606E-407B-8AD3-87B7DCCB602D}" type="slidenum">
              <a:rPr lang="da-DK" smtClean="0"/>
              <a:t>‹#›</a:t>
            </a:fld>
            <a:endParaRPr lang="da-DK"/>
          </a:p>
        </p:txBody>
      </p:sp>
    </p:spTree>
    <p:extLst>
      <p:ext uri="{BB962C8B-B14F-4D97-AF65-F5344CB8AC3E}">
        <p14:creationId xmlns:p14="http://schemas.microsoft.com/office/powerpoint/2010/main" val="141036105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97ACEC0-1D32-04F0-3DAB-9A0319C9367D}"/>
              </a:ext>
            </a:extLst>
          </p:cNvPr>
          <p:cNvSpPr>
            <a:spLocks noGrp="1"/>
          </p:cNvSpPr>
          <p:nvPr>
            <p:ph type="title"/>
          </p:nvPr>
        </p:nvSpPr>
        <p:spPr>
          <a:xfrm>
            <a:off x="839679" y="365126"/>
            <a:ext cx="10514231" cy="1325563"/>
          </a:xfrm>
        </p:spPr>
        <p:txBody>
          <a:bodyPr/>
          <a:lstStyle/>
          <a:p>
            <a:r>
              <a:rPr lang="da-DK"/>
              <a:t>Klik for at redigere titeltypografien i masteren</a:t>
            </a:r>
          </a:p>
        </p:txBody>
      </p:sp>
      <p:sp>
        <p:nvSpPr>
          <p:cNvPr id="3" name="Pladsholder til tekst 2">
            <a:extLst>
              <a:ext uri="{FF2B5EF4-FFF2-40B4-BE49-F238E27FC236}">
                <a16:creationId xmlns:a16="http://schemas.microsoft.com/office/drawing/2014/main" id="{C8574C51-9707-6772-681F-055B7955C38C}"/>
              </a:ext>
            </a:extLst>
          </p:cNvPr>
          <p:cNvSpPr>
            <a:spLocks noGrp="1"/>
          </p:cNvSpPr>
          <p:nvPr>
            <p:ph type="body" idx="1"/>
          </p:nvPr>
        </p:nvSpPr>
        <p:spPr>
          <a:xfrm>
            <a:off x="839679" y="1681163"/>
            <a:ext cx="5157116" cy="823912"/>
          </a:xfrm>
        </p:spPr>
        <p:txBody>
          <a:bodyPr anchor="b"/>
          <a:lstStyle>
            <a:lvl1pPr marL="0" indent="0">
              <a:buNone/>
              <a:defRPr sz="2400" b="1"/>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da-DK"/>
              <a:t>Klik for at redigere teksttypografierne i masteren</a:t>
            </a:r>
          </a:p>
        </p:txBody>
      </p:sp>
      <p:sp>
        <p:nvSpPr>
          <p:cNvPr id="4" name="Pladsholder til indhold 3">
            <a:extLst>
              <a:ext uri="{FF2B5EF4-FFF2-40B4-BE49-F238E27FC236}">
                <a16:creationId xmlns:a16="http://schemas.microsoft.com/office/drawing/2014/main" id="{C88064A3-FEED-9B1C-4EC6-312A5C17ED76}"/>
              </a:ext>
            </a:extLst>
          </p:cNvPr>
          <p:cNvSpPr>
            <a:spLocks noGrp="1"/>
          </p:cNvSpPr>
          <p:nvPr>
            <p:ph sz="half" idx="2"/>
          </p:nvPr>
        </p:nvSpPr>
        <p:spPr>
          <a:xfrm>
            <a:off x="839679" y="2505075"/>
            <a:ext cx="5157116"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tekst 4">
            <a:extLst>
              <a:ext uri="{FF2B5EF4-FFF2-40B4-BE49-F238E27FC236}">
                <a16:creationId xmlns:a16="http://schemas.microsoft.com/office/drawing/2014/main" id="{8486E236-3E54-B422-FB39-27D18764C7EF}"/>
              </a:ext>
            </a:extLst>
          </p:cNvPr>
          <p:cNvSpPr>
            <a:spLocks noGrp="1"/>
          </p:cNvSpPr>
          <p:nvPr>
            <p:ph type="body" sz="quarter" idx="3"/>
          </p:nvPr>
        </p:nvSpPr>
        <p:spPr>
          <a:xfrm>
            <a:off x="6171397" y="1681163"/>
            <a:ext cx="5182513" cy="823912"/>
          </a:xfrm>
        </p:spPr>
        <p:txBody>
          <a:bodyPr anchor="b"/>
          <a:lstStyle>
            <a:lvl1pPr marL="0" indent="0">
              <a:buNone/>
              <a:defRPr sz="2400" b="1"/>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da-DK"/>
              <a:t>Klik for at redigere teksttypografierne i masteren</a:t>
            </a:r>
          </a:p>
        </p:txBody>
      </p:sp>
      <p:sp>
        <p:nvSpPr>
          <p:cNvPr id="6" name="Pladsholder til indhold 5">
            <a:extLst>
              <a:ext uri="{FF2B5EF4-FFF2-40B4-BE49-F238E27FC236}">
                <a16:creationId xmlns:a16="http://schemas.microsoft.com/office/drawing/2014/main" id="{DDFC159E-0154-84F4-131D-D2552F62FAF5}"/>
              </a:ext>
            </a:extLst>
          </p:cNvPr>
          <p:cNvSpPr>
            <a:spLocks noGrp="1"/>
          </p:cNvSpPr>
          <p:nvPr>
            <p:ph sz="quarter" idx="4"/>
          </p:nvPr>
        </p:nvSpPr>
        <p:spPr>
          <a:xfrm>
            <a:off x="6171397" y="2505075"/>
            <a:ext cx="5182513"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7" name="Pladsholder til dato 6">
            <a:extLst>
              <a:ext uri="{FF2B5EF4-FFF2-40B4-BE49-F238E27FC236}">
                <a16:creationId xmlns:a16="http://schemas.microsoft.com/office/drawing/2014/main" id="{8BF2A7CF-C266-FCA7-1BBB-87BC29278092}"/>
              </a:ext>
            </a:extLst>
          </p:cNvPr>
          <p:cNvSpPr>
            <a:spLocks noGrp="1"/>
          </p:cNvSpPr>
          <p:nvPr>
            <p:ph type="dt" sz="half" idx="10"/>
          </p:nvPr>
        </p:nvSpPr>
        <p:spPr/>
        <p:txBody>
          <a:bodyPr/>
          <a:lstStyle/>
          <a:p>
            <a:fld id="{0A904970-E143-498E-99BA-81FB85B98DA8}" type="datetimeFigureOut">
              <a:rPr lang="da-DK" smtClean="0"/>
              <a:t>07-07-2025</a:t>
            </a:fld>
            <a:endParaRPr lang="da-DK"/>
          </a:p>
        </p:txBody>
      </p:sp>
      <p:sp>
        <p:nvSpPr>
          <p:cNvPr id="8" name="Pladsholder til sidefod 7">
            <a:extLst>
              <a:ext uri="{FF2B5EF4-FFF2-40B4-BE49-F238E27FC236}">
                <a16:creationId xmlns:a16="http://schemas.microsoft.com/office/drawing/2014/main" id="{FA6956A8-FB37-E7FE-F192-F7F90F749DA4}"/>
              </a:ext>
            </a:extLst>
          </p:cNvPr>
          <p:cNvSpPr>
            <a:spLocks noGrp="1"/>
          </p:cNvSpPr>
          <p:nvPr>
            <p:ph type="ftr" sz="quarter" idx="11"/>
          </p:nvPr>
        </p:nvSpPr>
        <p:spPr/>
        <p:txBody>
          <a:bodyPr/>
          <a:lstStyle/>
          <a:p>
            <a:endParaRPr lang="da-DK"/>
          </a:p>
        </p:txBody>
      </p:sp>
      <p:sp>
        <p:nvSpPr>
          <p:cNvPr id="9" name="Pladsholder til slidenummer 8">
            <a:extLst>
              <a:ext uri="{FF2B5EF4-FFF2-40B4-BE49-F238E27FC236}">
                <a16:creationId xmlns:a16="http://schemas.microsoft.com/office/drawing/2014/main" id="{0D2FF72D-3715-88EB-B64E-D1C792DED0E7}"/>
              </a:ext>
            </a:extLst>
          </p:cNvPr>
          <p:cNvSpPr>
            <a:spLocks noGrp="1"/>
          </p:cNvSpPr>
          <p:nvPr>
            <p:ph type="sldNum" sz="quarter" idx="12"/>
          </p:nvPr>
        </p:nvSpPr>
        <p:spPr/>
        <p:txBody>
          <a:bodyPr/>
          <a:lstStyle/>
          <a:p>
            <a:fld id="{2530B79F-606E-407B-8AD3-87B7DCCB602D}" type="slidenum">
              <a:rPr lang="da-DK" smtClean="0"/>
              <a:t>‹#›</a:t>
            </a:fld>
            <a:endParaRPr lang="da-DK"/>
          </a:p>
        </p:txBody>
      </p:sp>
    </p:spTree>
    <p:extLst>
      <p:ext uri="{BB962C8B-B14F-4D97-AF65-F5344CB8AC3E}">
        <p14:creationId xmlns:p14="http://schemas.microsoft.com/office/powerpoint/2010/main" val="246607265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F50D0D5-75AE-89BC-91E2-71DC457EAAB4}"/>
              </a:ext>
            </a:extLst>
          </p:cNvPr>
          <p:cNvSpPr>
            <a:spLocks noGrp="1"/>
          </p:cNvSpPr>
          <p:nvPr>
            <p:ph type="title"/>
          </p:nvPr>
        </p:nvSpPr>
        <p:spPr/>
        <p:txBody>
          <a:bodyPr/>
          <a:lstStyle/>
          <a:p>
            <a:r>
              <a:rPr lang="da-DK"/>
              <a:t>Klik for at redigere titeltypografien i masteren</a:t>
            </a:r>
          </a:p>
        </p:txBody>
      </p:sp>
      <p:sp>
        <p:nvSpPr>
          <p:cNvPr id="3" name="Pladsholder til dato 2">
            <a:extLst>
              <a:ext uri="{FF2B5EF4-FFF2-40B4-BE49-F238E27FC236}">
                <a16:creationId xmlns:a16="http://schemas.microsoft.com/office/drawing/2014/main" id="{BA5E2876-25F0-B173-470A-69DAADB866DD}"/>
              </a:ext>
            </a:extLst>
          </p:cNvPr>
          <p:cNvSpPr>
            <a:spLocks noGrp="1"/>
          </p:cNvSpPr>
          <p:nvPr>
            <p:ph type="dt" sz="half" idx="10"/>
          </p:nvPr>
        </p:nvSpPr>
        <p:spPr/>
        <p:txBody>
          <a:bodyPr/>
          <a:lstStyle/>
          <a:p>
            <a:fld id="{0A904970-E143-498E-99BA-81FB85B98DA8}" type="datetimeFigureOut">
              <a:rPr lang="da-DK" smtClean="0"/>
              <a:t>07-07-2025</a:t>
            </a:fld>
            <a:endParaRPr lang="da-DK"/>
          </a:p>
        </p:txBody>
      </p:sp>
      <p:sp>
        <p:nvSpPr>
          <p:cNvPr id="4" name="Pladsholder til sidefod 3">
            <a:extLst>
              <a:ext uri="{FF2B5EF4-FFF2-40B4-BE49-F238E27FC236}">
                <a16:creationId xmlns:a16="http://schemas.microsoft.com/office/drawing/2014/main" id="{E833D8C3-8BA4-9A60-3F41-8BF5353ED69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2EB5E459-C7E5-713E-C464-42F098045953}"/>
              </a:ext>
            </a:extLst>
          </p:cNvPr>
          <p:cNvSpPr>
            <a:spLocks noGrp="1"/>
          </p:cNvSpPr>
          <p:nvPr>
            <p:ph type="sldNum" sz="quarter" idx="12"/>
          </p:nvPr>
        </p:nvSpPr>
        <p:spPr/>
        <p:txBody>
          <a:bodyPr/>
          <a:lstStyle/>
          <a:p>
            <a:fld id="{2530B79F-606E-407B-8AD3-87B7DCCB602D}" type="slidenum">
              <a:rPr lang="da-DK" smtClean="0"/>
              <a:t>‹#›</a:t>
            </a:fld>
            <a:endParaRPr lang="da-DK"/>
          </a:p>
        </p:txBody>
      </p:sp>
    </p:spTree>
    <p:extLst>
      <p:ext uri="{BB962C8B-B14F-4D97-AF65-F5344CB8AC3E}">
        <p14:creationId xmlns:p14="http://schemas.microsoft.com/office/powerpoint/2010/main" val="32727721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840F9E3A-4EF2-43DA-9E0B-E980A524B706}"/>
              </a:ext>
            </a:extLst>
          </p:cNvPr>
          <p:cNvSpPr>
            <a:spLocks noGrp="1"/>
          </p:cNvSpPr>
          <p:nvPr>
            <p:ph type="dt" sz="half" idx="10"/>
          </p:nvPr>
        </p:nvSpPr>
        <p:spPr/>
        <p:txBody>
          <a:bodyPr/>
          <a:lstStyle/>
          <a:p>
            <a:fld id="{0A904970-E143-498E-99BA-81FB85B98DA8}" type="datetimeFigureOut">
              <a:rPr lang="da-DK" smtClean="0"/>
              <a:t>07-07-2025</a:t>
            </a:fld>
            <a:endParaRPr lang="da-DK"/>
          </a:p>
        </p:txBody>
      </p:sp>
      <p:sp>
        <p:nvSpPr>
          <p:cNvPr id="3" name="Pladsholder til sidefod 2">
            <a:extLst>
              <a:ext uri="{FF2B5EF4-FFF2-40B4-BE49-F238E27FC236}">
                <a16:creationId xmlns:a16="http://schemas.microsoft.com/office/drawing/2014/main" id="{91A124BC-E10F-63F4-8214-2864A14403A9}"/>
              </a:ext>
            </a:extLst>
          </p:cNvPr>
          <p:cNvSpPr>
            <a:spLocks noGrp="1"/>
          </p:cNvSpPr>
          <p:nvPr>
            <p:ph type="ftr" sz="quarter" idx="11"/>
          </p:nvPr>
        </p:nvSpPr>
        <p:spPr/>
        <p:txBody>
          <a:bodyPr/>
          <a:lstStyle/>
          <a:p>
            <a:endParaRPr lang="da-DK"/>
          </a:p>
        </p:txBody>
      </p:sp>
      <p:sp>
        <p:nvSpPr>
          <p:cNvPr id="4" name="Pladsholder til slidenummer 3">
            <a:extLst>
              <a:ext uri="{FF2B5EF4-FFF2-40B4-BE49-F238E27FC236}">
                <a16:creationId xmlns:a16="http://schemas.microsoft.com/office/drawing/2014/main" id="{008CB487-BD36-EDAA-9733-B1F6A0F3839D}"/>
              </a:ext>
            </a:extLst>
          </p:cNvPr>
          <p:cNvSpPr>
            <a:spLocks noGrp="1"/>
          </p:cNvSpPr>
          <p:nvPr>
            <p:ph type="sldNum" sz="quarter" idx="12"/>
          </p:nvPr>
        </p:nvSpPr>
        <p:spPr/>
        <p:txBody>
          <a:bodyPr/>
          <a:lstStyle/>
          <a:p>
            <a:fld id="{2530B79F-606E-407B-8AD3-87B7DCCB602D}" type="slidenum">
              <a:rPr lang="da-DK" smtClean="0"/>
              <a:t>‹#›</a:t>
            </a:fld>
            <a:endParaRPr lang="da-DK"/>
          </a:p>
        </p:txBody>
      </p:sp>
    </p:spTree>
    <p:extLst>
      <p:ext uri="{BB962C8B-B14F-4D97-AF65-F5344CB8AC3E}">
        <p14:creationId xmlns:p14="http://schemas.microsoft.com/office/powerpoint/2010/main" val="142608813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110A005-1F2C-FF87-486B-AAB6DA19723F}"/>
              </a:ext>
            </a:extLst>
          </p:cNvPr>
          <p:cNvSpPr>
            <a:spLocks noGrp="1"/>
          </p:cNvSpPr>
          <p:nvPr>
            <p:ph type="title"/>
          </p:nvPr>
        </p:nvSpPr>
        <p:spPr>
          <a:xfrm>
            <a:off x="839679" y="457200"/>
            <a:ext cx="3931725" cy="1600200"/>
          </a:xfrm>
        </p:spPr>
        <p:txBody>
          <a:bodyPr anchor="b"/>
          <a:lstStyle>
            <a:lvl1pPr>
              <a:defRPr sz="3200"/>
            </a:lvl1pPr>
          </a:lstStyle>
          <a:p>
            <a:r>
              <a:rPr lang="da-DK"/>
              <a:t>Klik for at redigere titeltypografien i masteren</a:t>
            </a:r>
          </a:p>
        </p:txBody>
      </p:sp>
      <p:sp>
        <p:nvSpPr>
          <p:cNvPr id="3" name="Pladsholder til indhold 2">
            <a:extLst>
              <a:ext uri="{FF2B5EF4-FFF2-40B4-BE49-F238E27FC236}">
                <a16:creationId xmlns:a16="http://schemas.microsoft.com/office/drawing/2014/main" id="{B46199B9-C6A2-09BD-CC3A-7A6FAB17C1C1}"/>
              </a:ext>
            </a:extLst>
          </p:cNvPr>
          <p:cNvSpPr>
            <a:spLocks noGrp="1"/>
          </p:cNvSpPr>
          <p:nvPr>
            <p:ph idx="1"/>
          </p:nvPr>
        </p:nvSpPr>
        <p:spPr>
          <a:xfrm>
            <a:off x="5182513" y="987426"/>
            <a:ext cx="6171397"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tekst 3">
            <a:extLst>
              <a:ext uri="{FF2B5EF4-FFF2-40B4-BE49-F238E27FC236}">
                <a16:creationId xmlns:a16="http://schemas.microsoft.com/office/drawing/2014/main" id="{2A002477-44C1-3F42-5F6C-3098D35FC998}"/>
              </a:ext>
            </a:extLst>
          </p:cNvPr>
          <p:cNvSpPr>
            <a:spLocks noGrp="1"/>
          </p:cNvSpPr>
          <p:nvPr>
            <p:ph type="body" sz="half" idx="2"/>
          </p:nvPr>
        </p:nvSpPr>
        <p:spPr>
          <a:xfrm>
            <a:off x="839679" y="2057400"/>
            <a:ext cx="3931725" cy="3811588"/>
          </a:xfrm>
        </p:spPr>
        <p:txBody>
          <a:bodyPr/>
          <a:lstStyle>
            <a:lvl1pPr marL="0" indent="0">
              <a:buNone/>
              <a:defRPr sz="1600"/>
            </a:lvl1pPr>
            <a:lvl2pPr marL="457154" indent="0">
              <a:buNone/>
              <a:defRPr sz="1400"/>
            </a:lvl2pPr>
            <a:lvl3pPr marL="914309" indent="0">
              <a:buNone/>
              <a:defRPr sz="1200"/>
            </a:lvl3pPr>
            <a:lvl4pPr marL="1371463" indent="0">
              <a:buNone/>
              <a:defRPr sz="1000"/>
            </a:lvl4pPr>
            <a:lvl5pPr marL="1828617" indent="0">
              <a:buNone/>
              <a:defRPr sz="1000"/>
            </a:lvl5pPr>
            <a:lvl6pPr marL="2285771" indent="0">
              <a:buNone/>
              <a:defRPr sz="1000"/>
            </a:lvl6pPr>
            <a:lvl7pPr marL="2742926" indent="0">
              <a:buNone/>
              <a:defRPr sz="1000"/>
            </a:lvl7pPr>
            <a:lvl8pPr marL="3200080" indent="0">
              <a:buNone/>
              <a:defRPr sz="1000"/>
            </a:lvl8pPr>
            <a:lvl9pPr marL="3657234"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EAD6492E-14FA-3CA8-E0E2-606520D48DF4}"/>
              </a:ext>
            </a:extLst>
          </p:cNvPr>
          <p:cNvSpPr>
            <a:spLocks noGrp="1"/>
          </p:cNvSpPr>
          <p:nvPr>
            <p:ph type="dt" sz="half" idx="10"/>
          </p:nvPr>
        </p:nvSpPr>
        <p:spPr/>
        <p:txBody>
          <a:bodyPr/>
          <a:lstStyle/>
          <a:p>
            <a:fld id="{0A904970-E143-498E-99BA-81FB85B98DA8}" type="datetimeFigureOut">
              <a:rPr lang="da-DK" smtClean="0"/>
              <a:t>07-07-2025</a:t>
            </a:fld>
            <a:endParaRPr lang="da-DK"/>
          </a:p>
        </p:txBody>
      </p:sp>
      <p:sp>
        <p:nvSpPr>
          <p:cNvPr id="6" name="Pladsholder til sidefod 5">
            <a:extLst>
              <a:ext uri="{FF2B5EF4-FFF2-40B4-BE49-F238E27FC236}">
                <a16:creationId xmlns:a16="http://schemas.microsoft.com/office/drawing/2014/main" id="{FD8B0B6A-E6C6-B8A4-F5D4-AE65B827CC1F}"/>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6BF3FD22-669F-67F1-1880-AEAAA01CCF4F}"/>
              </a:ext>
            </a:extLst>
          </p:cNvPr>
          <p:cNvSpPr>
            <a:spLocks noGrp="1"/>
          </p:cNvSpPr>
          <p:nvPr>
            <p:ph type="sldNum" sz="quarter" idx="12"/>
          </p:nvPr>
        </p:nvSpPr>
        <p:spPr/>
        <p:txBody>
          <a:bodyPr/>
          <a:lstStyle/>
          <a:p>
            <a:fld id="{2530B79F-606E-407B-8AD3-87B7DCCB602D}" type="slidenum">
              <a:rPr lang="da-DK" smtClean="0"/>
              <a:t>‹#›</a:t>
            </a:fld>
            <a:endParaRPr lang="da-DK"/>
          </a:p>
        </p:txBody>
      </p:sp>
    </p:spTree>
    <p:extLst>
      <p:ext uri="{BB962C8B-B14F-4D97-AF65-F5344CB8AC3E}">
        <p14:creationId xmlns:p14="http://schemas.microsoft.com/office/powerpoint/2010/main" val="228283409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0D9204-3518-A973-4B67-1DD1CF6C2D26}"/>
              </a:ext>
            </a:extLst>
          </p:cNvPr>
          <p:cNvSpPr>
            <a:spLocks noGrp="1"/>
          </p:cNvSpPr>
          <p:nvPr>
            <p:ph type="title"/>
          </p:nvPr>
        </p:nvSpPr>
        <p:spPr>
          <a:xfrm>
            <a:off x="839679" y="457200"/>
            <a:ext cx="3931725" cy="1600200"/>
          </a:xfrm>
        </p:spPr>
        <p:txBody>
          <a:bodyPr anchor="b"/>
          <a:lstStyle>
            <a:lvl1pPr>
              <a:defRPr sz="3200"/>
            </a:lvl1pPr>
          </a:lstStyle>
          <a:p>
            <a:r>
              <a:rPr lang="da-DK"/>
              <a:t>Klik for at redigere titeltypografien i masteren</a:t>
            </a:r>
          </a:p>
        </p:txBody>
      </p:sp>
      <p:sp>
        <p:nvSpPr>
          <p:cNvPr id="3" name="Pladsholder til billede 2">
            <a:extLst>
              <a:ext uri="{FF2B5EF4-FFF2-40B4-BE49-F238E27FC236}">
                <a16:creationId xmlns:a16="http://schemas.microsoft.com/office/drawing/2014/main" id="{7801005C-C7CA-E896-D5CB-DB4762710E62}"/>
              </a:ext>
            </a:extLst>
          </p:cNvPr>
          <p:cNvSpPr>
            <a:spLocks noGrp="1"/>
          </p:cNvSpPr>
          <p:nvPr>
            <p:ph type="pic" idx="1"/>
          </p:nvPr>
        </p:nvSpPr>
        <p:spPr>
          <a:xfrm>
            <a:off x="5182513" y="987426"/>
            <a:ext cx="6171397" cy="4873625"/>
          </a:xfrm>
        </p:spPr>
        <p:txBody>
          <a:bodyPr/>
          <a:lstStyle>
            <a:lvl1pPr marL="0" indent="0">
              <a:buNone/>
              <a:defRPr sz="3200"/>
            </a:lvl1pPr>
            <a:lvl2pPr marL="457154" indent="0">
              <a:buNone/>
              <a:defRPr sz="2800"/>
            </a:lvl2pPr>
            <a:lvl3pPr marL="914309" indent="0">
              <a:buNone/>
              <a:defRPr sz="2400"/>
            </a:lvl3pPr>
            <a:lvl4pPr marL="1371463" indent="0">
              <a:buNone/>
              <a:defRPr sz="2000"/>
            </a:lvl4pPr>
            <a:lvl5pPr marL="1828617" indent="0">
              <a:buNone/>
              <a:defRPr sz="2000"/>
            </a:lvl5pPr>
            <a:lvl6pPr marL="2285771" indent="0">
              <a:buNone/>
              <a:defRPr sz="2000"/>
            </a:lvl6pPr>
            <a:lvl7pPr marL="2742926" indent="0">
              <a:buNone/>
              <a:defRPr sz="2000"/>
            </a:lvl7pPr>
            <a:lvl8pPr marL="3200080" indent="0">
              <a:buNone/>
              <a:defRPr sz="2000"/>
            </a:lvl8pPr>
            <a:lvl9pPr marL="3657234" indent="0">
              <a:buNone/>
              <a:defRPr sz="2000"/>
            </a:lvl9pPr>
          </a:lstStyle>
          <a:p>
            <a:endParaRPr lang="da-DK"/>
          </a:p>
        </p:txBody>
      </p:sp>
      <p:sp>
        <p:nvSpPr>
          <p:cNvPr id="4" name="Pladsholder til tekst 3">
            <a:extLst>
              <a:ext uri="{FF2B5EF4-FFF2-40B4-BE49-F238E27FC236}">
                <a16:creationId xmlns:a16="http://schemas.microsoft.com/office/drawing/2014/main" id="{8021C69B-431D-61D2-C162-6B97FD0F2A01}"/>
              </a:ext>
            </a:extLst>
          </p:cNvPr>
          <p:cNvSpPr>
            <a:spLocks noGrp="1"/>
          </p:cNvSpPr>
          <p:nvPr>
            <p:ph type="body" sz="half" idx="2"/>
          </p:nvPr>
        </p:nvSpPr>
        <p:spPr>
          <a:xfrm>
            <a:off x="839679" y="2057400"/>
            <a:ext cx="3931725" cy="3811588"/>
          </a:xfrm>
        </p:spPr>
        <p:txBody>
          <a:bodyPr/>
          <a:lstStyle>
            <a:lvl1pPr marL="0" indent="0">
              <a:buNone/>
              <a:defRPr sz="1600"/>
            </a:lvl1pPr>
            <a:lvl2pPr marL="457154" indent="0">
              <a:buNone/>
              <a:defRPr sz="1400"/>
            </a:lvl2pPr>
            <a:lvl3pPr marL="914309" indent="0">
              <a:buNone/>
              <a:defRPr sz="1200"/>
            </a:lvl3pPr>
            <a:lvl4pPr marL="1371463" indent="0">
              <a:buNone/>
              <a:defRPr sz="1000"/>
            </a:lvl4pPr>
            <a:lvl5pPr marL="1828617" indent="0">
              <a:buNone/>
              <a:defRPr sz="1000"/>
            </a:lvl5pPr>
            <a:lvl6pPr marL="2285771" indent="0">
              <a:buNone/>
              <a:defRPr sz="1000"/>
            </a:lvl6pPr>
            <a:lvl7pPr marL="2742926" indent="0">
              <a:buNone/>
              <a:defRPr sz="1000"/>
            </a:lvl7pPr>
            <a:lvl8pPr marL="3200080" indent="0">
              <a:buNone/>
              <a:defRPr sz="1000"/>
            </a:lvl8pPr>
            <a:lvl9pPr marL="3657234"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97A2FFB7-DAB5-742B-36FD-54037BFFB940}"/>
              </a:ext>
            </a:extLst>
          </p:cNvPr>
          <p:cNvSpPr>
            <a:spLocks noGrp="1"/>
          </p:cNvSpPr>
          <p:nvPr>
            <p:ph type="dt" sz="half" idx="10"/>
          </p:nvPr>
        </p:nvSpPr>
        <p:spPr/>
        <p:txBody>
          <a:bodyPr/>
          <a:lstStyle/>
          <a:p>
            <a:fld id="{0A904970-E143-498E-99BA-81FB85B98DA8}" type="datetimeFigureOut">
              <a:rPr lang="da-DK" smtClean="0"/>
              <a:t>07-07-2025</a:t>
            </a:fld>
            <a:endParaRPr lang="da-DK"/>
          </a:p>
        </p:txBody>
      </p:sp>
      <p:sp>
        <p:nvSpPr>
          <p:cNvPr id="6" name="Pladsholder til sidefod 5">
            <a:extLst>
              <a:ext uri="{FF2B5EF4-FFF2-40B4-BE49-F238E27FC236}">
                <a16:creationId xmlns:a16="http://schemas.microsoft.com/office/drawing/2014/main" id="{5FE64178-DFD4-1FA2-6406-93F6EFFB1E99}"/>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83132A6A-9A8F-7859-0832-24DB2CAADF04}"/>
              </a:ext>
            </a:extLst>
          </p:cNvPr>
          <p:cNvSpPr>
            <a:spLocks noGrp="1"/>
          </p:cNvSpPr>
          <p:nvPr>
            <p:ph type="sldNum" sz="quarter" idx="12"/>
          </p:nvPr>
        </p:nvSpPr>
        <p:spPr/>
        <p:txBody>
          <a:bodyPr/>
          <a:lstStyle/>
          <a:p>
            <a:fld id="{2530B79F-606E-407B-8AD3-87B7DCCB602D}" type="slidenum">
              <a:rPr lang="da-DK" smtClean="0"/>
              <a:t>‹#›</a:t>
            </a:fld>
            <a:endParaRPr lang="da-DK"/>
          </a:p>
        </p:txBody>
      </p:sp>
    </p:spTree>
    <p:extLst>
      <p:ext uri="{BB962C8B-B14F-4D97-AF65-F5344CB8AC3E}">
        <p14:creationId xmlns:p14="http://schemas.microsoft.com/office/powerpoint/2010/main" val="6891442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D6DFE2C-544A-7D22-5429-A6CB81D536E5}"/>
              </a:ext>
            </a:extLst>
          </p:cNvPr>
          <p:cNvSpPr>
            <a:spLocks noGrp="1"/>
          </p:cNvSpPr>
          <p:nvPr>
            <p:ph type="title"/>
          </p:nvPr>
        </p:nvSpPr>
        <p:spPr/>
        <p:txBody>
          <a:bodyPr/>
          <a:lstStyle/>
          <a:p>
            <a:r>
              <a:rPr lang="da-DK"/>
              <a:t>Klik for at redigere titeltypografien i masteren</a:t>
            </a:r>
          </a:p>
        </p:txBody>
      </p:sp>
      <p:sp>
        <p:nvSpPr>
          <p:cNvPr id="3" name="Pladsholder til lodret titel 2">
            <a:extLst>
              <a:ext uri="{FF2B5EF4-FFF2-40B4-BE49-F238E27FC236}">
                <a16:creationId xmlns:a16="http://schemas.microsoft.com/office/drawing/2014/main" id="{180636A7-8155-45CC-CBEF-392AF193909C}"/>
              </a:ext>
            </a:extLst>
          </p:cNvPr>
          <p:cNvSpPr>
            <a:spLocks noGrp="1"/>
          </p:cNvSpPr>
          <p:nvPr>
            <p:ph type="body" orient="vert" idx="1"/>
          </p:nvPr>
        </p:nvSpPr>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45F30121-D21F-5CEF-142D-BDBCDB30209D}"/>
              </a:ext>
            </a:extLst>
          </p:cNvPr>
          <p:cNvSpPr>
            <a:spLocks noGrp="1"/>
          </p:cNvSpPr>
          <p:nvPr>
            <p:ph type="dt" sz="half" idx="10"/>
          </p:nvPr>
        </p:nvSpPr>
        <p:spPr/>
        <p:txBody>
          <a:bodyPr/>
          <a:lstStyle/>
          <a:p>
            <a:fld id="{0A904970-E143-498E-99BA-81FB85B98DA8}" type="datetimeFigureOut">
              <a:rPr lang="da-DK" smtClean="0"/>
              <a:t>07-07-2025</a:t>
            </a:fld>
            <a:endParaRPr lang="da-DK"/>
          </a:p>
        </p:txBody>
      </p:sp>
      <p:sp>
        <p:nvSpPr>
          <p:cNvPr id="5" name="Pladsholder til sidefod 4">
            <a:extLst>
              <a:ext uri="{FF2B5EF4-FFF2-40B4-BE49-F238E27FC236}">
                <a16:creationId xmlns:a16="http://schemas.microsoft.com/office/drawing/2014/main" id="{BEC28227-ADE2-0AC1-D453-2C3CB009D088}"/>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9A7ED126-5F65-4247-F688-92F202A7E056}"/>
              </a:ext>
            </a:extLst>
          </p:cNvPr>
          <p:cNvSpPr>
            <a:spLocks noGrp="1"/>
          </p:cNvSpPr>
          <p:nvPr>
            <p:ph type="sldNum" sz="quarter" idx="12"/>
          </p:nvPr>
        </p:nvSpPr>
        <p:spPr/>
        <p:txBody>
          <a:bodyPr/>
          <a:lstStyle/>
          <a:p>
            <a:fld id="{2530B79F-606E-407B-8AD3-87B7DCCB602D}" type="slidenum">
              <a:rPr lang="da-DK" smtClean="0"/>
              <a:t>‹#›</a:t>
            </a:fld>
            <a:endParaRPr lang="da-DK"/>
          </a:p>
        </p:txBody>
      </p:sp>
    </p:spTree>
    <p:extLst>
      <p:ext uri="{BB962C8B-B14F-4D97-AF65-F5344CB8AC3E}">
        <p14:creationId xmlns:p14="http://schemas.microsoft.com/office/powerpoint/2010/main" val="365646593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a:extLst>
              <a:ext uri="{FF2B5EF4-FFF2-40B4-BE49-F238E27FC236}">
                <a16:creationId xmlns:a16="http://schemas.microsoft.com/office/drawing/2014/main" id="{62EFDB28-16CA-A8EE-ED2E-B1AE78AAA4C7}"/>
              </a:ext>
            </a:extLst>
          </p:cNvPr>
          <p:cNvSpPr>
            <a:spLocks noGrp="1"/>
          </p:cNvSpPr>
          <p:nvPr>
            <p:ph type="title" orient="vert"/>
          </p:nvPr>
        </p:nvSpPr>
        <p:spPr>
          <a:xfrm>
            <a:off x="8723764" y="365125"/>
            <a:ext cx="2628558" cy="5811838"/>
          </a:xfrm>
        </p:spPr>
        <p:txBody>
          <a:bodyPr vert="eaVert"/>
          <a:lstStyle/>
          <a:p>
            <a:r>
              <a:rPr lang="da-DK"/>
              <a:t>Klik for at redigere titeltypografien i masteren</a:t>
            </a:r>
          </a:p>
        </p:txBody>
      </p:sp>
      <p:sp>
        <p:nvSpPr>
          <p:cNvPr id="3" name="Pladsholder til lodret titel 2">
            <a:extLst>
              <a:ext uri="{FF2B5EF4-FFF2-40B4-BE49-F238E27FC236}">
                <a16:creationId xmlns:a16="http://schemas.microsoft.com/office/drawing/2014/main" id="{1C3A4F2E-7212-140B-126E-E757DA210224}"/>
              </a:ext>
            </a:extLst>
          </p:cNvPr>
          <p:cNvSpPr>
            <a:spLocks noGrp="1"/>
          </p:cNvSpPr>
          <p:nvPr>
            <p:ph type="body" orient="vert" idx="1"/>
          </p:nvPr>
        </p:nvSpPr>
        <p:spPr>
          <a:xfrm>
            <a:off x="838091" y="365125"/>
            <a:ext cx="7733293" cy="5811838"/>
          </a:xfrm>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EE362DAB-1CBF-0275-FCD7-971328E5409B}"/>
              </a:ext>
            </a:extLst>
          </p:cNvPr>
          <p:cNvSpPr>
            <a:spLocks noGrp="1"/>
          </p:cNvSpPr>
          <p:nvPr>
            <p:ph type="dt" sz="half" idx="10"/>
          </p:nvPr>
        </p:nvSpPr>
        <p:spPr/>
        <p:txBody>
          <a:bodyPr/>
          <a:lstStyle/>
          <a:p>
            <a:fld id="{0A904970-E143-498E-99BA-81FB85B98DA8}" type="datetimeFigureOut">
              <a:rPr lang="da-DK" smtClean="0"/>
              <a:t>07-07-2025</a:t>
            </a:fld>
            <a:endParaRPr lang="da-DK"/>
          </a:p>
        </p:txBody>
      </p:sp>
      <p:sp>
        <p:nvSpPr>
          <p:cNvPr id="5" name="Pladsholder til sidefod 4">
            <a:extLst>
              <a:ext uri="{FF2B5EF4-FFF2-40B4-BE49-F238E27FC236}">
                <a16:creationId xmlns:a16="http://schemas.microsoft.com/office/drawing/2014/main" id="{A78374D0-7931-23B1-AE82-A7188DB1D382}"/>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D27AE444-3E2E-078D-E124-31826D2E84AC}"/>
              </a:ext>
            </a:extLst>
          </p:cNvPr>
          <p:cNvSpPr>
            <a:spLocks noGrp="1"/>
          </p:cNvSpPr>
          <p:nvPr>
            <p:ph type="sldNum" sz="quarter" idx="12"/>
          </p:nvPr>
        </p:nvSpPr>
        <p:spPr/>
        <p:txBody>
          <a:bodyPr/>
          <a:lstStyle/>
          <a:p>
            <a:fld id="{2530B79F-606E-407B-8AD3-87B7DCCB602D}" type="slidenum">
              <a:rPr lang="da-DK" smtClean="0"/>
              <a:t>‹#›</a:t>
            </a:fld>
            <a:endParaRPr lang="da-DK"/>
          </a:p>
        </p:txBody>
      </p:sp>
    </p:spTree>
    <p:extLst>
      <p:ext uri="{BB962C8B-B14F-4D97-AF65-F5344CB8AC3E}">
        <p14:creationId xmlns:p14="http://schemas.microsoft.com/office/powerpoint/2010/main" val="140026033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Deling af data">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919FD1B1-501D-456F-B553-4E270CFF280B}"/>
              </a:ext>
            </a:extLst>
          </p:cNvPr>
          <p:cNvSpPr/>
          <p:nvPr userDrawn="1"/>
        </p:nvSpPr>
        <p:spPr>
          <a:xfrm>
            <a:off x="3839500" y="0"/>
            <a:ext cx="835091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3200" noProof="0" dirty="0"/>
          </a:p>
        </p:txBody>
      </p:sp>
      <p:sp>
        <p:nvSpPr>
          <p:cNvPr id="3" name="Content Placeholder 2"/>
          <p:cNvSpPr>
            <a:spLocks noGrp="1"/>
          </p:cNvSpPr>
          <p:nvPr>
            <p:ph idx="1"/>
          </p:nvPr>
        </p:nvSpPr>
        <p:spPr>
          <a:xfrm>
            <a:off x="719309" y="1631951"/>
            <a:ext cx="2783949" cy="4533900"/>
          </a:xfrm>
          <a:prstGeom prst="rect">
            <a:avLst/>
          </a:prstGeo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da-DK" noProof="0" dirty="0"/>
          </a:p>
        </p:txBody>
      </p:sp>
      <p:sp>
        <p:nvSpPr>
          <p:cNvPr id="4" name="Slide Number Placeholder 3">
            <a:extLst>
              <a:ext uri="{FF2B5EF4-FFF2-40B4-BE49-F238E27FC236}">
                <a16:creationId xmlns:a16="http://schemas.microsoft.com/office/drawing/2014/main" id="{9143E534-73DC-4913-8BB2-51BD79CED8E4}"/>
              </a:ext>
            </a:extLst>
          </p:cNvPr>
          <p:cNvSpPr>
            <a:spLocks noGrp="1"/>
          </p:cNvSpPr>
          <p:nvPr>
            <p:ph type="sldNum" sz="quarter" idx="18"/>
          </p:nvPr>
        </p:nvSpPr>
        <p:spPr/>
        <p:txBody>
          <a:bodyPr/>
          <a:lstStyle/>
          <a:p>
            <a:fld id="{213DFF03-528E-4376-8B83-59343DC23B68}" type="slidenum">
              <a:rPr lang="da-DK" smtClean="0"/>
              <a:pPr/>
              <a:t>‹#›</a:t>
            </a:fld>
            <a:endParaRPr lang="da-DK" dirty="0"/>
          </a:p>
        </p:txBody>
      </p:sp>
      <p:sp>
        <p:nvSpPr>
          <p:cNvPr id="7" name="Title 6">
            <a:extLst>
              <a:ext uri="{FF2B5EF4-FFF2-40B4-BE49-F238E27FC236}">
                <a16:creationId xmlns:a16="http://schemas.microsoft.com/office/drawing/2014/main" id="{C6996E38-CDE3-4DA2-9648-B7E3A45BB927}"/>
              </a:ext>
            </a:extLst>
          </p:cNvPr>
          <p:cNvSpPr>
            <a:spLocks noGrp="1"/>
          </p:cNvSpPr>
          <p:nvPr>
            <p:ph type="title"/>
          </p:nvPr>
        </p:nvSpPr>
        <p:spPr>
          <a:xfrm>
            <a:off x="719310" y="644691"/>
            <a:ext cx="2783947" cy="987260"/>
          </a:xfrm>
        </p:spPr>
        <p:txBody>
          <a:bodyPr/>
          <a:lstStyle/>
          <a:p>
            <a:r>
              <a:rPr lang="da-DK"/>
              <a:t>Klik for at redigere titeltypografien i masteren</a:t>
            </a:r>
            <a:endParaRPr lang="da-DK" dirty="0"/>
          </a:p>
        </p:txBody>
      </p:sp>
      <p:pic>
        <p:nvPicPr>
          <p:cNvPr id="9" name="Picture 8" descr="A close up of text on a black background&#10;&#10;Description automatically generated">
            <a:extLst>
              <a:ext uri="{FF2B5EF4-FFF2-40B4-BE49-F238E27FC236}">
                <a16:creationId xmlns:a16="http://schemas.microsoft.com/office/drawing/2014/main" id="{A0B9D519-2D08-49D0-BA96-6CA08AC8A8E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631398" y="740702"/>
            <a:ext cx="6566582" cy="5173483"/>
          </a:xfrm>
          <a:prstGeom prst="rect">
            <a:avLst/>
          </a:prstGeom>
        </p:spPr>
      </p:pic>
    </p:spTree>
    <p:extLst>
      <p:ext uri="{BB962C8B-B14F-4D97-AF65-F5344CB8AC3E}">
        <p14:creationId xmlns:p14="http://schemas.microsoft.com/office/powerpoint/2010/main" val="150293164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1" y="-8466"/>
            <a:ext cx="12190413"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6871" y="2404534"/>
            <a:ext cx="7765925" cy="1646302"/>
          </a:xfrm>
        </p:spPr>
        <p:txBody>
          <a:bodyPr anchor="b">
            <a:noAutofit/>
          </a:bodyPr>
          <a:lstStyle>
            <a:lvl1pPr algn="r">
              <a:defRPr sz="4981">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6871" y="4050835"/>
            <a:ext cx="7765925" cy="1096899"/>
          </a:xfrm>
        </p:spPr>
        <p:txBody>
          <a:bodyPr anchor="t"/>
          <a:lstStyle>
            <a:lvl1pPr marL="0" indent="0" algn="r">
              <a:buNone/>
              <a:defRPr>
                <a:solidFill>
                  <a:schemeClr val="tx1">
                    <a:lumMod val="50000"/>
                    <a:lumOff val="50000"/>
                  </a:schemeClr>
                </a:solidFill>
              </a:defRPr>
            </a:lvl1pPr>
            <a:lvl2pPr marL="421700" indent="0" algn="ctr">
              <a:buNone/>
              <a:defRPr>
                <a:solidFill>
                  <a:schemeClr val="tx1">
                    <a:tint val="75000"/>
                  </a:schemeClr>
                </a:solidFill>
              </a:defRPr>
            </a:lvl2pPr>
            <a:lvl3pPr marL="843399" indent="0" algn="ctr">
              <a:buNone/>
              <a:defRPr>
                <a:solidFill>
                  <a:schemeClr val="tx1">
                    <a:tint val="75000"/>
                  </a:schemeClr>
                </a:solidFill>
              </a:defRPr>
            </a:lvl3pPr>
            <a:lvl4pPr marL="1265099" indent="0" algn="ctr">
              <a:buNone/>
              <a:defRPr>
                <a:solidFill>
                  <a:schemeClr val="tx1">
                    <a:tint val="75000"/>
                  </a:schemeClr>
                </a:solidFill>
              </a:defRPr>
            </a:lvl4pPr>
            <a:lvl5pPr marL="1686799" indent="0" algn="ctr">
              <a:buNone/>
              <a:defRPr>
                <a:solidFill>
                  <a:schemeClr val="tx1">
                    <a:tint val="75000"/>
                  </a:schemeClr>
                </a:solidFill>
              </a:defRPr>
            </a:lvl5pPr>
            <a:lvl6pPr marL="2108499" indent="0" algn="ctr">
              <a:buNone/>
              <a:defRPr>
                <a:solidFill>
                  <a:schemeClr val="tx1">
                    <a:tint val="75000"/>
                  </a:schemeClr>
                </a:solidFill>
              </a:defRPr>
            </a:lvl6pPr>
            <a:lvl7pPr marL="2530198" indent="0" algn="ctr">
              <a:buNone/>
              <a:defRPr>
                <a:solidFill>
                  <a:schemeClr val="tx1">
                    <a:tint val="75000"/>
                  </a:schemeClr>
                </a:solidFill>
              </a:defRPr>
            </a:lvl7pPr>
            <a:lvl8pPr marL="2951898" indent="0" algn="ctr">
              <a:buNone/>
              <a:defRPr>
                <a:solidFill>
                  <a:schemeClr val="tx1">
                    <a:tint val="75000"/>
                  </a:schemeClr>
                </a:solidFill>
              </a:defRPr>
            </a:lvl8pPr>
            <a:lvl9pPr marL="3373599"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pPr/>
              <a:t>7/7/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545090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and two pictures">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90A2595F-A737-4D92-946C-EC0BBF885334}"/>
              </a:ext>
            </a:extLst>
          </p:cNvPr>
          <p:cNvSpPr>
            <a:spLocks noGrp="1"/>
          </p:cNvSpPr>
          <p:nvPr>
            <p:ph type="title"/>
          </p:nvPr>
        </p:nvSpPr>
        <p:spPr>
          <a:xfrm>
            <a:off x="1774726" y="426127"/>
            <a:ext cx="6048672" cy="972716"/>
          </a:xfrm>
        </p:spPr>
        <p:txBody>
          <a:bodyPr/>
          <a:lstStyle/>
          <a:p>
            <a:r>
              <a:rPr lang="da-DK"/>
              <a:t>Click to edit Master title style</a:t>
            </a:r>
            <a:endParaRPr lang="da-DK" dirty="0"/>
          </a:p>
        </p:txBody>
      </p:sp>
      <p:sp>
        <p:nvSpPr>
          <p:cNvPr id="3" name="Content Placeholder 2"/>
          <p:cNvSpPr>
            <a:spLocks noGrp="1"/>
          </p:cNvSpPr>
          <p:nvPr>
            <p:ph idx="1"/>
          </p:nvPr>
        </p:nvSpPr>
        <p:spPr>
          <a:xfrm>
            <a:off x="1774726" y="1706328"/>
            <a:ext cx="6048672" cy="4545578"/>
          </a:xfrm>
        </p:spPr>
        <p:txBody>
          <a:bodyPr/>
          <a:lstStyle/>
          <a:p>
            <a:pPr lvl="0"/>
            <a:r>
              <a:rPr lang="da-DK"/>
              <a:t>Edit Master text styles</a:t>
            </a:r>
          </a:p>
          <a:p>
            <a:pPr lvl="1"/>
            <a:r>
              <a:rPr lang="da-DK"/>
              <a:t>Second level</a:t>
            </a:r>
          </a:p>
          <a:p>
            <a:pPr lvl="2"/>
            <a:r>
              <a:rPr lang="da-DK"/>
              <a:t>Third level</a:t>
            </a:r>
          </a:p>
          <a:p>
            <a:pPr lvl="3"/>
            <a:r>
              <a:rPr lang="da-DK"/>
              <a:t>Fourth level</a:t>
            </a:r>
          </a:p>
          <a:p>
            <a:pPr lvl="4"/>
            <a:r>
              <a:rPr lang="da-DK"/>
              <a:t>Fifth level</a:t>
            </a:r>
            <a:endParaRPr lang="da-DK" dirty="0"/>
          </a:p>
        </p:txBody>
      </p:sp>
      <p:sp>
        <p:nvSpPr>
          <p:cNvPr id="10" name="Picture Placeholder 9">
            <a:extLst>
              <a:ext uri="{FF2B5EF4-FFF2-40B4-BE49-F238E27FC236}">
                <a16:creationId xmlns:a16="http://schemas.microsoft.com/office/drawing/2014/main" id="{565D29D0-EA4F-4318-8A82-6C2B200A712B}"/>
              </a:ext>
            </a:extLst>
          </p:cNvPr>
          <p:cNvSpPr>
            <a:spLocks noGrp="1"/>
          </p:cNvSpPr>
          <p:nvPr>
            <p:ph type="pic" sz="quarter" idx="13" hasCustomPrompt="1"/>
          </p:nvPr>
        </p:nvSpPr>
        <p:spPr>
          <a:xfrm>
            <a:off x="8331213" y="849734"/>
            <a:ext cx="3859200" cy="2505600"/>
          </a:xfrm>
        </p:spPr>
        <p:txBody>
          <a:bodyPr/>
          <a:lstStyle>
            <a:lvl1pPr marL="0" indent="0" algn="ctr">
              <a:buNone/>
              <a:defRPr sz="1200"/>
            </a:lvl1pPr>
          </a:lstStyle>
          <a:p>
            <a:r>
              <a:rPr lang="da-DK" dirty="0"/>
              <a:t>Click the placeholder and paste image via Skyfish icon</a:t>
            </a:r>
            <a:endParaRPr lang="da-DK"/>
          </a:p>
        </p:txBody>
      </p:sp>
      <p:sp>
        <p:nvSpPr>
          <p:cNvPr id="12" name="Picture Placeholder 11">
            <a:extLst>
              <a:ext uri="{FF2B5EF4-FFF2-40B4-BE49-F238E27FC236}">
                <a16:creationId xmlns:a16="http://schemas.microsoft.com/office/drawing/2014/main" id="{25B8511D-E10E-40C3-82A6-3DCDC97CF6C2}"/>
              </a:ext>
            </a:extLst>
          </p:cNvPr>
          <p:cNvSpPr>
            <a:spLocks noGrp="1"/>
          </p:cNvSpPr>
          <p:nvPr>
            <p:ph type="pic" sz="quarter" idx="14" hasCustomPrompt="1"/>
          </p:nvPr>
        </p:nvSpPr>
        <p:spPr>
          <a:xfrm>
            <a:off x="8331213" y="3563718"/>
            <a:ext cx="3859200" cy="2505600"/>
          </a:xfrm>
        </p:spPr>
        <p:txBody>
          <a:bodyPr/>
          <a:lstStyle>
            <a:lvl1pPr marL="0" indent="0" algn="ctr">
              <a:buNone/>
              <a:defRPr sz="1200"/>
            </a:lvl1pPr>
          </a:lstStyle>
          <a:p>
            <a:r>
              <a:rPr lang="da-DK" dirty="0"/>
              <a:t>Click the placeholder and paste image via Skyfish icon</a:t>
            </a:r>
            <a:endParaRPr lang="da-DK"/>
          </a:p>
          <a:p>
            <a:endParaRPr lang="da-DK" dirty="0"/>
          </a:p>
        </p:txBody>
      </p:sp>
      <p:sp>
        <p:nvSpPr>
          <p:cNvPr id="2" name="Footer Placeholder 1">
            <a:extLst>
              <a:ext uri="{FF2B5EF4-FFF2-40B4-BE49-F238E27FC236}">
                <a16:creationId xmlns:a16="http://schemas.microsoft.com/office/drawing/2014/main" id="{D2986237-C7E2-4498-82A4-361A340A6504}"/>
              </a:ext>
            </a:extLst>
          </p:cNvPr>
          <p:cNvSpPr>
            <a:spLocks noGrp="1"/>
          </p:cNvSpPr>
          <p:nvPr>
            <p:ph type="ftr" sz="quarter" idx="15"/>
          </p:nvPr>
        </p:nvSpPr>
        <p:spPr/>
        <p:txBody>
          <a:bodyPr/>
          <a:lstStyle/>
          <a:p>
            <a:endParaRPr lang="da-DK" dirty="0"/>
          </a:p>
        </p:txBody>
      </p:sp>
      <p:sp>
        <p:nvSpPr>
          <p:cNvPr id="6" name="Slide Number Placeholder 5">
            <a:extLst>
              <a:ext uri="{FF2B5EF4-FFF2-40B4-BE49-F238E27FC236}">
                <a16:creationId xmlns:a16="http://schemas.microsoft.com/office/drawing/2014/main" id="{21664EEF-2B63-484E-803A-4FCD66F243A5}"/>
              </a:ext>
            </a:extLst>
          </p:cNvPr>
          <p:cNvSpPr>
            <a:spLocks noGrp="1"/>
          </p:cNvSpPr>
          <p:nvPr>
            <p:ph type="sldNum" sz="quarter" idx="16"/>
          </p:nvPr>
        </p:nvSpPr>
        <p:spPr/>
        <p:txBody>
          <a:bodyPr/>
          <a:lstStyle/>
          <a:p>
            <a:fld id="{103EA872-A674-449B-A120-B97244F8E91D}" type="slidenum">
              <a:rPr lang="da-DK" smtClean="0"/>
              <a:pPr/>
              <a:t>‹#›</a:t>
            </a:fld>
            <a:endParaRPr lang="da-DK" dirty="0"/>
          </a:p>
        </p:txBody>
      </p:sp>
    </p:spTree>
    <p:extLst>
      <p:ext uri="{BB962C8B-B14F-4D97-AF65-F5344CB8AC3E}">
        <p14:creationId xmlns:p14="http://schemas.microsoft.com/office/powerpoint/2010/main" val="3922670733"/>
      </p:ext>
    </p:extLst>
  </p:cSld>
  <p:clrMapOvr>
    <a:masterClrMapping/>
  </p:clrMapOvr>
  <p:extLst>
    <p:ext uri="{DCECCB84-F9BA-43D5-87BE-67443E8EF086}">
      <p15:sldGuideLst xmlns:p15="http://schemas.microsoft.com/office/powerpoint/2012/main">
        <p15:guide id="1" pos="4927" userDrawn="1">
          <p15:clr>
            <a:srgbClr val="F26B43"/>
          </p15:clr>
        </p15:guide>
        <p15:guide id="2" pos="5247" userDrawn="1">
          <p15:clr>
            <a:srgbClr val="F26B43"/>
          </p15:clr>
        </p15:guide>
        <p15:guide id="3" pos="1117" userDrawn="1">
          <p15:clr>
            <a:srgbClr val="F26B43"/>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320">
                <a:solidFill>
                  <a:schemeClr val="tx1"/>
                </a:solidFill>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p:txBody>
          <a:bodyPr/>
          <a:lstStyle>
            <a:lvl1pPr marL="316274" indent="-316274">
              <a:buClr>
                <a:schemeClr val="tx1"/>
              </a:buClr>
              <a:buSzPct val="89000"/>
              <a:buFont typeface="Wingdings" pitchFamily="2" charset="2"/>
              <a:buChar char="§"/>
              <a:defRPr/>
            </a:lvl1pPr>
            <a:lvl2pPr marL="685262" indent="-263563">
              <a:buClr>
                <a:schemeClr val="tx1"/>
              </a:buClr>
              <a:buSzPct val="89000"/>
              <a:buFont typeface="Wingdings" pitchFamily="2" charset="2"/>
              <a:buChar char="§"/>
              <a:defRPr/>
            </a:lvl2pPr>
            <a:lvl3pPr marL="1054249" indent="-210850">
              <a:buClr>
                <a:schemeClr val="tx1"/>
              </a:buClr>
              <a:buSzPct val="89000"/>
              <a:buFont typeface="Wingdings" pitchFamily="2" charset="2"/>
              <a:buChar char="§"/>
              <a:defRPr/>
            </a:lvl3pPr>
            <a:lvl4pPr marL="1475949" indent="-210850">
              <a:buClr>
                <a:schemeClr val="tx1"/>
              </a:buClr>
              <a:buSzPct val="89000"/>
              <a:buFont typeface="Wingdings" pitchFamily="2" charset="2"/>
              <a:buChar char="§"/>
              <a:defRPr/>
            </a:lvl4pPr>
            <a:lvl5pPr marL="1897649" indent="-210850">
              <a:buClr>
                <a:schemeClr val="tx1"/>
              </a:buClr>
              <a:buSzPct val="89000"/>
              <a:buFont typeface="Wingdings" pitchFamily="2" charset="2"/>
              <a:buChar cha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B61BEF0D-F0BB-DE4B-95CE-6DB70DBA9567}" type="datetimeFigureOut">
              <a:rPr lang="en-US" smtClean="0"/>
              <a:pPr/>
              <a:t>7/7/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93989257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248" y="2700869"/>
            <a:ext cx="8595549" cy="1826581"/>
          </a:xfrm>
        </p:spPr>
        <p:txBody>
          <a:bodyPr anchor="b"/>
          <a:lstStyle>
            <a:lvl1pPr algn="l">
              <a:defRPr sz="3690" b="0" cap="none"/>
            </a:lvl1pPr>
          </a:lstStyle>
          <a:p>
            <a:r>
              <a:rPr lang="en-US"/>
              <a:t>Click to edit Master title style</a:t>
            </a:r>
            <a:endParaRPr lang="en-US" dirty="0"/>
          </a:p>
        </p:txBody>
      </p:sp>
      <p:sp>
        <p:nvSpPr>
          <p:cNvPr id="3" name="Text Placeholder 2"/>
          <p:cNvSpPr>
            <a:spLocks noGrp="1"/>
          </p:cNvSpPr>
          <p:nvPr>
            <p:ph type="body" idx="1"/>
          </p:nvPr>
        </p:nvSpPr>
        <p:spPr>
          <a:xfrm>
            <a:off x="677248" y="4527450"/>
            <a:ext cx="8595549" cy="860400"/>
          </a:xfrm>
        </p:spPr>
        <p:txBody>
          <a:bodyPr anchor="t"/>
          <a:lstStyle>
            <a:lvl1pPr marL="0" indent="0" algn="l">
              <a:buNone/>
              <a:defRPr sz="1845">
                <a:solidFill>
                  <a:schemeClr val="tx1">
                    <a:lumMod val="50000"/>
                    <a:lumOff val="50000"/>
                  </a:schemeClr>
                </a:solidFill>
              </a:defRPr>
            </a:lvl1pPr>
            <a:lvl2pPr marL="421700" indent="0">
              <a:buNone/>
              <a:defRPr sz="1661">
                <a:solidFill>
                  <a:schemeClr val="tx1">
                    <a:tint val="75000"/>
                  </a:schemeClr>
                </a:solidFill>
              </a:defRPr>
            </a:lvl2pPr>
            <a:lvl3pPr marL="843399" indent="0">
              <a:buNone/>
              <a:defRPr sz="1475">
                <a:solidFill>
                  <a:schemeClr val="tx1">
                    <a:tint val="75000"/>
                  </a:schemeClr>
                </a:solidFill>
              </a:defRPr>
            </a:lvl3pPr>
            <a:lvl4pPr marL="1265099" indent="0">
              <a:buNone/>
              <a:defRPr sz="1291">
                <a:solidFill>
                  <a:schemeClr val="tx1">
                    <a:tint val="75000"/>
                  </a:schemeClr>
                </a:solidFill>
              </a:defRPr>
            </a:lvl4pPr>
            <a:lvl5pPr marL="1686799" indent="0">
              <a:buNone/>
              <a:defRPr sz="1291">
                <a:solidFill>
                  <a:schemeClr val="tx1">
                    <a:tint val="75000"/>
                  </a:schemeClr>
                </a:solidFill>
              </a:defRPr>
            </a:lvl5pPr>
            <a:lvl6pPr marL="2108499" indent="0">
              <a:buNone/>
              <a:defRPr sz="1291">
                <a:solidFill>
                  <a:schemeClr val="tx1">
                    <a:tint val="75000"/>
                  </a:schemeClr>
                </a:solidFill>
              </a:defRPr>
            </a:lvl6pPr>
            <a:lvl7pPr marL="2530198" indent="0">
              <a:buNone/>
              <a:defRPr sz="1291">
                <a:solidFill>
                  <a:schemeClr val="tx1">
                    <a:tint val="75000"/>
                  </a:schemeClr>
                </a:solidFill>
              </a:defRPr>
            </a:lvl7pPr>
            <a:lvl8pPr marL="2951898" indent="0">
              <a:buNone/>
              <a:defRPr sz="1291">
                <a:solidFill>
                  <a:schemeClr val="tx1">
                    <a:tint val="75000"/>
                  </a:schemeClr>
                </a:solidFill>
              </a:defRPr>
            </a:lvl8pPr>
            <a:lvl9pPr marL="3373599" indent="0">
              <a:buNone/>
              <a:defRPr sz="1291">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61BEF0D-F0BB-DE4B-95CE-6DB70DBA9567}" type="datetimeFigureOut">
              <a:rPr lang="en-US" smtClean="0"/>
              <a:pPr/>
              <a:t>7/7/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1492461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248" y="2160589"/>
            <a:ext cx="4183490" cy="38807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309" y="2160592"/>
            <a:ext cx="4183489" cy="38807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B712588-04B1-427B-82EE-E8DB90309F08}" type="datetimeFigureOut">
              <a:rPr lang="en-US" smtClean="0"/>
              <a:t>7/7/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FF9F0C5-380F-41C2-899A-BAC0F0927E16}" type="slidenum">
              <a:rPr lang="en-US" smtClean="0"/>
              <a:t>‹#›</a:t>
            </a:fld>
            <a:endParaRPr lang="en-US" dirty="0"/>
          </a:p>
        </p:txBody>
      </p:sp>
    </p:spTree>
    <p:extLst>
      <p:ext uri="{BB962C8B-B14F-4D97-AF65-F5344CB8AC3E}">
        <p14:creationId xmlns:p14="http://schemas.microsoft.com/office/powerpoint/2010/main" val="355888306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659" y="2160983"/>
            <a:ext cx="4185078" cy="576262"/>
          </a:xfrm>
        </p:spPr>
        <p:txBody>
          <a:bodyPr anchor="b">
            <a:noAutofit/>
          </a:bodyPr>
          <a:lstStyle>
            <a:lvl1pPr marL="0" indent="0">
              <a:buNone/>
              <a:defRPr sz="2213" b="0"/>
            </a:lvl1pPr>
            <a:lvl2pPr marL="421700" indent="0">
              <a:buNone/>
              <a:defRPr sz="1845" b="1"/>
            </a:lvl2pPr>
            <a:lvl3pPr marL="843399" indent="0">
              <a:buNone/>
              <a:defRPr sz="1661" b="1"/>
            </a:lvl3pPr>
            <a:lvl4pPr marL="1265099" indent="0">
              <a:buNone/>
              <a:defRPr sz="1475" b="1"/>
            </a:lvl4pPr>
            <a:lvl5pPr marL="1686799" indent="0">
              <a:buNone/>
              <a:defRPr sz="1475" b="1"/>
            </a:lvl5pPr>
            <a:lvl6pPr marL="2108499" indent="0">
              <a:buNone/>
              <a:defRPr sz="1475" b="1"/>
            </a:lvl6pPr>
            <a:lvl7pPr marL="2530198" indent="0">
              <a:buNone/>
              <a:defRPr sz="1475" b="1"/>
            </a:lvl7pPr>
            <a:lvl8pPr marL="2951898" indent="0">
              <a:buNone/>
              <a:defRPr sz="1475" b="1"/>
            </a:lvl8pPr>
            <a:lvl9pPr marL="3373599" indent="0">
              <a:buNone/>
              <a:defRPr sz="1475" b="1"/>
            </a:lvl9pPr>
          </a:lstStyle>
          <a:p>
            <a:pPr lvl="0"/>
            <a:r>
              <a:rPr lang="en-US"/>
              <a:t>Edit Master text styles</a:t>
            </a:r>
          </a:p>
        </p:txBody>
      </p:sp>
      <p:sp>
        <p:nvSpPr>
          <p:cNvPr id="4" name="Content Placeholder 3"/>
          <p:cNvSpPr>
            <a:spLocks noGrp="1"/>
          </p:cNvSpPr>
          <p:nvPr>
            <p:ph sz="half" idx="2"/>
          </p:nvPr>
        </p:nvSpPr>
        <p:spPr>
          <a:xfrm>
            <a:off x="675659" y="2737248"/>
            <a:ext cx="4185078" cy="3304117"/>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7720" y="2160983"/>
            <a:ext cx="4185073" cy="576262"/>
          </a:xfrm>
        </p:spPr>
        <p:txBody>
          <a:bodyPr anchor="b">
            <a:noAutofit/>
          </a:bodyPr>
          <a:lstStyle>
            <a:lvl1pPr marL="0" indent="0">
              <a:buNone/>
              <a:defRPr sz="2213" b="0"/>
            </a:lvl1pPr>
            <a:lvl2pPr marL="421700" indent="0">
              <a:buNone/>
              <a:defRPr sz="1845" b="1"/>
            </a:lvl2pPr>
            <a:lvl3pPr marL="843399" indent="0">
              <a:buNone/>
              <a:defRPr sz="1661" b="1"/>
            </a:lvl3pPr>
            <a:lvl4pPr marL="1265099" indent="0">
              <a:buNone/>
              <a:defRPr sz="1475" b="1"/>
            </a:lvl4pPr>
            <a:lvl5pPr marL="1686799" indent="0">
              <a:buNone/>
              <a:defRPr sz="1475" b="1"/>
            </a:lvl5pPr>
            <a:lvl6pPr marL="2108499" indent="0">
              <a:buNone/>
              <a:defRPr sz="1475" b="1"/>
            </a:lvl6pPr>
            <a:lvl7pPr marL="2530198" indent="0">
              <a:buNone/>
              <a:defRPr sz="1475" b="1"/>
            </a:lvl7pPr>
            <a:lvl8pPr marL="2951898" indent="0">
              <a:buNone/>
              <a:defRPr sz="1475" b="1"/>
            </a:lvl8pPr>
            <a:lvl9pPr marL="3373599" indent="0">
              <a:buNone/>
              <a:defRPr sz="1475" b="1"/>
            </a:lvl9pPr>
          </a:lstStyle>
          <a:p>
            <a:pPr lvl="0"/>
            <a:r>
              <a:rPr lang="en-US"/>
              <a:t>Edit Master text styles</a:t>
            </a:r>
          </a:p>
        </p:txBody>
      </p:sp>
      <p:sp>
        <p:nvSpPr>
          <p:cNvPr id="6" name="Content Placeholder 5"/>
          <p:cNvSpPr>
            <a:spLocks noGrp="1"/>
          </p:cNvSpPr>
          <p:nvPr>
            <p:ph sz="quarter" idx="4"/>
          </p:nvPr>
        </p:nvSpPr>
        <p:spPr>
          <a:xfrm>
            <a:off x="5087724" y="2737248"/>
            <a:ext cx="4185072" cy="3304117"/>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smtClean="0"/>
              <a:pPr/>
              <a:t>7/7/202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83466103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247" y="609602"/>
            <a:ext cx="8595549"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smtClean="0"/>
              <a:pPr/>
              <a:t>7/7/202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44896243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smtClean="0"/>
              <a:pPr/>
              <a:t>7/7/2025</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03347092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247" y="1498604"/>
            <a:ext cx="3854026" cy="1278466"/>
          </a:xfrm>
        </p:spPr>
        <p:txBody>
          <a:bodyPr anchor="b">
            <a:normAutofit/>
          </a:bodyPr>
          <a:lstStyle>
            <a:lvl1pPr>
              <a:defRPr sz="1845"/>
            </a:lvl1pPr>
          </a:lstStyle>
          <a:p>
            <a:r>
              <a:rPr lang="en-US"/>
              <a:t>Click to edit Master title style</a:t>
            </a:r>
            <a:endParaRPr lang="en-US" dirty="0"/>
          </a:p>
        </p:txBody>
      </p:sp>
      <p:sp>
        <p:nvSpPr>
          <p:cNvPr id="3" name="Content Placeholder 2"/>
          <p:cNvSpPr>
            <a:spLocks noGrp="1"/>
          </p:cNvSpPr>
          <p:nvPr>
            <p:ph idx="1"/>
          </p:nvPr>
        </p:nvSpPr>
        <p:spPr>
          <a:xfrm>
            <a:off x="4759843" y="514927"/>
            <a:ext cx="4512954" cy="5526437"/>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247" y="2777070"/>
            <a:ext cx="3854026" cy="2584449"/>
          </a:xfrm>
        </p:spPr>
        <p:txBody>
          <a:bodyPr>
            <a:normAutofit/>
          </a:bodyPr>
          <a:lstStyle>
            <a:lvl1pPr marL="0" indent="0">
              <a:buNone/>
              <a:defRPr sz="1291"/>
            </a:lvl1pPr>
            <a:lvl2pPr marL="421573" indent="0">
              <a:buNone/>
              <a:defRPr sz="1291"/>
            </a:lvl2pPr>
            <a:lvl3pPr marL="843146" indent="0">
              <a:buNone/>
              <a:defRPr sz="1107"/>
            </a:lvl3pPr>
            <a:lvl4pPr marL="1264720" indent="0">
              <a:buNone/>
              <a:defRPr sz="923"/>
            </a:lvl4pPr>
            <a:lvl5pPr marL="1686293" indent="0">
              <a:buNone/>
              <a:defRPr sz="923"/>
            </a:lvl5pPr>
            <a:lvl6pPr marL="2107866" indent="0">
              <a:buNone/>
              <a:defRPr sz="923"/>
            </a:lvl6pPr>
            <a:lvl7pPr marL="2529439" indent="0">
              <a:buNone/>
              <a:defRPr sz="923"/>
            </a:lvl7pPr>
            <a:lvl8pPr marL="2951013" indent="0">
              <a:buNone/>
              <a:defRPr sz="923"/>
            </a:lvl8pPr>
            <a:lvl9pPr marL="3372587" indent="0">
              <a:buNone/>
              <a:defRPr sz="923"/>
            </a:lvl9pPr>
          </a:lstStyle>
          <a:p>
            <a:pPr lvl="0"/>
            <a:r>
              <a:rPr lang="en-US"/>
              <a:t>Edit Master text styles</a:t>
            </a:r>
          </a:p>
        </p:txBody>
      </p:sp>
      <p:sp>
        <p:nvSpPr>
          <p:cNvPr id="5" name="Date Placeholder 4"/>
          <p:cNvSpPr>
            <a:spLocks noGrp="1"/>
          </p:cNvSpPr>
          <p:nvPr>
            <p:ph type="dt" sz="half" idx="10"/>
          </p:nvPr>
        </p:nvSpPr>
        <p:spPr/>
        <p:txBody>
          <a:bodyPr/>
          <a:lstStyle/>
          <a:p>
            <a:fld id="{42A54C80-263E-416B-A8E0-580EDEADCBDC}" type="datetimeFigureOut">
              <a:rPr lang="en-US" smtClean="0"/>
              <a:t>7/7/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19954A3-9DFD-4C44-94BA-B95130A3BA1C}" type="slidenum">
              <a:rPr lang="en-US" smtClean="0"/>
              <a:t>‹#›</a:t>
            </a:fld>
            <a:endParaRPr lang="en-US" dirty="0"/>
          </a:p>
        </p:txBody>
      </p:sp>
    </p:spTree>
    <p:extLst>
      <p:ext uri="{BB962C8B-B14F-4D97-AF65-F5344CB8AC3E}">
        <p14:creationId xmlns:p14="http://schemas.microsoft.com/office/powerpoint/2010/main" val="338134866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246" y="4800602"/>
            <a:ext cx="8595548" cy="566738"/>
          </a:xfrm>
        </p:spPr>
        <p:txBody>
          <a:bodyPr anchor="b">
            <a:normAutofit/>
          </a:bodyPr>
          <a:lstStyle>
            <a:lvl1pPr algn="l">
              <a:defRPr sz="2213"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247" y="609600"/>
            <a:ext cx="8595549" cy="3845718"/>
          </a:xfrm>
        </p:spPr>
        <p:txBody>
          <a:bodyPr anchor="t">
            <a:normAutofit/>
          </a:bodyPr>
          <a:lstStyle>
            <a:lvl1pPr marL="0" indent="0" algn="ctr">
              <a:buNone/>
              <a:defRPr sz="1475"/>
            </a:lvl1pPr>
            <a:lvl2pPr marL="421700" indent="0">
              <a:buNone/>
              <a:defRPr sz="1475"/>
            </a:lvl2pPr>
            <a:lvl3pPr marL="843399" indent="0">
              <a:buNone/>
              <a:defRPr sz="1475"/>
            </a:lvl3pPr>
            <a:lvl4pPr marL="1265099" indent="0">
              <a:buNone/>
              <a:defRPr sz="1475"/>
            </a:lvl4pPr>
            <a:lvl5pPr marL="1686799" indent="0">
              <a:buNone/>
              <a:defRPr sz="1475"/>
            </a:lvl5pPr>
            <a:lvl6pPr marL="2108499" indent="0">
              <a:buNone/>
              <a:defRPr sz="1475"/>
            </a:lvl6pPr>
            <a:lvl7pPr marL="2530198" indent="0">
              <a:buNone/>
              <a:defRPr sz="1475"/>
            </a:lvl7pPr>
            <a:lvl8pPr marL="2951898" indent="0">
              <a:buNone/>
              <a:defRPr sz="1475"/>
            </a:lvl8pPr>
            <a:lvl9pPr marL="3373599" indent="0">
              <a:buNone/>
              <a:defRPr sz="1475"/>
            </a:lvl9pPr>
          </a:lstStyle>
          <a:p>
            <a:r>
              <a:rPr lang="en-US"/>
              <a:t>Click icon to add picture</a:t>
            </a:r>
            <a:endParaRPr lang="en-US" dirty="0"/>
          </a:p>
        </p:txBody>
      </p:sp>
      <p:sp>
        <p:nvSpPr>
          <p:cNvPr id="4" name="Text Placeholder 3"/>
          <p:cNvSpPr>
            <a:spLocks noGrp="1"/>
          </p:cNvSpPr>
          <p:nvPr>
            <p:ph type="body" sz="half" idx="2"/>
          </p:nvPr>
        </p:nvSpPr>
        <p:spPr>
          <a:xfrm>
            <a:off x="677246" y="5367340"/>
            <a:ext cx="8595548" cy="674024"/>
          </a:xfrm>
        </p:spPr>
        <p:txBody>
          <a:bodyPr>
            <a:normAutofit/>
          </a:bodyPr>
          <a:lstStyle>
            <a:lvl1pPr marL="0" indent="0">
              <a:buNone/>
              <a:defRPr sz="1107"/>
            </a:lvl1pPr>
            <a:lvl2pPr marL="421700" indent="0">
              <a:buNone/>
              <a:defRPr sz="1107"/>
            </a:lvl2pPr>
            <a:lvl3pPr marL="843399" indent="0">
              <a:buNone/>
              <a:defRPr sz="923"/>
            </a:lvl3pPr>
            <a:lvl4pPr marL="1265099" indent="0">
              <a:buNone/>
              <a:defRPr sz="830"/>
            </a:lvl4pPr>
            <a:lvl5pPr marL="1686799" indent="0">
              <a:buNone/>
              <a:defRPr sz="830"/>
            </a:lvl5pPr>
            <a:lvl6pPr marL="2108499" indent="0">
              <a:buNone/>
              <a:defRPr sz="830"/>
            </a:lvl6pPr>
            <a:lvl7pPr marL="2530198" indent="0">
              <a:buNone/>
              <a:defRPr sz="830"/>
            </a:lvl7pPr>
            <a:lvl8pPr marL="2951898" indent="0">
              <a:buNone/>
              <a:defRPr sz="830"/>
            </a:lvl8pPr>
            <a:lvl9pPr marL="3373599" indent="0">
              <a:buNone/>
              <a:defRPr sz="830"/>
            </a:lvl9pPr>
          </a:lstStyle>
          <a:p>
            <a:pPr lvl="0"/>
            <a:r>
              <a:rPr lang="en-US"/>
              <a:t>Edit Master text styles</a:t>
            </a:r>
          </a:p>
        </p:txBody>
      </p:sp>
      <p:sp>
        <p:nvSpPr>
          <p:cNvPr id="5" name="Date Placeholder 4"/>
          <p:cNvSpPr>
            <a:spLocks noGrp="1"/>
          </p:cNvSpPr>
          <p:nvPr>
            <p:ph type="dt" sz="half" idx="10"/>
          </p:nvPr>
        </p:nvSpPr>
        <p:spPr/>
        <p:txBody>
          <a:bodyPr/>
          <a:lstStyle/>
          <a:p>
            <a:fld id="{B61BEF0D-F0BB-DE4B-95CE-6DB70DBA9567}" type="datetimeFigureOut">
              <a:rPr lang="en-US" smtClean="0"/>
              <a:pPr/>
              <a:t>7/7/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28344522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248" y="609603"/>
            <a:ext cx="8595549" cy="3403600"/>
          </a:xfrm>
        </p:spPr>
        <p:txBody>
          <a:bodyPr anchor="ctr">
            <a:normAutofit/>
          </a:bodyPr>
          <a:lstStyle>
            <a:lvl1pPr algn="l">
              <a:defRPr sz="4058" b="0" cap="none"/>
            </a:lvl1pPr>
          </a:lstStyle>
          <a:p>
            <a:r>
              <a:rPr lang="en-US"/>
              <a:t>Click to edit Master title style</a:t>
            </a:r>
            <a:endParaRPr lang="en-US" dirty="0"/>
          </a:p>
        </p:txBody>
      </p:sp>
      <p:sp>
        <p:nvSpPr>
          <p:cNvPr id="3" name="Text Placeholder 2"/>
          <p:cNvSpPr>
            <a:spLocks noGrp="1"/>
          </p:cNvSpPr>
          <p:nvPr>
            <p:ph type="body" idx="1"/>
          </p:nvPr>
        </p:nvSpPr>
        <p:spPr>
          <a:xfrm>
            <a:off x="677248" y="4470402"/>
            <a:ext cx="8595549" cy="1570962"/>
          </a:xfrm>
        </p:spPr>
        <p:txBody>
          <a:bodyPr anchor="ctr">
            <a:normAutofit/>
          </a:bodyPr>
          <a:lstStyle>
            <a:lvl1pPr marL="0" indent="0" algn="l">
              <a:buNone/>
              <a:defRPr sz="1661">
                <a:solidFill>
                  <a:schemeClr val="tx1">
                    <a:lumMod val="75000"/>
                    <a:lumOff val="25000"/>
                  </a:schemeClr>
                </a:solidFill>
              </a:defRPr>
            </a:lvl1pPr>
            <a:lvl2pPr marL="421700" indent="0">
              <a:buNone/>
              <a:defRPr sz="1661">
                <a:solidFill>
                  <a:schemeClr val="tx1">
                    <a:tint val="75000"/>
                  </a:schemeClr>
                </a:solidFill>
              </a:defRPr>
            </a:lvl2pPr>
            <a:lvl3pPr marL="843399" indent="0">
              <a:buNone/>
              <a:defRPr sz="1475">
                <a:solidFill>
                  <a:schemeClr val="tx1">
                    <a:tint val="75000"/>
                  </a:schemeClr>
                </a:solidFill>
              </a:defRPr>
            </a:lvl3pPr>
            <a:lvl4pPr marL="1265099" indent="0">
              <a:buNone/>
              <a:defRPr sz="1291">
                <a:solidFill>
                  <a:schemeClr val="tx1">
                    <a:tint val="75000"/>
                  </a:schemeClr>
                </a:solidFill>
              </a:defRPr>
            </a:lvl4pPr>
            <a:lvl5pPr marL="1686799" indent="0">
              <a:buNone/>
              <a:defRPr sz="1291">
                <a:solidFill>
                  <a:schemeClr val="tx1">
                    <a:tint val="75000"/>
                  </a:schemeClr>
                </a:solidFill>
              </a:defRPr>
            </a:lvl5pPr>
            <a:lvl6pPr marL="2108499" indent="0">
              <a:buNone/>
              <a:defRPr sz="1291">
                <a:solidFill>
                  <a:schemeClr val="tx1">
                    <a:tint val="75000"/>
                  </a:schemeClr>
                </a:solidFill>
              </a:defRPr>
            </a:lvl6pPr>
            <a:lvl7pPr marL="2530198" indent="0">
              <a:buNone/>
              <a:defRPr sz="1291">
                <a:solidFill>
                  <a:schemeClr val="tx1">
                    <a:tint val="75000"/>
                  </a:schemeClr>
                </a:solidFill>
              </a:defRPr>
            </a:lvl7pPr>
            <a:lvl8pPr marL="2951898" indent="0">
              <a:buNone/>
              <a:defRPr sz="1291">
                <a:solidFill>
                  <a:schemeClr val="tx1">
                    <a:tint val="75000"/>
                  </a:schemeClr>
                </a:solidFill>
              </a:defRPr>
            </a:lvl8pPr>
            <a:lvl9pPr marL="3373599" indent="0">
              <a:buNone/>
              <a:defRPr sz="1291">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B797A1B-81FE-0A4E-B31A-4264D54E580F}" type="datetimeFigureOut">
              <a:rPr lang="en-US" smtClean="0"/>
              <a:t>7/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8CDEBF1-99FA-8C46-BF7A-0098594A4F24}" type="slidenum">
              <a:rPr lang="en-US" smtClean="0"/>
              <a:t>‹#›</a:t>
            </a:fld>
            <a:endParaRPr lang="en-US"/>
          </a:p>
        </p:txBody>
      </p:sp>
    </p:spTree>
    <p:extLst>
      <p:ext uri="{BB962C8B-B14F-4D97-AF65-F5344CB8AC3E}">
        <p14:creationId xmlns:p14="http://schemas.microsoft.com/office/powerpoint/2010/main" val="237480287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214" y="609600"/>
            <a:ext cx="8093081" cy="3022600"/>
          </a:xfrm>
        </p:spPr>
        <p:txBody>
          <a:bodyPr anchor="ctr">
            <a:normAutofit/>
          </a:bodyPr>
          <a:lstStyle>
            <a:lvl1pPr algn="l">
              <a:defRPr sz="4058"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5962" y="3632200"/>
            <a:ext cx="7223584" cy="381000"/>
          </a:xfrm>
        </p:spPr>
        <p:txBody>
          <a:bodyPr anchor="ctr">
            <a:noAutofit/>
          </a:bodyPr>
          <a:lstStyle>
            <a:lvl1pPr marL="0" indent="0">
              <a:buFontTx/>
              <a:buNone/>
              <a:defRPr sz="1475">
                <a:solidFill>
                  <a:schemeClr val="tx1">
                    <a:lumMod val="50000"/>
                    <a:lumOff val="50000"/>
                  </a:schemeClr>
                </a:solidFill>
              </a:defRPr>
            </a:lvl1pPr>
            <a:lvl2pPr marL="421700" indent="0">
              <a:buFontTx/>
              <a:buNone/>
              <a:defRPr/>
            </a:lvl2pPr>
            <a:lvl3pPr marL="843399" indent="0">
              <a:buFontTx/>
              <a:buNone/>
              <a:defRPr/>
            </a:lvl3pPr>
            <a:lvl4pPr marL="1265099" indent="0">
              <a:buFontTx/>
              <a:buNone/>
              <a:defRPr/>
            </a:lvl4pPr>
            <a:lvl5pPr marL="1686799" indent="0">
              <a:buFontTx/>
              <a:buNone/>
              <a:defRPr/>
            </a:lvl5pPr>
          </a:lstStyle>
          <a:p>
            <a:pPr lvl="0"/>
            <a:r>
              <a:rPr lang="en-US"/>
              <a:t>Edit Master text styles</a:t>
            </a:r>
          </a:p>
        </p:txBody>
      </p:sp>
      <p:sp>
        <p:nvSpPr>
          <p:cNvPr id="3" name="Text Placeholder 2"/>
          <p:cNvSpPr>
            <a:spLocks noGrp="1"/>
          </p:cNvSpPr>
          <p:nvPr>
            <p:ph type="body" idx="1"/>
          </p:nvPr>
        </p:nvSpPr>
        <p:spPr>
          <a:xfrm>
            <a:off x="677248" y="4470402"/>
            <a:ext cx="8595549" cy="1570962"/>
          </a:xfrm>
        </p:spPr>
        <p:txBody>
          <a:bodyPr anchor="ctr">
            <a:normAutofit/>
          </a:bodyPr>
          <a:lstStyle>
            <a:lvl1pPr marL="0" indent="0" algn="l">
              <a:buNone/>
              <a:defRPr sz="1661">
                <a:solidFill>
                  <a:schemeClr val="tx1">
                    <a:lumMod val="75000"/>
                    <a:lumOff val="25000"/>
                  </a:schemeClr>
                </a:solidFill>
              </a:defRPr>
            </a:lvl1pPr>
            <a:lvl2pPr marL="421700" indent="0">
              <a:buNone/>
              <a:defRPr sz="1661">
                <a:solidFill>
                  <a:schemeClr val="tx1">
                    <a:tint val="75000"/>
                  </a:schemeClr>
                </a:solidFill>
              </a:defRPr>
            </a:lvl2pPr>
            <a:lvl3pPr marL="843399" indent="0">
              <a:buNone/>
              <a:defRPr sz="1475">
                <a:solidFill>
                  <a:schemeClr val="tx1">
                    <a:tint val="75000"/>
                  </a:schemeClr>
                </a:solidFill>
              </a:defRPr>
            </a:lvl3pPr>
            <a:lvl4pPr marL="1265099" indent="0">
              <a:buNone/>
              <a:defRPr sz="1291">
                <a:solidFill>
                  <a:schemeClr val="tx1">
                    <a:tint val="75000"/>
                  </a:schemeClr>
                </a:solidFill>
              </a:defRPr>
            </a:lvl4pPr>
            <a:lvl5pPr marL="1686799" indent="0">
              <a:buNone/>
              <a:defRPr sz="1291">
                <a:solidFill>
                  <a:schemeClr val="tx1">
                    <a:tint val="75000"/>
                  </a:schemeClr>
                </a:solidFill>
              </a:defRPr>
            </a:lvl5pPr>
            <a:lvl6pPr marL="2108499" indent="0">
              <a:buNone/>
              <a:defRPr sz="1291">
                <a:solidFill>
                  <a:schemeClr val="tx1">
                    <a:tint val="75000"/>
                  </a:schemeClr>
                </a:solidFill>
              </a:defRPr>
            </a:lvl6pPr>
            <a:lvl7pPr marL="2530198" indent="0">
              <a:buNone/>
              <a:defRPr sz="1291">
                <a:solidFill>
                  <a:schemeClr val="tx1">
                    <a:tint val="75000"/>
                  </a:schemeClr>
                </a:solidFill>
              </a:defRPr>
            </a:lvl7pPr>
            <a:lvl8pPr marL="2951898" indent="0">
              <a:buNone/>
              <a:defRPr sz="1291">
                <a:solidFill>
                  <a:schemeClr val="tx1">
                    <a:tint val="75000"/>
                  </a:schemeClr>
                </a:solidFill>
              </a:defRPr>
            </a:lvl8pPr>
            <a:lvl9pPr marL="3373599" indent="0">
              <a:buNone/>
              <a:defRPr sz="1291">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B797A1B-81FE-0A4E-B31A-4264D54E580F}" type="datetimeFigureOut">
              <a:rPr lang="en-US" smtClean="0"/>
              <a:t>7/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8CDEBF1-99FA-8C46-BF7A-0098594A4F24}" type="slidenum">
              <a:rPr lang="en-US" smtClean="0"/>
              <a:t>‹#›</a:t>
            </a:fld>
            <a:endParaRPr lang="en-US"/>
          </a:p>
        </p:txBody>
      </p:sp>
      <p:sp>
        <p:nvSpPr>
          <p:cNvPr id="20" name="TextBox 19"/>
          <p:cNvSpPr txBox="1"/>
          <p:nvPr/>
        </p:nvSpPr>
        <p:spPr>
          <a:xfrm>
            <a:off x="541799" y="790378"/>
            <a:ext cx="609521" cy="584776"/>
          </a:xfrm>
          <a:prstGeom prst="rect">
            <a:avLst/>
          </a:prstGeom>
        </p:spPr>
        <p:txBody>
          <a:bodyPr vert="horz" lIns="84332" tIns="42166" rIns="84332" bIns="42166" rtlCol="0" anchor="ctr">
            <a:noAutofit/>
          </a:bodyPr>
          <a:lstStyle/>
          <a:p>
            <a:pPr lvl="0"/>
            <a:r>
              <a:rPr lang="en-US" sz="7378"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1854" y="2886556"/>
            <a:ext cx="609521" cy="584776"/>
          </a:xfrm>
          <a:prstGeom prst="rect">
            <a:avLst/>
          </a:prstGeom>
        </p:spPr>
        <p:txBody>
          <a:bodyPr vert="horz" lIns="84332" tIns="42166" rIns="84332" bIns="42166" rtlCol="0" anchor="ctr">
            <a:noAutofit/>
          </a:bodyPr>
          <a:lstStyle/>
          <a:p>
            <a:pPr lvl="0"/>
            <a:r>
              <a:rPr lang="en-US" sz="7378" baseline="0" dirty="0">
                <a:ln w="3175" cmpd="sng">
                  <a:noFill/>
                </a:ln>
                <a:solidFill>
                  <a:schemeClr val="accent1">
                    <a:lumMod val="60000"/>
                    <a:lumOff val="40000"/>
                  </a:schemeClr>
                </a:solidFill>
                <a:latin typeface="Arial"/>
              </a:rPr>
              <a:t>”</a:t>
            </a:r>
            <a:endParaRPr lang="en-US" sz="1776" dirty="0">
              <a:solidFill>
                <a:schemeClr val="accent1">
                  <a:lumMod val="60000"/>
                  <a:lumOff val="40000"/>
                </a:schemeClr>
              </a:solidFill>
              <a:latin typeface="Arial"/>
            </a:endParaRPr>
          </a:p>
        </p:txBody>
      </p:sp>
    </p:spTree>
    <p:extLst>
      <p:ext uri="{BB962C8B-B14F-4D97-AF65-F5344CB8AC3E}">
        <p14:creationId xmlns:p14="http://schemas.microsoft.com/office/powerpoint/2010/main" val="3701004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pictures and text">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92213382-11A1-48CE-B0A0-D8A7D26861FB}"/>
              </a:ext>
            </a:extLst>
          </p:cNvPr>
          <p:cNvSpPr>
            <a:spLocks noGrp="1"/>
          </p:cNvSpPr>
          <p:nvPr>
            <p:ph type="title"/>
          </p:nvPr>
        </p:nvSpPr>
        <p:spPr>
          <a:xfrm>
            <a:off x="4221360" y="426127"/>
            <a:ext cx="6865740" cy="972716"/>
          </a:xfrm>
        </p:spPr>
        <p:txBody>
          <a:bodyPr/>
          <a:lstStyle/>
          <a:p>
            <a:r>
              <a:rPr lang="da-DK" dirty="0"/>
              <a:t>Click to edit Master title style</a:t>
            </a:r>
            <a:endParaRPr lang="da-DK"/>
          </a:p>
        </p:txBody>
      </p:sp>
      <p:sp>
        <p:nvSpPr>
          <p:cNvPr id="3" name="Content Placeholder 2"/>
          <p:cNvSpPr>
            <a:spLocks noGrp="1"/>
          </p:cNvSpPr>
          <p:nvPr>
            <p:ph idx="1"/>
          </p:nvPr>
        </p:nvSpPr>
        <p:spPr>
          <a:xfrm>
            <a:off x="4221360" y="1706328"/>
            <a:ext cx="6865740" cy="4545578"/>
          </a:xfrm>
        </p:spPr>
        <p:txBody>
          <a:bodyPr/>
          <a:lstStyle/>
          <a:p>
            <a:pPr lvl="0"/>
            <a:r>
              <a:rPr lang="da-DK"/>
              <a:t>Edit Master text styles</a:t>
            </a:r>
          </a:p>
          <a:p>
            <a:pPr lvl="1"/>
            <a:r>
              <a:rPr lang="da-DK"/>
              <a:t>Second level</a:t>
            </a:r>
          </a:p>
          <a:p>
            <a:pPr lvl="2"/>
            <a:r>
              <a:rPr lang="da-DK"/>
              <a:t>Third level</a:t>
            </a:r>
          </a:p>
          <a:p>
            <a:pPr lvl="3"/>
            <a:r>
              <a:rPr lang="da-DK"/>
              <a:t>Fourth level</a:t>
            </a:r>
          </a:p>
          <a:p>
            <a:pPr lvl="4"/>
            <a:r>
              <a:rPr lang="da-DK"/>
              <a:t>Fifth level</a:t>
            </a:r>
            <a:endParaRPr lang="da-DK" dirty="0"/>
          </a:p>
        </p:txBody>
      </p:sp>
      <p:sp>
        <p:nvSpPr>
          <p:cNvPr id="10" name="Picture Placeholder 9">
            <a:extLst>
              <a:ext uri="{FF2B5EF4-FFF2-40B4-BE49-F238E27FC236}">
                <a16:creationId xmlns:a16="http://schemas.microsoft.com/office/drawing/2014/main" id="{565D29D0-EA4F-4318-8A82-6C2B200A712B}"/>
              </a:ext>
            </a:extLst>
          </p:cNvPr>
          <p:cNvSpPr>
            <a:spLocks noGrp="1"/>
          </p:cNvSpPr>
          <p:nvPr>
            <p:ph type="pic" sz="quarter" idx="13" hasCustomPrompt="1"/>
          </p:nvPr>
        </p:nvSpPr>
        <p:spPr>
          <a:xfrm>
            <a:off x="-1" y="1314523"/>
            <a:ext cx="3708000" cy="2455200"/>
          </a:xfrm>
        </p:spPr>
        <p:txBody>
          <a:bodyPr/>
          <a:lstStyle>
            <a:lvl1pPr marL="0" indent="0" algn="ctr">
              <a:buNone/>
              <a:defRPr sz="1200"/>
            </a:lvl1pPr>
          </a:lstStyle>
          <a:p>
            <a:r>
              <a:rPr lang="da-DK" dirty="0"/>
              <a:t>Click the placeholder and paste image via Skyfish icon</a:t>
            </a:r>
            <a:endParaRPr lang="da-DK"/>
          </a:p>
        </p:txBody>
      </p:sp>
      <p:sp>
        <p:nvSpPr>
          <p:cNvPr id="12" name="Picture Placeholder 11">
            <a:extLst>
              <a:ext uri="{FF2B5EF4-FFF2-40B4-BE49-F238E27FC236}">
                <a16:creationId xmlns:a16="http://schemas.microsoft.com/office/drawing/2014/main" id="{25B8511D-E10E-40C3-82A6-3DCDC97CF6C2}"/>
              </a:ext>
            </a:extLst>
          </p:cNvPr>
          <p:cNvSpPr>
            <a:spLocks noGrp="1"/>
          </p:cNvSpPr>
          <p:nvPr>
            <p:ph type="pic" sz="quarter" idx="14" hasCustomPrompt="1"/>
          </p:nvPr>
        </p:nvSpPr>
        <p:spPr>
          <a:xfrm>
            <a:off x="-1" y="3968153"/>
            <a:ext cx="3708000" cy="2455200"/>
          </a:xfrm>
        </p:spPr>
        <p:txBody>
          <a:bodyPr/>
          <a:lstStyle>
            <a:lvl1pPr marL="0" indent="0" algn="ctr">
              <a:buNone/>
              <a:defRPr sz="1200"/>
            </a:lvl1pPr>
          </a:lstStyle>
          <a:p>
            <a:r>
              <a:rPr lang="da-DK" dirty="0"/>
              <a:t>Click the placeholder and paste image via Skyfish icon</a:t>
            </a:r>
            <a:endParaRPr lang="da-DK"/>
          </a:p>
          <a:p>
            <a:endParaRPr lang="da-DK" dirty="0"/>
          </a:p>
        </p:txBody>
      </p:sp>
      <p:sp>
        <p:nvSpPr>
          <p:cNvPr id="2" name="Footer Placeholder 1">
            <a:extLst>
              <a:ext uri="{FF2B5EF4-FFF2-40B4-BE49-F238E27FC236}">
                <a16:creationId xmlns:a16="http://schemas.microsoft.com/office/drawing/2014/main" id="{AE26B732-1A52-4AA9-89FC-8FC5439E40DC}"/>
              </a:ext>
            </a:extLst>
          </p:cNvPr>
          <p:cNvSpPr>
            <a:spLocks noGrp="1"/>
          </p:cNvSpPr>
          <p:nvPr>
            <p:ph type="ftr" sz="quarter" idx="15"/>
          </p:nvPr>
        </p:nvSpPr>
        <p:spPr/>
        <p:txBody>
          <a:bodyPr/>
          <a:lstStyle/>
          <a:p>
            <a:endParaRPr lang="da-DK" dirty="0"/>
          </a:p>
        </p:txBody>
      </p:sp>
      <p:sp>
        <p:nvSpPr>
          <p:cNvPr id="6" name="Slide Number Placeholder 5">
            <a:extLst>
              <a:ext uri="{FF2B5EF4-FFF2-40B4-BE49-F238E27FC236}">
                <a16:creationId xmlns:a16="http://schemas.microsoft.com/office/drawing/2014/main" id="{3B25D0DC-E43F-43DA-AA0F-C0C54C8939F7}"/>
              </a:ext>
            </a:extLst>
          </p:cNvPr>
          <p:cNvSpPr>
            <a:spLocks noGrp="1"/>
          </p:cNvSpPr>
          <p:nvPr>
            <p:ph type="sldNum" sz="quarter" idx="16"/>
          </p:nvPr>
        </p:nvSpPr>
        <p:spPr/>
        <p:txBody>
          <a:bodyPr/>
          <a:lstStyle/>
          <a:p>
            <a:fld id="{103EA872-A674-449B-A120-B97244F8E91D}" type="slidenum">
              <a:rPr lang="da-DK" smtClean="0"/>
              <a:pPr/>
              <a:t>‹#›</a:t>
            </a:fld>
            <a:endParaRPr lang="da-DK" dirty="0"/>
          </a:p>
        </p:txBody>
      </p:sp>
    </p:spTree>
    <p:extLst>
      <p:ext uri="{BB962C8B-B14F-4D97-AF65-F5344CB8AC3E}">
        <p14:creationId xmlns:p14="http://schemas.microsoft.com/office/powerpoint/2010/main" val="1283562364"/>
      </p:ext>
    </p:extLst>
  </p:cSld>
  <p:clrMapOvr>
    <a:masterClrMapping/>
  </p:clrMapOvr>
  <p:extLst>
    <p:ext uri="{DCECCB84-F9BA-43D5-87BE-67443E8EF086}">
      <p15:sldGuideLst xmlns:p15="http://schemas.microsoft.com/office/powerpoint/2012/main">
        <p15:guide id="1" pos="6984" userDrawn="1">
          <p15:clr>
            <a:srgbClr val="F26B43"/>
          </p15:clr>
        </p15:guide>
        <p15:guide id="2" pos="2660" userDrawn="1">
          <p15:clr>
            <a:srgbClr val="F26B43"/>
          </p15:clr>
        </p15:guide>
        <p15:guide id="3" pos="2335" userDrawn="1">
          <p15:clr>
            <a:srgbClr val="F26B43"/>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248" y="1931988"/>
            <a:ext cx="8595549" cy="2595460"/>
          </a:xfrm>
        </p:spPr>
        <p:txBody>
          <a:bodyPr anchor="b">
            <a:normAutofit/>
          </a:bodyPr>
          <a:lstStyle>
            <a:lvl1pPr algn="l">
              <a:defRPr sz="4058" b="0" cap="none"/>
            </a:lvl1pPr>
          </a:lstStyle>
          <a:p>
            <a:r>
              <a:rPr lang="en-US"/>
              <a:t>Click to edit Master title style</a:t>
            </a:r>
            <a:endParaRPr lang="en-US" dirty="0"/>
          </a:p>
        </p:txBody>
      </p:sp>
      <p:sp>
        <p:nvSpPr>
          <p:cNvPr id="3" name="Text Placeholder 2"/>
          <p:cNvSpPr>
            <a:spLocks noGrp="1"/>
          </p:cNvSpPr>
          <p:nvPr>
            <p:ph type="body" idx="1"/>
          </p:nvPr>
        </p:nvSpPr>
        <p:spPr>
          <a:xfrm>
            <a:off x="677248" y="4527450"/>
            <a:ext cx="8595549" cy="1513914"/>
          </a:xfrm>
        </p:spPr>
        <p:txBody>
          <a:bodyPr anchor="t">
            <a:normAutofit/>
          </a:bodyPr>
          <a:lstStyle>
            <a:lvl1pPr marL="0" indent="0" algn="l">
              <a:buNone/>
              <a:defRPr sz="1661">
                <a:solidFill>
                  <a:schemeClr val="tx1">
                    <a:lumMod val="75000"/>
                    <a:lumOff val="25000"/>
                  </a:schemeClr>
                </a:solidFill>
              </a:defRPr>
            </a:lvl1pPr>
            <a:lvl2pPr marL="421700" indent="0">
              <a:buNone/>
              <a:defRPr sz="1661">
                <a:solidFill>
                  <a:schemeClr val="tx1">
                    <a:tint val="75000"/>
                  </a:schemeClr>
                </a:solidFill>
              </a:defRPr>
            </a:lvl2pPr>
            <a:lvl3pPr marL="843399" indent="0">
              <a:buNone/>
              <a:defRPr sz="1475">
                <a:solidFill>
                  <a:schemeClr val="tx1">
                    <a:tint val="75000"/>
                  </a:schemeClr>
                </a:solidFill>
              </a:defRPr>
            </a:lvl3pPr>
            <a:lvl4pPr marL="1265099" indent="0">
              <a:buNone/>
              <a:defRPr sz="1291">
                <a:solidFill>
                  <a:schemeClr val="tx1">
                    <a:tint val="75000"/>
                  </a:schemeClr>
                </a:solidFill>
              </a:defRPr>
            </a:lvl4pPr>
            <a:lvl5pPr marL="1686799" indent="0">
              <a:buNone/>
              <a:defRPr sz="1291">
                <a:solidFill>
                  <a:schemeClr val="tx1">
                    <a:tint val="75000"/>
                  </a:schemeClr>
                </a:solidFill>
              </a:defRPr>
            </a:lvl5pPr>
            <a:lvl6pPr marL="2108499" indent="0">
              <a:buNone/>
              <a:defRPr sz="1291">
                <a:solidFill>
                  <a:schemeClr val="tx1">
                    <a:tint val="75000"/>
                  </a:schemeClr>
                </a:solidFill>
              </a:defRPr>
            </a:lvl6pPr>
            <a:lvl7pPr marL="2530198" indent="0">
              <a:buNone/>
              <a:defRPr sz="1291">
                <a:solidFill>
                  <a:schemeClr val="tx1">
                    <a:tint val="75000"/>
                  </a:schemeClr>
                </a:solidFill>
              </a:defRPr>
            </a:lvl7pPr>
            <a:lvl8pPr marL="2951898" indent="0">
              <a:buNone/>
              <a:defRPr sz="1291">
                <a:solidFill>
                  <a:schemeClr val="tx1">
                    <a:tint val="75000"/>
                  </a:schemeClr>
                </a:solidFill>
              </a:defRPr>
            </a:lvl8pPr>
            <a:lvl9pPr marL="3373599" indent="0">
              <a:buNone/>
              <a:defRPr sz="1291">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B797A1B-81FE-0A4E-B31A-4264D54E580F}" type="datetimeFigureOut">
              <a:rPr lang="en-US" smtClean="0"/>
              <a:t>7/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8CDEBF1-99FA-8C46-BF7A-0098594A4F24}" type="slidenum">
              <a:rPr lang="en-US" smtClean="0"/>
              <a:t>‹#›</a:t>
            </a:fld>
            <a:endParaRPr lang="en-US"/>
          </a:p>
        </p:txBody>
      </p:sp>
    </p:spTree>
    <p:extLst>
      <p:ext uri="{BB962C8B-B14F-4D97-AF65-F5344CB8AC3E}">
        <p14:creationId xmlns:p14="http://schemas.microsoft.com/office/powerpoint/2010/main" val="75795115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214" y="609600"/>
            <a:ext cx="8093081" cy="3022600"/>
          </a:xfrm>
        </p:spPr>
        <p:txBody>
          <a:bodyPr anchor="ctr">
            <a:normAutofit/>
          </a:bodyPr>
          <a:lstStyle>
            <a:lvl1pPr algn="l">
              <a:defRPr sz="4058"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244" y="4013202"/>
            <a:ext cx="8595550" cy="514248"/>
          </a:xfrm>
        </p:spPr>
        <p:txBody>
          <a:bodyPr anchor="b">
            <a:noAutofit/>
          </a:bodyPr>
          <a:lstStyle>
            <a:lvl1pPr marL="0" indent="0">
              <a:buFontTx/>
              <a:buNone/>
              <a:defRPr sz="2213">
                <a:solidFill>
                  <a:schemeClr val="tx1">
                    <a:lumMod val="75000"/>
                    <a:lumOff val="25000"/>
                  </a:schemeClr>
                </a:solidFill>
              </a:defRPr>
            </a:lvl1pPr>
            <a:lvl2pPr marL="421700" indent="0">
              <a:buFontTx/>
              <a:buNone/>
              <a:defRPr/>
            </a:lvl2pPr>
            <a:lvl3pPr marL="843399" indent="0">
              <a:buFontTx/>
              <a:buNone/>
              <a:defRPr/>
            </a:lvl3pPr>
            <a:lvl4pPr marL="1265099" indent="0">
              <a:buFontTx/>
              <a:buNone/>
              <a:defRPr/>
            </a:lvl4pPr>
            <a:lvl5pPr marL="1686799" indent="0">
              <a:buFontTx/>
              <a:buNone/>
              <a:defRPr/>
            </a:lvl5pPr>
          </a:lstStyle>
          <a:p>
            <a:pPr lvl="0"/>
            <a:r>
              <a:rPr lang="en-US"/>
              <a:t>Edit Master text styles</a:t>
            </a:r>
          </a:p>
        </p:txBody>
      </p:sp>
      <p:sp>
        <p:nvSpPr>
          <p:cNvPr id="3" name="Text Placeholder 2"/>
          <p:cNvSpPr>
            <a:spLocks noGrp="1"/>
          </p:cNvSpPr>
          <p:nvPr>
            <p:ph type="body" idx="1"/>
          </p:nvPr>
        </p:nvSpPr>
        <p:spPr>
          <a:xfrm>
            <a:off x="677248" y="4527450"/>
            <a:ext cx="8595549" cy="1513914"/>
          </a:xfrm>
        </p:spPr>
        <p:txBody>
          <a:bodyPr anchor="t">
            <a:normAutofit/>
          </a:bodyPr>
          <a:lstStyle>
            <a:lvl1pPr marL="0" indent="0" algn="l">
              <a:buNone/>
              <a:defRPr sz="1661">
                <a:solidFill>
                  <a:schemeClr val="tx1">
                    <a:lumMod val="50000"/>
                    <a:lumOff val="50000"/>
                  </a:schemeClr>
                </a:solidFill>
              </a:defRPr>
            </a:lvl1pPr>
            <a:lvl2pPr marL="421700" indent="0">
              <a:buNone/>
              <a:defRPr sz="1661">
                <a:solidFill>
                  <a:schemeClr val="tx1">
                    <a:tint val="75000"/>
                  </a:schemeClr>
                </a:solidFill>
              </a:defRPr>
            </a:lvl2pPr>
            <a:lvl3pPr marL="843399" indent="0">
              <a:buNone/>
              <a:defRPr sz="1475">
                <a:solidFill>
                  <a:schemeClr val="tx1">
                    <a:tint val="75000"/>
                  </a:schemeClr>
                </a:solidFill>
              </a:defRPr>
            </a:lvl3pPr>
            <a:lvl4pPr marL="1265099" indent="0">
              <a:buNone/>
              <a:defRPr sz="1291">
                <a:solidFill>
                  <a:schemeClr val="tx1">
                    <a:tint val="75000"/>
                  </a:schemeClr>
                </a:solidFill>
              </a:defRPr>
            </a:lvl4pPr>
            <a:lvl5pPr marL="1686799" indent="0">
              <a:buNone/>
              <a:defRPr sz="1291">
                <a:solidFill>
                  <a:schemeClr val="tx1">
                    <a:tint val="75000"/>
                  </a:schemeClr>
                </a:solidFill>
              </a:defRPr>
            </a:lvl5pPr>
            <a:lvl6pPr marL="2108499" indent="0">
              <a:buNone/>
              <a:defRPr sz="1291">
                <a:solidFill>
                  <a:schemeClr val="tx1">
                    <a:tint val="75000"/>
                  </a:schemeClr>
                </a:solidFill>
              </a:defRPr>
            </a:lvl6pPr>
            <a:lvl7pPr marL="2530198" indent="0">
              <a:buNone/>
              <a:defRPr sz="1291">
                <a:solidFill>
                  <a:schemeClr val="tx1">
                    <a:tint val="75000"/>
                  </a:schemeClr>
                </a:solidFill>
              </a:defRPr>
            </a:lvl7pPr>
            <a:lvl8pPr marL="2951898" indent="0">
              <a:buNone/>
              <a:defRPr sz="1291">
                <a:solidFill>
                  <a:schemeClr val="tx1">
                    <a:tint val="75000"/>
                  </a:schemeClr>
                </a:solidFill>
              </a:defRPr>
            </a:lvl8pPr>
            <a:lvl9pPr marL="3373599" indent="0">
              <a:buNone/>
              <a:defRPr sz="1291">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B797A1B-81FE-0A4E-B31A-4264D54E580F}" type="datetimeFigureOut">
              <a:rPr lang="en-US" smtClean="0"/>
              <a:t>7/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8CDEBF1-99FA-8C46-BF7A-0098594A4F24}" type="slidenum">
              <a:rPr lang="en-US" smtClean="0"/>
              <a:t>‹#›</a:t>
            </a:fld>
            <a:endParaRPr lang="en-US"/>
          </a:p>
        </p:txBody>
      </p:sp>
      <p:sp>
        <p:nvSpPr>
          <p:cNvPr id="24" name="TextBox 23"/>
          <p:cNvSpPr txBox="1"/>
          <p:nvPr/>
        </p:nvSpPr>
        <p:spPr>
          <a:xfrm>
            <a:off x="541799" y="790378"/>
            <a:ext cx="609521" cy="584776"/>
          </a:xfrm>
          <a:prstGeom prst="rect">
            <a:avLst/>
          </a:prstGeom>
        </p:spPr>
        <p:txBody>
          <a:bodyPr vert="horz" lIns="84332" tIns="42166" rIns="84332" bIns="42166" rtlCol="0" anchor="ctr">
            <a:noAutofit/>
          </a:bodyPr>
          <a:lstStyle/>
          <a:p>
            <a:pPr lvl="0"/>
            <a:r>
              <a:rPr lang="en-US" sz="7378"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1854" y="2886556"/>
            <a:ext cx="609521" cy="584776"/>
          </a:xfrm>
          <a:prstGeom prst="rect">
            <a:avLst/>
          </a:prstGeom>
        </p:spPr>
        <p:txBody>
          <a:bodyPr vert="horz" lIns="84332" tIns="42166" rIns="84332" bIns="42166" rtlCol="0" anchor="ctr">
            <a:noAutofit/>
          </a:bodyPr>
          <a:lstStyle/>
          <a:p>
            <a:pPr lvl="0"/>
            <a:r>
              <a:rPr lang="en-US" sz="7378"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159365511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12" y="609600"/>
            <a:ext cx="8587085" cy="3022600"/>
          </a:xfrm>
        </p:spPr>
        <p:txBody>
          <a:bodyPr anchor="ctr">
            <a:normAutofit/>
          </a:bodyPr>
          <a:lstStyle>
            <a:lvl1pPr algn="l">
              <a:defRPr sz="4058"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244" y="4013202"/>
            <a:ext cx="8595550" cy="514248"/>
          </a:xfrm>
        </p:spPr>
        <p:txBody>
          <a:bodyPr anchor="b">
            <a:noAutofit/>
          </a:bodyPr>
          <a:lstStyle>
            <a:lvl1pPr marL="0" indent="0">
              <a:buFontTx/>
              <a:buNone/>
              <a:defRPr sz="2213">
                <a:solidFill>
                  <a:schemeClr val="accent1"/>
                </a:solidFill>
              </a:defRPr>
            </a:lvl1pPr>
            <a:lvl2pPr marL="421700" indent="0">
              <a:buFontTx/>
              <a:buNone/>
              <a:defRPr/>
            </a:lvl2pPr>
            <a:lvl3pPr marL="843399" indent="0">
              <a:buFontTx/>
              <a:buNone/>
              <a:defRPr/>
            </a:lvl3pPr>
            <a:lvl4pPr marL="1265099" indent="0">
              <a:buFontTx/>
              <a:buNone/>
              <a:defRPr/>
            </a:lvl4pPr>
            <a:lvl5pPr marL="1686799" indent="0">
              <a:buFontTx/>
              <a:buNone/>
              <a:defRPr/>
            </a:lvl5pPr>
          </a:lstStyle>
          <a:p>
            <a:pPr lvl="0"/>
            <a:r>
              <a:rPr lang="en-US"/>
              <a:t>Edit Master text styles</a:t>
            </a:r>
          </a:p>
        </p:txBody>
      </p:sp>
      <p:sp>
        <p:nvSpPr>
          <p:cNvPr id="3" name="Text Placeholder 2"/>
          <p:cNvSpPr>
            <a:spLocks noGrp="1"/>
          </p:cNvSpPr>
          <p:nvPr>
            <p:ph type="body" idx="1"/>
          </p:nvPr>
        </p:nvSpPr>
        <p:spPr>
          <a:xfrm>
            <a:off x="677248" y="4527450"/>
            <a:ext cx="8595549" cy="1513914"/>
          </a:xfrm>
        </p:spPr>
        <p:txBody>
          <a:bodyPr anchor="t">
            <a:normAutofit/>
          </a:bodyPr>
          <a:lstStyle>
            <a:lvl1pPr marL="0" indent="0" algn="l">
              <a:buNone/>
              <a:defRPr sz="1661">
                <a:solidFill>
                  <a:schemeClr val="tx1">
                    <a:lumMod val="50000"/>
                    <a:lumOff val="50000"/>
                  </a:schemeClr>
                </a:solidFill>
              </a:defRPr>
            </a:lvl1pPr>
            <a:lvl2pPr marL="421700" indent="0">
              <a:buNone/>
              <a:defRPr sz="1661">
                <a:solidFill>
                  <a:schemeClr val="tx1">
                    <a:tint val="75000"/>
                  </a:schemeClr>
                </a:solidFill>
              </a:defRPr>
            </a:lvl2pPr>
            <a:lvl3pPr marL="843399" indent="0">
              <a:buNone/>
              <a:defRPr sz="1475">
                <a:solidFill>
                  <a:schemeClr val="tx1">
                    <a:tint val="75000"/>
                  </a:schemeClr>
                </a:solidFill>
              </a:defRPr>
            </a:lvl3pPr>
            <a:lvl4pPr marL="1265099" indent="0">
              <a:buNone/>
              <a:defRPr sz="1291">
                <a:solidFill>
                  <a:schemeClr val="tx1">
                    <a:tint val="75000"/>
                  </a:schemeClr>
                </a:solidFill>
              </a:defRPr>
            </a:lvl4pPr>
            <a:lvl5pPr marL="1686799" indent="0">
              <a:buNone/>
              <a:defRPr sz="1291">
                <a:solidFill>
                  <a:schemeClr val="tx1">
                    <a:tint val="75000"/>
                  </a:schemeClr>
                </a:solidFill>
              </a:defRPr>
            </a:lvl5pPr>
            <a:lvl6pPr marL="2108499" indent="0">
              <a:buNone/>
              <a:defRPr sz="1291">
                <a:solidFill>
                  <a:schemeClr val="tx1">
                    <a:tint val="75000"/>
                  </a:schemeClr>
                </a:solidFill>
              </a:defRPr>
            </a:lvl6pPr>
            <a:lvl7pPr marL="2530198" indent="0">
              <a:buNone/>
              <a:defRPr sz="1291">
                <a:solidFill>
                  <a:schemeClr val="tx1">
                    <a:tint val="75000"/>
                  </a:schemeClr>
                </a:solidFill>
              </a:defRPr>
            </a:lvl7pPr>
            <a:lvl8pPr marL="2951898" indent="0">
              <a:buNone/>
              <a:defRPr sz="1291">
                <a:solidFill>
                  <a:schemeClr val="tx1">
                    <a:tint val="75000"/>
                  </a:schemeClr>
                </a:solidFill>
              </a:defRPr>
            </a:lvl8pPr>
            <a:lvl9pPr marL="3373599" indent="0">
              <a:buNone/>
              <a:defRPr sz="1291">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B797A1B-81FE-0A4E-B31A-4264D54E580F}" type="datetimeFigureOut">
              <a:rPr lang="en-US" smtClean="0"/>
              <a:t>7/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8CDEBF1-99FA-8C46-BF7A-0098594A4F24}" type="slidenum">
              <a:rPr lang="en-US" smtClean="0"/>
              <a:t>‹#›</a:t>
            </a:fld>
            <a:endParaRPr lang="en-US"/>
          </a:p>
        </p:txBody>
      </p:sp>
    </p:spTree>
    <p:extLst>
      <p:ext uri="{BB962C8B-B14F-4D97-AF65-F5344CB8AC3E}">
        <p14:creationId xmlns:p14="http://schemas.microsoft.com/office/powerpoint/2010/main" val="352540293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C6B4A9-1611-4792-9094-5F34BCA07E0B}" type="datetimeFigureOut">
              <a:rPr lang="en-US" smtClean="0"/>
              <a:t>7/7/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333C77-0158-454C-844F-B7AB9BD7DAD4}" type="slidenum">
              <a:rPr lang="en-US" smtClean="0"/>
              <a:t>‹#›</a:t>
            </a:fld>
            <a:endParaRPr lang="en-US" dirty="0"/>
          </a:p>
        </p:txBody>
      </p:sp>
    </p:spTree>
    <p:extLst>
      <p:ext uri="{BB962C8B-B14F-4D97-AF65-F5344CB8AC3E}">
        <p14:creationId xmlns:p14="http://schemas.microsoft.com/office/powerpoint/2010/main" val="86126152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6637" y="609602"/>
            <a:ext cx="130457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247" y="609600"/>
            <a:ext cx="7059231" cy="5251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pPr/>
              <a:t>7/7/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30787644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Titel og indholdsobjekt">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981803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Titel og indholdsobjekt">
    <p:spTree>
      <p:nvGrpSpPr>
        <p:cNvPr id="1" name=""/>
        <p:cNvGrpSpPr/>
        <p:nvPr/>
      </p:nvGrpSpPr>
      <p:grpSpPr>
        <a:xfrm>
          <a:off x="0" y="0"/>
          <a:ext cx="0" cy="0"/>
          <a:chOff x="0" y="0"/>
          <a:chExt cx="0" cy="0"/>
        </a:xfrm>
      </p:grpSpPr>
      <p:sp>
        <p:nvSpPr>
          <p:cNvPr id="3" name="Pladsholder til indhold 2"/>
          <p:cNvSpPr>
            <a:spLocks noGrp="1"/>
          </p:cNvSpPr>
          <p:nvPr>
            <p:ph idx="1"/>
          </p:nvPr>
        </p:nvSpPr>
        <p:spPr>
          <a:xfrm>
            <a:off x="609521" y="1600201"/>
            <a:ext cx="10971372" cy="4349080"/>
          </a:xfrm>
          <a:solidFill>
            <a:schemeClr val="bg1"/>
          </a:solidFill>
        </p:spPr>
        <p:txBody>
          <a:bodyPr>
            <a:normAutofit/>
          </a:bodyPr>
          <a:lstStyle>
            <a:lvl1pPr marL="285757" indent="-285757">
              <a:buClr>
                <a:schemeClr val="tx2">
                  <a:lumMod val="50000"/>
                </a:schemeClr>
              </a:buClr>
              <a:buFont typeface="Arial" pitchFamily="34" charset="0"/>
              <a:buChar char="•"/>
              <a:defRPr sz="1600" cap="none" spc="200" baseline="0">
                <a:solidFill>
                  <a:srgbClr val="211A52"/>
                </a:solidFill>
              </a:defRPr>
            </a:lvl1pPr>
            <a:lvl2pPr marL="742968" indent="-285757">
              <a:buFont typeface="Arial" pitchFamily="34" charset="0"/>
              <a:buChar char="•"/>
              <a:defRPr sz="1600" cap="none" spc="200" baseline="0">
                <a:solidFill>
                  <a:srgbClr val="211A52"/>
                </a:solidFill>
              </a:defRPr>
            </a:lvl2pPr>
            <a:lvl3pPr marL="1200179" indent="-285757">
              <a:buFont typeface="Arial" pitchFamily="34" charset="0"/>
              <a:buChar char="•"/>
              <a:defRPr sz="1600" cap="none" spc="200" baseline="0">
                <a:solidFill>
                  <a:srgbClr val="211A52"/>
                </a:solidFill>
              </a:defRPr>
            </a:lvl3pPr>
            <a:lvl4pPr marL="1657390" indent="-285757">
              <a:buFont typeface="Arial" pitchFamily="34" charset="0"/>
              <a:buChar char="•"/>
              <a:defRPr sz="1600" cap="none" spc="200" baseline="0">
                <a:solidFill>
                  <a:srgbClr val="211A52"/>
                </a:solidFill>
              </a:defRPr>
            </a:lvl4pPr>
            <a:lvl5pPr marL="2114602" indent="-285757">
              <a:buFont typeface="Arial" pitchFamily="34" charset="0"/>
              <a:buChar char="•"/>
              <a:defRPr sz="1600" cap="none" spc="200" baseline="0">
                <a:solidFill>
                  <a:srgbClr val="211A52"/>
                </a:solidFill>
              </a:defRPr>
            </a:lvl5p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7" name="Titel 6"/>
          <p:cNvSpPr>
            <a:spLocks noGrp="1"/>
          </p:cNvSpPr>
          <p:nvPr>
            <p:ph type="title"/>
          </p:nvPr>
        </p:nvSpPr>
        <p:spPr>
          <a:xfrm>
            <a:off x="591866" y="332656"/>
            <a:ext cx="10971372" cy="1143000"/>
          </a:xfrm>
          <a:solidFill>
            <a:schemeClr val="bg1"/>
          </a:solidFill>
        </p:spPr>
        <p:txBody>
          <a:bodyPr>
            <a:normAutofit/>
          </a:bodyPr>
          <a:lstStyle>
            <a:lvl1pPr algn="ctr">
              <a:defRPr sz="3200" b="0" i="0" kern="0" cap="none" spc="100" baseline="0">
                <a:solidFill>
                  <a:srgbClr val="211A52"/>
                </a:solidFill>
              </a:defRPr>
            </a:lvl1pPr>
          </a:lstStyle>
          <a:p>
            <a:r>
              <a:rPr lang="da-DK" dirty="0"/>
              <a:t>Klik for at redigere i master</a:t>
            </a:r>
          </a:p>
        </p:txBody>
      </p:sp>
      <p:sp>
        <p:nvSpPr>
          <p:cNvPr id="16" name="Pladsholder til diasnummer 15"/>
          <p:cNvSpPr>
            <a:spLocks noGrp="1"/>
          </p:cNvSpPr>
          <p:nvPr>
            <p:ph type="sldNum" sz="quarter" idx="12"/>
          </p:nvPr>
        </p:nvSpPr>
        <p:spPr>
          <a:xfrm>
            <a:off x="8879153" y="6160220"/>
            <a:ext cx="2844430" cy="365125"/>
          </a:xfrm>
        </p:spPr>
        <p:txBody>
          <a:bodyPr/>
          <a:lstStyle>
            <a:lvl1pPr>
              <a:defRPr sz="800" b="1" cap="all" spc="200" baseline="0"/>
            </a:lvl1pPr>
          </a:lstStyle>
          <a:p>
            <a:fld id="{76FF49CB-DA36-4A0D-B7A5-D537E7FBD145}" type="slidenum">
              <a:rPr lang="da-DK" smtClean="0"/>
              <a:pPr/>
              <a:t>‹#›</a:t>
            </a:fld>
            <a:endParaRPr lang="da-DK" dirty="0"/>
          </a:p>
        </p:txBody>
      </p:sp>
    </p:spTree>
    <p:extLst>
      <p:ext uri="{BB962C8B-B14F-4D97-AF65-F5344CB8AC3E}">
        <p14:creationId xmlns:p14="http://schemas.microsoft.com/office/powerpoint/2010/main" val="188294930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2_Titel og indholdsobjekt">
    <p:spTree>
      <p:nvGrpSpPr>
        <p:cNvPr id="1" name=""/>
        <p:cNvGrpSpPr/>
        <p:nvPr/>
      </p:nvGrpSpPr>
      <p:grpSpPr>
        <a:xfrm>
          <a:off x="0" y="0"/>
          <a:ext cx="0" cy="0"/>
          <a:chOff x="0" y="0"/>
          <a:chExt cx="0" cy="0"/>
        </a:xfrm>
      </p:grpSpPr>
      <p:sp>
        <p:nvSpPr>
          <p:cNvPr id="3" name="Pladsholder til indhold 2"/>
          <p:cNvSpPr>
            <a:spLocks noGrp="1"/>
          </p:cNvSpPr>
          <p:nvPr>
            <p:ph idx="1"/>
          </p:nvPr>
        </p:nvSpPr>
        <p:spPr>
          <a:xfrm>
            <a:off x="609521" y="1600201"/>
            <a:ext cx="10971372" cy="4349080"/>
          </a:xfrm>
          <a:solidFill>
            <a:schemeClr val="bg1"/>
          </a:solidFill>
        </p:spPr>
        <p:txBody>
          <a:bodyPr>
            <a:normAutofit/>
          </a:bodyPr>
          <a:lstStyle>
            <a:lvl1pPr marL="285757" indent="-285757">
              <a:buClr>
                <a:schemeClr val="tx2">
                  <a:lumMod val="50000"/>
                </a:schemeClr>
              </a:buClr>
              <a:buFont typeface="Arial" pitchFamily="34" charset="0"/>
              <a:buChar char="•"/>
              <a:defRPr sz="1600" cap="none" spc="200" baseline="0">
                <a:solidFill>
                  <a:srgbClr val="211A52"/>
                </a:solidFill>
              </a:defRPr>
            </a:lvl1pPr>
            <a:lvl2pPr marL="742968" indent="-285757">
              <a:buFont typeface="Arial" pitchFamily="34" charset="0"/>
              <a:buChar char="•"/>
              <a:defRPr sz="1600" cap="none" spc="200" baseline="0">
                <a:solidFill>
                  <a:srgbClr val="211A52"/>
                </a:solidFill>
              </a:defRPr>
            </a:lvl2pPr>
            <a:lvl3pPr marL="1200179" indent="-285757">
              <a:buFont typeface="Arial" pitchFamily="34" charset="0"/>
              <a:buChar char="•"/>
              <a:defRPr sz="1600" cap="none" spc="200" baseline="0">
                <a:solidFill>
                  <a:srgbClr val="211A52"/>
                </a:solidFill>
              </a:defRPr>
            </a:lvl3pPr>
            <a:lvl4pPr marL="1657390" indent="-285757">
              <a:buFont typeface="Arial" pitchFamily="34" charset="0"/>
              <a:buChar char="•"/>
              <a:defRPr sz="1600" cap="none" spc="200" baseline="0">
                <a:solidFill>
                  <a:srgbClr val="211A52"/>
                </a:solidFill>
              </a:defRPr>
            </a:lvl4pPr>
            <a:lvl5pPr marL="2114602" indent="-285757">
              <a:buFont typeface="Arial" pitchFamily="34" charset="0"/>
              <a:buChar char="•"/>
              <a:defRPr sz="1600" cap="none" spc="200" baseline="0">
                <a:solidFill>
                  <a:srgbClr val="211A52"/>
                </a:solidFill>
              </a:defRPr>
            </a:lvl5p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7" name="Titel 6"/>
          <p:cNvSpPr>
            <a:spLocks noGrp="1"/>
          </p:cNvSpPr>
          <p:nvPr>
            <p:ph type="title"/>
          </p:nvPr>
        </p:nvSpPr>
        <p:spPr>
          <a:xfrm>
            <a:off x="591866" y="332656"/>
            <a:ext cx="10971372" cy="1143000"/>
          </a:xfrm>
          <a:solidFill>
            <a:schemeClr val="bg1"/>
          </a:solidFill>
        </p:spPr>
        <p:txBody>
          <a:bodyPr>
            <a:normAutofit/>
          </a:bodyPr>
          <a:lstStyle>
            <a:lvl1pPr algn="ctr">
              <a:defRPr sz="3200" b="0" i="0" kern="0" cap="none" spc="100" baseline="0">
                <a:solidFill>
                  <a:srgbClr val="211A52"/>
                </a:solidFill>
              </a:defRPr>
            </a:lvl1pPr>
          </a:lstStyle>
          <a:p>
            <a:r>
              <a:rPr lang="da-DK" dirty="0"/>
              <a:t>Klik for at redigere i master</a:t>
            </a:r>
          </a:p>
        </p:txBody>
      </p:sp>
      <p:sp>
        <p:nvSpPr>
          <p:cNvPr id="16" name="Pladsholder til diasnummer 15"/>
          <p:cNvSpPr>
            <a:spLocks noGrp="1"/>
          </p:cNvSpPr>
          <p:nvPr>
            <p:ph type="sldNum" sz="quarter" idx="12"/>
          </p:nvPr>
        </p:nvSpPr>
        <p:spPr>
          <a:xfrm>
            <a:off x="8879153" y="6160220"/>
            <a:ext cx="2844430" cy="365125"/>
          </a:xfrm>
        </p:spPr>
        <p:txBody>
          <a:bodyPr/>
          <a:lstStyle>
            <a:lvl1pPr>
              <a:defRPr sz="800" b="1" cap="all" spc="200" baseline="0"/>
            </a:lvl1pPr>
          </a:lstStyle>
          <a:p>
            <a:fld id="{76FF49CB-DA36-4A0D-B7A5-D537E7FBD145}" type="slidenum">
              <a:rPr lang="da-DK" smtClean="0"/>
              <a:pPr/>
              <a:t>‹#›</a:t>
            </a:fld>
            <a:endParaRPr lang="da-DK" dirty="0"/>
          </a:p>
        </p:txBody>
      </p:sp>
    </p:spTree>
    <p:extLst>
      <p:ext uri="{BB962C8B-B14F-4D97-AF65-F5344CB8AC3E}">
        <p14:creationId xmlns:p14="http://schemas.microsoft.com/office/powerpoint/2010/main" val="371493832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3_Titel og indholdsobjekt">
    <p:spTree>
      <p:nvGrpSpPr>
        <p:cNvPr id="1" name=""/>
        <p:cNvGrpSpPr/>
        <p:nvPr/>
      </p:nvGrpSpPr>
      <p:grpSpPr>
        <a:xfrm>
          <a:off x="0" y="0"/>
          <a:ext cx="0" cy="0"/>
          <a:chOff x="0" y="0"/>
          <a:chExt cx="0" cy="0"/>
        </a:xfrm>
      </p:grpSpPr>
      <p:sp>
        <p:nvSpPr>
          <p:cNvPr id="3" name="Pladsholder til indhold 2"/>
          <p:cNvSpPr>
            <a:spLocks noGrp="1"/>
          </p:cNvSpPr>
          <p:nvPr>
            <p:ph idx="1"/>
          </p:nvPr>
        </p:nvSpPr>
        <p:spPr>
          <a:xfrm>
            <a:off x="609521" y="1600201"/>
            <a:ext cx="10971372" cy="4349080"/>
          </a:xfrm>
          <a:solidFill>
            <a:schemeClr val="bg1"/>
          </a:solidFill>
        </p:spPr>
        <p:txBody>
          <a:bodyPr>
            <a:normAutofit/>
          </a:bodyPr>
          <a:lstStyle>
            <a:lvl1pPr marL="285757" indent="-285757">
              <a:buClr>
                <a:schemeClr val="tx2">
                  <a:lumMod val="50000"/>
                </a:schemeClr>
              </a:buClr>
              <a:buFont typeface="Arial" pitchFamily="34" charset="0"/>
              <a:buChar char="•"/>
              <a:defRPr sz="1600" cap="none" spc="200" baseline="0">
                <a:solidFill>
                  <a:srgbClr val="211A52"/>
                </a:solidFill>
              </a:defRPr>
            </a:lvl1pPr>
            <a:lvl2pPr marL="742968" indent="-285757">
              <a:buFont typeface="Arial" pitchFamily="34" charset="0"/>
              <a:buChar char="•"/>
              <a:defRPr sz="1600" cap="none" spc="200" baseline="0">
                <a:solidFill>
                  <a:srgbClr val="211A52"/>
                </a:solidFill>
              </a:defRPr>
            </a:lvl2pPr>
            <a:lvl3pPr marL="1200179" indent="-285757">
              <a:buFont typeface="Arial" pitchFamily="34" charset="0"/>
              <a:buChar char="•"/>
              <a:defRPr sz="1600" cap="none" spc="200" baseline="0">
                <a:solidFill>
                  <a:srgbClr val="211A52"/>
                </a:solidFill>
              </a:defRPr>
            </a:lvl3pPr>
            <a:lvl4pPr marL="1657390" indent="-285757">
              <a:buFont typeface="Arial" pitchFamily="34" charset="0"/>
              <a:buChar char="•"/>
              <a:defRPr sz="1600" cap="none" spc="200" baseline="0">
                <a:solidFill>
                  <a:srgbClr val="211A52"/>
                </a:solidFill>
              </a:defRPr>
            </a:lvl4pPr>
            <a:lvl5pPr marL="2114602" indent="-285757">
              <a:buFont typeface="Arial" pitchFamily="34" charset="0"/>
              <a:buChar char="•"/>
              <a:defRPr sz="1600" cap="none" spc="200" baseline="0">
                <a:solidFill>
                  <a:srgbClr val="211A52"/>
                </a:solidFill>
              </a:defRPr>
            </a:lvl5p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7" name="Titel 6"/>
          <p:cNvSpPr>
            <a:spLocks noGrp="1"/>
          </p:cNvSpPr>
          <p:nvPr>
            <p:ph type="title"/>
          </p:nvPr>
        </p:nvSpPr>
        <p:spPr>
          <a:xfrm>
            <a:off x="591866" y="332656"/>
            <a:ext cx="10971372" cy="1143000"/>
          </a:xfrm>
          <a:solidFill>
            <a:schemeClr val="bg1"/>
          </a:solidFill>
        </p:spPr>
        <p:txBody>
          <a:bodyPr>
            <a:normAutofit/>
          </a:bodyPr>
          <a:lstStyle>
            <a:lvl1pPr algn="ctr">
              <a:defRPr sz="3200" b="0" i="0" kern="0" cap="none" spc="100" baseline="0">
                <a:solidFill>
                  <a:srgbClr val="211A52"/>
                </a:solidFill>
              </a:defRPr>
            </a:lvl1pPr>
          </a:lstStyle>
          <a:p>
            <a:r>
              <a:rPr lang="da-DK" dirty="0"/>
              <a:t>Klik for at redigere i master</a:t>
            </a:r>
          </a:p>
        </p:txBody>
      </p:sp>
      <p:sp>
        <p:nvSpPr>
          <p:cNvPr id="16" name="Pladsholder til diasnummer 15"/>
          <p:cNvSpPr>
            <a:spLocks noGrp="1"/>
          </p:cNvSpPr>
          <p:nvPr>
            <p:ph type="sldNum" sz="quarter" idx="12"/>
          </p:nvPr>
        </p:nvSpPr>
        <p:spPr>
          <a:xfrm>
            <a:off x="8879153" y="6160220"/>
            <a:ext cx="2844430" cy="365125"/>
          </a:xfrm>
        </p:spPr>
        <p:txBody>
          <a:bodyPr/>
          <a:lstStyle>
            <a:lvl1pPr>
              <a:defRPr sz="800" b="1" cap="all" spc="200" baseline="0"/>
            </a:lvl1pPr>
          </a:lstStyle>
          <a:p>
            <a:fld id="{76FF49CB-DA36-4A0D-B7A5-D537E7FBD145}" type="slidenum">
              <a:rPr lang="da-DK" smtClean="0"/>
              <a:pPr/>
              <a:t>‹#›</a:t>
            </a:fld>
            <a:endParaRPr lang="da-DK" dirty="0"/>
          </a:p>
        </p:txBody>
      </p:sp>
    </p:spTree>
    <p:extLst>
      <p:ext uri="{BB962C8B-B14F-4D97-AF65-F5344CB8AC3E}">
        <p14:creationId xmlns:p14="http://schemas.microsoft.com/office/powerpoint/2010/main" val="277292977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4_Titel og indholdsobjekt">
    <p:spTree>
      <p:nvGrpSpPr>
        <p:cNvPr id="1" name=""/>
        <p:cNvGrpSpPr/>
        <p:nvPr/>
      </p:nvGrpSpPr>
      <p:grpSpPr>
        <a:xfrm>
          <a:off x="0" y="0"/>
          <a:ext cx="0" cy="0"/>
          <a:chOff x="0" y="0"/>
          <a:chExt cx="0" cy="0"/>
        </a:xfrm>
      </p:grpSpPr>
      <p:sp>
        <p:nvSpPr>
          <p:cNvPr id="3" name="Pladsholder til indhold 2"/>
          <p:cNvSpPr>
            <a:spLocks noGrp="1"/>
          </p:cNvSpPr>
          <p:nvPr>
            <p:ph idx="1"/>
          </p:nvPr>
        </p:nvSpPr>
        <p:spPr>
          <a:xfrm>
            <a:off x="609521" y="1600201"/>
            <a:ext cx="10971372" cy="4349080"/>
          </a:xfrm>
          <a:solidFill>
            <a:schemeClr val="bg1"/>
          </a:solidFill>
        </p:spPr>
        <p:txBody>
          <a:bodyPr>
            <a:normAutofit/>
          </a:bodyPr>
          <a:lstStyle>
            <a:lvl1pPr marL="285757" indent="-285757">
              <a:buClr>
                <a:schemeClr val="tx2">
                  <a:lumMod val="50000"/>
                </a:schemeClr>
              </a:buClr>
              <a:buFont typeface="Arial" pitchFamily="34" charset="0"/>
              <a:buChar char="•"/>
              <a:defRPr sz="1600" cap="none" spc="200" baseline="0">
                <a:solidFill>
                  <a:srgbClr val="211A52"/>
                </a:solidFill>
              </a:defRPr>
            </a:lvl1pPr>
            <a:lvl2pPr marL="742968" indent="-285757">
              <a:buFont typeface="Arial" pitchFamily="34" charset="0"/>
              <a:buChar char="•"/>
              <a:defRPr sz="1600" cap="none" spc="200" baseline="0">
                <a:solidFill>
                  <a:srgbClr val="211A52"/>
                </a:solidFill>
              </a:defRPr>
            </a:lvl2pPr>
            <a:lvl3pPr marL="1200179" indent="-285757">
              <a:buFont typeface="Arial" pitchFamily="34" charset="0"/>
              <a:buChar char="•"/>
              <a:defRPr sz="1600" cap="none" spc="200" baseline="0">
                <a:solidFill>
                  <a:srgbClr val="211A52"/>
                </a:solidFill>
              </a:defRPr>
            </a:lvl3pPr>
            <a:lvl4pPr marL="1657390" indent="-285757">
              <a:buFont typeface="Arial" pitchFamily="34" charset="0"/>
              <a:buChar char="•"/>
              <a:defRPr sz="1600" cap="none" spc="200" baseline="0">
                <a:solidFill>
                  <a:srgbClr val="211A52"/>
                </a:solidFill>
              </a:defRPr>
            </a:lvl4pPr>
            <a:lvl5pPr marL="2114602" indent="-285757">
              <a:buFont typeface="Arial" pitchFamily="34" charset="0"/>
              <a:buChar char="•"/>
              <a:defRPr sz="1600" cap="none" spc="200" baseline="0">
                <a:solidFill>
                  <a:srgbClr val="211A52"/>
                </a:solidFill>
              </a:defRPr>
            </a:lvl5p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7" name="Titel 6"/>
          <p:cNvSpPr>
            <a:spLocks noGrp="1"/>
          </p:cNvSpPr>
          <p:nvPr>
            <p:ph type="title"/>
          </p:nvPr>
        </p:nvSpPr>
        <p:spPr>
          <a:xfrm>
            <a:off x="591866" y="332656"/>
            <a:ext cx="10971372" cy="1143000"/>
          </a:xfrm>
          <a:solidFill>
            <a:schemeClr val="bg1"/>
          </a:solidFill>
        </p:spPr>
        <p:txBody>
          <a:bodyPr>
            <a:normAutofit/>
          </a:bodyPr>
          <a:lstStyle>
            <a:lvl1pPr algn="ctr">
              <a:defRPr sz="3200" b="0" i="0" kern="0" cap="none" spc="100" baseline="0">
                <a:solidFill>
                  <a:srgbClr val="211A52"/>
                </a:solidFill>
              </a:defRPr>
            </a:lvl1pPr>
          </a:lstStyle>
          <a:p>
            <a:r>
              <a:rPr lang="da-DK" dirty="0"/>
              <a:t>Klik for at redigere i master</a:t>
            </a:r>
          </a:p>
        </p:txBody>
      </p:sp>
      <p:sp>
        <p:nvSpPr>
          <p:cNvPr id="16" name="Pladsholder til diasnummer 15"/>
          <p:cNvSpPr>
            <a:spLocks noGrp="1"/>
          </p:cNvSpPr>
          <p:nvPr>
            <p:ph type="sldNum" sz="quarter" idx="12"/>
          </p:nvPr>
        </p:nvSpPr>
        <p:spPr>
          <a:xfrm>
            <a:off x="8879153" y="6160220"/>
            <a:ext cx="2844430" cy="365125"/>
          </a:xfrm>
        </p:spPr>
        <p:txBody>
          <a:bodyPr/>
          <a:lstStyle>
            <a:lvl1pPr>
              <a:defRPr sz="800" b="1" cap="all" spc="200" baseline="0"/>
            </a:lvl1pPr>
          </a:lstStyle>
          <a:p>
            <a:fld id="{76FF49CB-DA36-4A0D-B7A5-D537E7FBD145}" type="slidenum">
              <a:rPr lang="da-DK" smtClean="0"/>
              <a:pPr/>
              <a:t>‹#›</a:t>
            </a:fld>
            <a:endParaRPr lang="da-DK" dirty="0"/>
          </a:p>
        </p:txBody>
      </p:sp>
    </p:spTree>
    <p:extLst>
      <p:ext uri="{BB962C8B-B14F-4D97-AF65-F5344CB8AC3E}">
        <p14:creationId xmlns:p14="http://schemas.microsoft.com/office/powerpoint/2010/main" val="7231038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ree columns">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8953C3-F3F7-4638-96F8-7CF20CB55E0C}"/>
              </a:ext>
            </a:extLst>
          </p:cNvPr>
          <p:cNvSpPr>
            <a:spLocks noGrp="1"/>
          </p:cNvSpPr>
          <p:nvPr>
            <p:ph type="title" hasCustomPrompt="1"/>
          </p:nvPr>
        </p:nvSpPr>
        <p:spPr>
          <a:xfrm>
            <a:off x="247650" y="980727"/>
            <a:ext cx="3740400" cy="418115"/>
          </a:xfrm>
        </p:spPr>
        <p:txBody>
          <a:bodyPr/>
          <a:lstStyle>
            <a:lvl1pPr>
              <a:defRPr sz="2400"/>
            </a:lvl1pPr>
          </a:lstStyle>
          <a:p>
            <a:r>
              <a:rPr lang="da-DK" dirty="0"/>
              <a:t>Click to add title one line</a:t>
            </a:r>
          </a:p>
        </p:txBody>
      </p:sp>
      <p:sp>
        <p:nvSpPr>
          <p:cNvPr id="15" name="Content Placeholder 2">
            <a:extLst>
              <a:ext uri="{FF2B5EF4-FFF2-40B4-BE49-F238E27FC236}">
                <a16:creationId xmlns:a16="http://schemas.microsoft.com/office/drawing/2014/main" id="{CC0DB591-4602-46B3-B1C3-1E64148AB9B7}"/>
              </a:ext>
            </a:extLst>
          </p:cNvPr>
          <p:cNvSpPr>
            <a:spLocks noGrp="1"/>
          </p:cNvSpPr>
          <p:nvPr>
            <p:ph idx="1"/>
          </p:nvPr>
        </p:nvSpPr>
        <p:spPr>
          <a:xfrm>
            <a:off x="247650" y="4407150"/>
            <a:ext cx="3740400" cy="1844425"/>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da-DK" dirty="0"/>
              <a:t>Edit Master text styles</a:t>
            </a:r>
            <a:endParaRPr lang="da-DK"/>
          </a:p>
          <a:p>
            <a:pPr lvl="1"/>
            <a:r>
              <a:rPr lang="da-DK" dirty="0"/>
              <a:t>Second level</a:t>
            </a:r>
            <a:endParaRPr lang="da-DK"/>
          </a:p>
          <a:p>
            <a:pPr lvl="2"/>
            <a:r>
              <a:rPr lang="da-DK" dirty="0"/>
              <a:t>Third level</a:t>
            </a:r>
            <a:endParaRPr lang="da-DK"/>
          </a:p>
          <a:p>
            <a:pPr lvl="3"/>
            <a:r>
              <a:rPr lang="da-DK" dirty="0"/>
              <a:t>Fourth level</a:t>
            </a:r>
            <a:endParaRPr lang="da-DK"/>
          </a:p>
          <a:p>
            <a:pPr lvl="4"/>
            <a:r>
              <a:rPr lang="da-DK" dirty="0"/>
              <a:t>Fifth level</a:t>
            </a:r>
            <a:endParaRPr lang="da-DK"/>
          </a:p>
        </p:txBody>
      </p:sp>
      <p:sp>
        <p:nvSpPr>
          <p:cNvPr id="19" name="Text Placeholder 18">
            <a:extLst>
              <a:ext uri="{FF2B5EF4-FFF2-40B4-BE49-F238E27FC236}">
                <a16:creationId xmlns:a16="http://schemas.microsoft.com/office/drawing/2014/main" id="{68416079-1CFC-426F-A6ED-5AB355FC545F}"/>
              </a:ext>
            </a:extLst>
          </p:cNvPr>
          <p:cNvSpPr>
            <a:spLocks noGrp="1"/>
          </p:cNvSpPr>
          <p:nvPr>
            <p:ph type="body" sz="quarter" idx="21" hasCustomPrompt="1"/>
          </p:nvPr>
        </p:nvSpPr>
        <p:spPr>
          <a:xfrm>
            <a:off x="4222750" y="979200"/>
            <a:ext cx="3740400" cy="417767"/>
          </a:xfrm>
        </p:spPr>
        <p:txBody>
          <a:bodyPr anchor="b" anchorCtr="0"/>
          <a:lstStyle>
            <a:lvl1pPr marL="0" indent="0">
              <a:buNone/>
              <a:defRPr sz="2400" b="1"/>
            </a:lvl1pPr>
            <a:lvl2pPr marL="0" indent="0">
              <a:buNone/>
              <a:defRPr sz="2400" b="1"/>
            </a:lvl2pPr>
            <a:lvl3pPr marL="0" indent="0">
              <a:buNone/>
              <a:defRPr sz="2400" b="1"/>
            </a:lvl3pPr>
            <a:lvl4pPr marL="0" indent="0">
              <a:buNone/>
              <a:defRPr sz="2400" b="1"/>
            </a:lvl4pPr>
            <a:lvl5pPr marL="0" indent="0">
              <a:buNone/>
              <a:defRPr sz="2400" b="1"/>
            </a:lvl5pPr>
          </a:lstStyle>
          <a:p>
            <a:pPr lvl="0"/>
            <a:r>
              <a:rPr lang="da-DK" dirty="0"/>
              <a:t>Click to add title one line</a:t>
            </a:r>
            <a:endParaRPr lang="da-DK"/>
          </a:p>
        </p:txBody>
      </p:sp>
      <p:sp>
        <p:nvSpPr>
          <p:cNvPr id="21" name="Content Placeholder 20">
            <a:extLst>
              <a:ext uri="{FF2B5EF4-FFF2-40B4-BE49-F238E27FC236}">
                <a16:creationId xmlns:a16="http://schemas.microsoft.com/office/drawing/2014/main" id="{D358873C-68BF-4E89-B536-B3248F2B25FE}"/>
              </a:ext>
            </a:extLst>
          </p:cNvPr>
          <p:cNvSpPr>
            <a:spLocks noGrp="1"/>
          </p:cNvSpPr>
          <p:nvPr>
            <p:ph sz="quarter" idx="22"/>
          </p:nvPr>
        </p:nvSpPr>
        <p:spPr>
          <a:xfrm>
            <a:off x="4222750" y="4406899"/>
            <a:ext cx="3740401" cy="1844675"/>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da-DK" dirty="0"/>
              <a:t>Edit Master text styles</a:t>
            </a:r>
            <a:endParaRPr lang="da-DK"/>
          </a:p>
          <a:p>
            <a:pPr lvl="1"/>
            <a:r>
              <a:rPr lang="da-DK" dirty="0"/>
              <a:t>Second level</a:t>
            </a:r>
            <a:endParaRPr lang="da-DK"/>
          </a:p>
          <a:p>
            <a:pPr lvl="2"/>
            <a:r>
              <a:rPr lang="da-DK" dirty="0"/>
              <a:t>Third level</a:t>
            </a:r>
            <a:endParaRPr lang="da-DK"/>
          </a:p>
          <a:p>
            <a:pPr lvl="3"/>
            <a:r>
              <a:rPr lang="da-DK" dirty="0"/>
              <a:t>Fourth level</a:t>
            </a:r>
            <a:endParaRPr lang="da-DK"/>
          </a:p>
          <a:p>
            <a:pPr lvl="4"/>
            <a:r>
              <a:rPr lang="da-DK" dirty="0"/>
              <a:t>Fifth level</a:t>
            </a:r>
            <a:endParaRPr lang="da-DK"/>
          </a:p>
          <a:p>
            <a:pPr lvl="5"/>
            <a:endParaRPr lang="da-DK" dirty="0"/>
          </a:p>
        </p:txBody>
      </p:sp>
      <p:sp>
        <p:nvSpPr>
          <p:cNvPr id="23" name="Text Placeholder 22">
            <a:extLst>
              <a:ext uri="{FF2B5EF4-FFF2-40B4-BE49-F238E27FC236}">
                <a16:creationId xmlns:a16="http://schemas.microsoft.com/office/drawing/2014/main" id="{69A0E900-1FE2-4CC1-B435-93F3A1189356}"/>
              </a:ext>
            </a:extLst>
          </p:cNvPr>
          <p:cNvSpPr>
            <a:spLocks noGrp="1"/>
          </p:cNvSpPr>
          <p:nvPr>
            <p:ph type="body" sz="quarter" idx="23" hasCustomPrompt="1"/>
          </p:nvPr>
        </p:nvSpPr>
        <p:spPr>
          <a:xfrm>
            <a:off x="8197850" y="979200"/>
            <a:ext cx="3740400" cy="417767"/>
          </a:xfrm>
        </p:spPr>
        <p:txBody>
          <a:bodyPr anchor="b" anchorCtr="0"/>
          <a:lstStyle>
            <a:lvl1pPr marL="0" indent="0">
              <a:buNone/>
              <a:defRPr sz="2400" b="1"/>
            </a:lvl1pPr>
            <a:lvl2pPr marL="0" indent="0">
              <a:buNone/>
              <a:defRPr sz="2400" b="1"/>
            </a:lvl2pPr>
            <a:lvl3pPr marL="0" indent="0">
              <a:buNone/>
              <a:defRPr sz="2400" b="1"/>
            </a:lvl3pPr>
            <a:lvl4pPr marL="0" indent="0">
              <a:buNone/>
              <a:defRPr sz="2400" b="1"/>
            </a:lvl4pPr>
            <a:lvl5pPr marL="0" indent="0">
              <a:buNone/>
              <a:defRPr sz="2400" b="1"/>
            </a:lvl5pPr>
          </a:lstStyle>
          <a:p>
            <a:pPr lvl="0"/>
            <a:r>
              <a:rPr lang="da-DK" dirty="0"/>
              <a:t>Click to add title one line</a:t>
            </a:r>
            <a:endParaRPr lang="da-DK"/>
          </a:p>
        </p:txBody>
      </p:sp>
      <p:sp>
        <p:nvSpPr>
          <p:cNvPr id="25" name="Content Placeholder 24">
            <a:extLst>
              <a:ext uri="{FF2B5EF4-FFF2-40B4-BE49-F238E27FC236}">
                <a16:creationId xmlns:a16="http://schemas.microsoft.com/office/drawing/2014/main" id="{E094886A-F110-4851-B1DA-8DFC40D509F8}"/>
              </a:ext>
            </a:extLst>
          </p:cNvPr>
          <p:cNvSpPr>
            <a:spLocks noGrp="1"/>
          </p:cNvSpPr>
          <p:nvPr>
            <p:ph sz="quarter" idx="24"/>
          </p:nvPr>
        </p:nvSpPr>
        <p:spPr>
          <a:xfrm>
            <a:off x="8197850" y="4406899"/>
            <a:ext cx="3740400" cy="1844675"/>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da-DK" dirty="0"/>
              <a:t>Edit Master text styles</a:t>
            </a:r>
            <a:endParaRPr lang="da-DK"/>
          </a:p>
          <a:p>
            <a:pPr lvl="1"/>
            <a:r>
              <a:rPr lang="da-DK" dirty="0"/>
              <a:t>Second level</a:t>
            </a:r>
            <a:endParaRPr lang="da-DK"/>
          </a:p>
          <a:p>
            <a:pPr lvl="2"/>
            <a:r>
              <a:rPr lang="da-DK" dirty="0"/>
              <a:t>Third level</a:t>
            </a:r>
            <a:endParaRPr lang="da-DK"/>
          </a:p>
          <a:p>
            <a:pPr lvl="3"/>
            <a:r>
              <a:rPr lang="da-DK" dirty="0"/>
              <a:t>Fourth level</a:t>
            </a:r>
            <a:endParaRPr lang="da-DK"/>
          </a:p>
          <a:p>
            <a:pPr lvl="4"/>
            <a:r>
              <a:rPr lang="da-DK" dirty="0"/>
              <a:t>Fifth level</a:t>
            </a:r>
            <a:endParaRPr lang="da-DK"/>
          </a:p>
          <a:p>
            <a:pPr lvl="5"/>
            <a:endParaRPr lang="da-DK" dirty="0"/>
          </a:p>
        </p:txBody>
      </p:sp>
      <p:sp>
        <p:nvSpPr>
          <p:cNvPr id="9" name="Picture Placeholder 8">
            <a:extLst>
              <a:ext uri="{FF2B5EF4-FFF2-40B4-BE49-F238E27FC236}">
                <a16:creationId xmlns:a16="http://schemas.microsoft.com/office/drawing/2014/main" id="{91B02311-54A6-4455-B615-BBCA0DA742E4}"/>
              </a:ext>
            </a:extLst>
          </p:cNvPr>
          <p:cNvSpPr>
            <a:spLocks noGrp="1"/>
          </p:cNvSpPr>
          <p:nvPr>
            <p:ph type="pic" sz="quarter" idx="18" hasCustomPrompt="1"/>
          </p:nvPr>
        </p:nvSpPr>
        <p:spPr>
          <a:xfrm>
            <a:off x="247650" y="1546282"/>
            <a:ext cx="3740400" cy="2664000"/>
          </a:xfrm>
        </p:spPr>
        <p:txBody>
          <a:bodyPr/>
          <a:lstStyle>
            <a:lvl1pPr marL="0" indent="0" algn="ctr">
              <a:buNone/>
              <a:defRPr sz="1200"/>
            </a:lvl1pPr>
          </a:lstStyle>
          <a:p>
            <a:r>
              <a:rPr lang="da-DK" dirty="0"/>
              <a:t>Click the placeholder and paste image via Skyfish icon</a:t>
            </a:r>
            <a:endParaRPr lang="da-DK"/>
          </a:p>
        </p:txBody>
      </p:sp>
      <p:sp>
        <p:nvSpPr>
          <p:cNvPr id="13" name="Picture Placeholder 8">
            <a:extLst>
              <a:ext uri="{FF2B5EF4-FFF2-40B4-BE49-F238E27FC236}">
                <a16:creationId xmlns:a16="http://schemas.microsoft.com/office/drawing/2014/main" id="{710A5827-3485-49A0-81F0-FF89EE34B804}"/>
              </a:ext>
            </a:extLst>
          </p:cNvPr>
          <p:cNvSpPr>
            <a:spLocks noGrp="1"/>
          </p:cNvSpPr>
          <p:nvPr>
            <p:ph type="pic" sz="quarter" idx="19" hasCustomPrompt="1"/>
          </p:nvPr>
        </p:nvSpPr>
        <p:spPr>
          <a:xfrm>
            <a:off x="4223149" y="1548581"/>
            <a:ext cx="3740400" cy="2664000"/>
          </a:xfrm>
        </p:spPr>
        <p:txBody>
          <a:bodyPr/>
          <a:lstStyle>
            <a:lvl1pPr marL="0" indent="0" algn="ctr">
              <a:buNone/>
              <a:defRPr sz="1200"/>
            </a:lvl1pPr>
          </a:lstStyle>
          <a:p>
            <a:r>
              <a:rPr lang="da-DK" dirty="0"/>
              <a:t>Click the placeholder and paste image via Skyfish icon</a:t>
            </a:r>
            <a:endParaRPr lang="da-DK"/>
          </a:p>
        </p:txBody>
      </p:sp>
      <p:sp>
        <p:nvSpPr>
          <p:cNvPr id="14" name="Picture Placeholder 8">
            <a:extLst>
              <a:ext uri="{FF2B5EF4-FFF2-40B4-BE49-F238E27FC236}">
                <a16:creationId xmlns:a16="http://schemas.microsoft.com/office/drawing/2014/main" id="{E27B0558-FCB8-4A55-9BA9-182DFF0387F4}"/>
              </a:ext>
            </a:extLst>
          </p:cNvPr>
          <p:cNvSpPr>
            <a:spLocks noGrp="1"/>
          </p:cNvSpPr>
          <p:nvPr>
            <p:ph type="pic" sz="quarter" idx="20" hasCustomPrompt="1"/>
          </p:nvPr>
        </p:nvSpPr>
        <p:spPr>
          <a:xfrm>
            <a:off x="8198648" y="1546282"/>
            <a:ext cx="3740400" cy="2664000"/>
          </a:xfrm>
        </p:spPr>
        <p:txBody>
          <a:bodyPr/>
          <a:lstStyle>
            <a:lvl1pPr marL="0" indent="0" algn="ctr">
              <a:buNone/>
              <a:defRPr sz="1200"/>
            </a:lvl1pPr>
          </a:lstStyle>
          <a:p>
            <a:r>
              <a:rPr lang="da-DK" dirty="0"/>
              <a:t>Click the placeholder and paste image via Skyfish icon</a:t>
            </a:r>
            <a:endParaRPr lang="da-DK"/>
          </a:p>
        </p:txBody>
      </p:sp>
      <p:sp>
        <p:nvSpPr>
          <p:cNvPr id="3" name="Footer Placeholder 2">
            <a:extLst>
              <a:ext uri="{FF2B5EF4-FFF2-40B4-BE49-F238E27FC236}">
                <a16:creationId xmlns:a16="http://schemas.microsoft.com/office/drawing/2014/main" id="{71346B4F-F02C-40EC-9B70-932B18214C6A}"/>
              </a:ext>
            </a:extLst>
          </p:cNvPr>
          <p:cNvSpPr>
            <a:spLocks noGrp="1"/>
          </p:cNvSpPr>
          <p:nvPr>
            <p:ph type="ftr" sz="quarter" idx="16"/>
          </p:nvPr>
        </p:nvSpPr>
        <p:spPr/>
        <p:txBody>
          <a:bodyPr/>
          <a:lstStyle/>
          <a:p>
            <a:endParaRPr lang="da-DK" dirty="0"/>
          </a:p>
        </p:txBody>
      </p:sp>
      <p:sp>
        <p:nvSpPr>
          <p:cNvPr id="4" name="Slide Number Placeholder 3">
            <a:extLst>
              <a:ext uri="{FF2B5EF4-FFF2-40B4-BE49-F238E27FC236}">
                <a16:creationId xmlns:a16="http://schemas.microsoft.com/office/drawing/2014/main" id="{FE67EB69-BB5A-407E-BF0A-1CB9B24506D8}"/>
              </a:ext>
            </a:extLst>
          </p:cNvPr>
          <p:cNvSpPr>
            <a:spLocks noGrp="1"/>
          </p:cNvSpPr>
          <p:nvPr>
            <p:ph type="sldNum" sz="quarter" idx="17"/>
          </p:nvPr>
        </p:nvSpPr>
        <p:spPr/>
        <p:txBody>
          <a:bodyPr/>
          <a:lstStyle>
            <a:lvl1pPr>
              <a:defRPr>
                <a:solidFill>
                  <a:schemeClr val="bg1"/>
                </a:solidFill>
              </a:defRPr>
            </a:lvl1pPr>
          </a:lstStyle>
          <a:p>
            <a:fld id="{103EA872-A674-449B-A120-B97244F8E91D}" type="slidenum">
              <a:rPr lang="da-DK" smtClean="0"/>
              <a:pPr/>
              <a:t>‹#›</a:t>
            </a:fld>
            <a:endParaRPr lang="da-DK" dirty="0"/>
          </a:p>
        </p:txBody>
      </p:sp>
    </p:spTree>
    <p:extLst>
      <p:ext uri="{BB962C8B-B14F-4D97-AF65-F5344CB8AC3E}">
        <p14:creationId xmlns:p14="http://schemas.microsoft.com/office/powerpoint/2010/main" val="188637407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56">
          <p15:clr>
            <a:srgbClr val="F26B43"/>
          </p15:clr>
        </p15:guide>
        <p15:guide id="2" pos="7522" userDrawn="1">
          <p15:clr>
            <a:srgbClr val="F26B43"/>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5_Titel og indholdsobjekt">
    <p:spTree>
      <p:nvGrpSpPr>
        <p:cNvPr id="1" name=""/>
        <p:cNvGrpSpPr/>
        <p:nvPr/>
      </p:nvGrpSpPr>
      <p:grpSpPr>
        <a:xfrm>
          <a:off x="0" y="0"/>
          <a:ext cx="0" cy="0"/>
          <a:chOff x="0" y="0"/>
          <a:chExt cx="0" cy="0"/>
        </a:xfrm>
      </p:grpSpPr>
      <p:sp>
        <p:nvSpPr>
          <p:cNvPr id="3" name="Pladsholder til indhold 2"/>
          <p:cNvSpPr>
            <a:spLocks noGrp="1"/>
          </p:cNvSpPr>
          <p:nvPr>
            <p:ph idx="1"/>
          </p:nvPr>
        </p:nvSpPr>
        <p:spPr>
          <a:xfrm>
            <a:off x="609521" y="1600201"/>
            <a:ext cx="10971372" cy="4349080"/>
          </a:xfrm>
          <a:solidFill>
            <a:schemeClr val="bg1"/>
          </a:solidFill>
        </p:spPr>
        <p:txBody>
          <a:bodyPr>
            <a:normAutofit/>
          </a:bodyPr>
          <a:lstStyle>
            <a:lvl1pPr marL="285757" indent="-285757">
              <a:buClr>
                <a:schemeClr val="tx2">
                  <a:lumMod val="50000"/>
                </a:schemeClr>
              </a:buClr>
              <a:buFont typeface="Arial" pitchFamily="34" charset="0"/>
              <a:buChar char="•"/>
              <a:defRPr sz="1600" cap="none" spc="200" baseline="0">
                <a:solidFill>
                  <a:srgbClr val="211A52"/>
                </a:solidFill>
              </a:defRPr>
            </a:lvl1pPr>
            <a:lvl2pPr marL="742968" indent="-285757">
              <a:buFont typeface="Arial" pitchFamily="34" charset="0"/>
              <a:buChar char="•"/>
              <a:defRPr sz="1600" cap="none" spc="200" baseline="0">
                <a:solidFill>
                  <a:srgbClr val="211A52"/>
                </a:solidFill>
              </a:defRPr>
            </a:lvl2pPr>
            <a:lvl3pPr marL="1200179" indent="-285757">
              <a:buFont typeface="Arial" pitchFamily="34" charset="0"/>
              <a:buChar char="•"/>
              <a:defRPr sz="1600" cap="none" spc="200" baseline="0">
                <a:solidFill>
                  <a:srgbClr val="211A52"/>
                </a:solidFill>
              </a:defRPr>
            </a:lvl3pPr>
            <a:lvl4pPr marL="1657390" indent="-285757">
              <a:buFont typeface="Arial" pitchFamily="34" charset="0"/>
              <a:buChar char="•"/>
              <a:defRPr sz="1600" cap="none" spc="200" baseline="0">
                <a:solidFill>
                  <a:srgbClr val="211A52"/>
                </a:solidFill>
              </a:defRPr>
            </a:lvl4pPr>
            <a:lvl5pPr marL="2114602" indent="-285757">
              <a:buFont typeface="Arial" pitchFamily="34" charset="0"/>
              <a:buChar char="•"/>
              <a:defRPr sz="1600" cap="none" spc="200" baseline="0">
                <a:solidFill>
                  <a:srgbClr val="211A52"/>
                </a:solidFill>
              </a:defRPr>
            </a:lvl5p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7" name="Titel 6"/>
          <p:cNvSpPr>
            <a:spLocks noGrp="1"/>
          </p:cNvSpPr>
          <p:nvPr>
            <p:ph type="title"/>
          </p:nvPr>
        </p:nvSpPr>
        <p:spPr>
          <a:xfrm>
            <a:off x="591866" y="332656"/>
            <a:ext cx="10971372" cy="1143000"/>
          </a:xfrm>
          <a:solidFill>
            <a:schemeClr val="bg1"/>
          </a:solidFill>
        </p:spPr>
        <p:txBody>
          <a:bodyPr>
            <a:normAutofit/>
          </a:bodyPr>
          <a:lstStyle>
            <a:lvl1pPr algn="ctr">
              <a:defRPr sz="3200" b="0" i="0" kern="0" cap="none" spc="100" baseline="0">
                <a:solidFill>
                  <a:srgbClr val="211A52"/>
                </a:solidFill>
              </a:defRPr>
            </a:lvl1pPr>
          </a:lstStyle>
          <a:p>
            <a:r>
              <a:rPr lang="da-DK" dirty="0"/>
              <a:t>Klik for at redigere i master</a:t>
            </a:r>
          </a:p>
        </p:txBody>
      </p:sp>
      <p:sp>
        <p:nvSpPr>
          <p:cNvPr id="16" name="Pladsholder til diasnummer 15"/>
          <p:cNvSpPr>
            <a:spLocks noGrp="1"/>
          </p:cNvSpPr>
          <p:nvPr>
            <p:ph type="sldNum" sz="quarter" idx="12"/>
          </p:nvPr>
        </p:nvSpPr>
        <p:spPr>
          <a:xfrm>
            <a:off x="8879153" y="6160220"/>
            <a:ext cx="2844430" cy="365125"/>
          </a:xfrm>
        </p:spPr>
        <p:txBody>
          <a:bodyPr/>
          <a:lstStyle>
            <a:lvl1pPr>
              <a:defRPr sz="800" b="1" cap="all" spc="200" baseline="0"/>
            </a:lvl1pPr>
          </a:lstStyle>
          <a:p>
            <a:fld id="{76FF49CB-DA36-4A0D-B7A5-D537E7FBD145}" type="slidenum">
              <a:rPr lang="da-DK" smtClean="0"/>
              <a:pPr/>
              <a:t>‹#›</a:t>
            </a:fld>
            <a:endParaRPr lang="da-DK" dirty="0"/>
          </a:p>
        </p:txBody>
      </p:sp>
    </p:spTree>
    <p:extLst>
      <p:ext uri="{BB962C8B-B14F-4D97-AF65-F5344CB8AC3E}">
        <p14:creationId xmlns:p14="http://schemas.microsoft.com/office/powerpoint/2010/main" val="311020315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6_Titel og indholdsobjekt">
    <p:spTree>
      <p:nvGrpSpPr>
        <p:cNvPr id="1" name=""/>
        <p:cNvGrpSpPr/>
        <p:nvPr/>
      </p:nvGrpSpPr>
      <p:grpSpPr>
        <a:xfrm>
          <a:off x="0" y="0"/>
          <a:ext cx="0" cy="0"/>
          <a:chOff x="0" y="0"/>
          <a:chExt cx="0" cy="0"/>
        </a:xfrm>
      </p:grpSpPr>
      <p:sp>
        <p:nvSpPr>
          <p:cNvPr id="3" name="Pladsholder til indhold 2"/>
          <p:cNvSpPr>
            <a:spLocks noGrp="1"/>
          </p:cNvSpPr>
          <p:nvPr>
            <p:ph idx="1"/>
          </p:nvPr>
        </p:nvSpPr>
        <p:spPr>
          <a:xfrm>
            <a:off x="609521" y="1600201"/>
            <a:ext cx="10971372" cy="4349080"/>
          </a:xfrm>
          <a:solidFill>
            <a:schemeClr val="bg1"/>
          </a:solidFill>
        </p:spPr>
        <p:txBody>
          <a:bodyPr>
            <a:normAutofit/>
          </a:bodyPr>
          <a:lstStyle>
            <a:lvl1pPr marL="285757" indent="-285757">
              <a:buClr>
                <a:schemeClr val="tx2">
                  <a:lumMod val="50000"/>
                </a:schemeClr>
              </a:buClr>
              <a:buFont typeface="Arial" pitchFamily="34" charset="0"/>
              <a:buChar char="•"/>
              <a:defRPr sz="1600" cap="none" spc="200" baseline="0">
                <a:solidFill>
                  <a:srgbClr val="211A52"/>
                </a:solidFill>
              </a:defRPr>
            </a:lvl1pPr>
            <a:lvl2pPr marL="742968" indent="-285757">
              <a:buFont typeface="Arial" pitchFamily="34" charset="0"/>
              <a:buChar char="•"/>
              <a:defRPr sz="1600" cap="none" spc="200" baseline="0">
                <a:solidFill>
                  <a:srgbClr val="211A52"/>
                </a:solidFill>
              </a:defRPr>
            </a:lvl2pPr>
            <a:lvl3pPr marL="1200179" indent="-285757">
              <a:buFont typeface="Arial" pitchFamily="34" charset="0"/>
              <a:buChar char="•"/>
              <a:defRPr sz="1600" cap="none" spc="200" baseline="0">
                <a:solidFill>
                  <a:srgbClr val="211A52"/>
                </a:solidFill>
              </a:defRPr>
            </a:lvl3pPr>
            <a:lvl4pPr marL="1657390" indent="-285757">
              <a:buFont typeface="Arial" pitchFamily="34" charset="0"/>
              <a:buChar char="•"/>
              <a:defRPr sz="1600" cap="none" spc="200" baseline="0">
                <a:solidFill>
                  <a:srgbClr val="211A52"/>
                </a:solidFill>
              </a:defRPr>
            </a:lvl4pPr>
            <a:lvl5pPr marL="2114602" indent="-285757">
              <a:buFont typeface="Arial" pitchFamily="34" charset="0"/>
              <a:buChar char="•"/>
              <a:defRPr sz="1600" cap="none" spc="200" baseline="0">
                <a:solidFill>
                  <a:srgbClr val="211A52"/>
                </a:solidFill>
              </a:defRPr>
            </a:lvl5p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7" name="Titel 6"/>
          <p:cNvSpPr>
            <a:spLocks noGrp="1"/>
          </p:cNvSpPr>
          <p:nvPr>
            <p:ph type="title"/>
          </p:nvPr>
        </p:nvSpPr>
        <p:spPr>
          <a:xfrm>
            <a:off x="591866" y="332656"/>
            <a:ext cx="10971372" cy="1143000"/>
          </a:xfrm>
          <a:solidFill>
            <a:schemeClr val="bg1"/>
          </a:solidFill>
        </p:spPr>
        <p:txBody>
          <a:bodyPr>
            <a:normAutofit/>
          </a:bodyPr>
          <a:lstStyle>
            <a:lvl1pPr algn="ctr">
              <a:defRPr sz="3200" b="0" i="0" kern="0" cap="none" spc="100" baseline="0">
                <a:solidFill>
                  <a:srgbClr val="211A52"/>
                </a:solidFill>
              </a:defRPr>
            </a:lvl1pPr>
          </a:lstStyle>
          <a:p>
            <a:r>
              <a:rPr lang="da-DK" dirty="0"/>
              <a:t>Klik for at redigere i master</a:t>
            </a:r>
          </a:p>
        </p:txBody>
      </p:sp>
      <p:sp>
        <p:nvSpPr>
          <p:cNvPr id="14" name="Pladsholder til dato 13"/>
          <p:cNvSpPr>
            <a:spLocks noGrp="1"/>
          </p:cNvSpPr>
          <p:nvPr>
            <p:ph type="dt" sz="half" idx="10"/>
          </p:nvPr>
        </p:nvSpPr>
        <p:spPr>
          <a:xfrm>
            <a:off x="623310" y="6221831"/>
            <a:ext cx="4319918" cy="591546"/>
          </a:xfrm>
        </p:spPr>
        <p:txBody>
          <a:bodyPr/>
          <a:lstStyle>
            <a:lvl1pPr>
              <a:defRPr sz="800" b="1" cap="all" spc="200" baseline="0"/>
            </a:lvl1pPr>
          </a:lstStyle>
          <a:p>
            <a:endParaRPr lang="da-DK" dirty="0"/>
          </a:p>
          <a:p>
            <a:r>
              <a:rPr lang="da-DK" sz="1000" dirty="0"/>
              <a:t>DIST</a:t>
            </a:r>
            <a:endParaRPr lang="da-DK" sz="800" dirty="0"/>
          </a:p>
          <a:p>
            <a:r>
              <a:rPr lang="da-DK" dirty="0"/>
              <a:t>DEVELOPMENT AND PLANNING</a:t>
            </a:r>
          </a:p>
          <a:p>
            <a:endParaRPr lang="da-DK" dirty="0"/>
          </a:p>
          <a:p>
            <a:endParaRPr lang="da-DK" dirty="0"/>
          </a:p>
          <a:p>
            <a:endParaRPr lang="da-DK" dirty="0"/>
          </a:p>
        </p:txBody>
      </p:sp>
      <p:sp>
        <p:nvSpPr>
          <p:cNvPr id="16" name="Pladsholder til diasnummer 15"/>
          <p:cNvSpPr>
            <a:spLocks noGrp="1"/>
          </p:cNvSpPr>
          <p:nvPr>
            <p:ph type="sldNum" sz="quarter" idx="12"/>
          </p:nvPr>
        </p:nvSpPr>
        <p:spPr>
          <a:xfrm>
            <a:off x="8879153" y="6160220"/>
            <a:ext cx="2844430" cy="365125"/>
          </a:xfrm>
        </p:spPr>
        <p:txBody>
          <a:bodyPr/>
          <a:lstStyle>
            <a:lvl1pPr>
              <a:defRPr sz="800" b="1" cap="all" spc="200" baseline="0"/>
            </a:lvl1pPr>
          </a:lstStyle>
          <a:p>
            <a:fld id="{76FF49CB-DA36-4A0D-B7A5-D537E7FBD145}" type="slidenum">
              <a:rPr lang="da-DK" smtClean="0"/>
              <a:pPr/>
              <a:t>‹#›</a:t>
            </a:fld>
            <a:endParaRPr lang="da-DK" dirty="0"/>
          </a:p>
        </p:txBody>
      </p:sp>
      <p:pic>
        <p:nvPicPr>
          <p:cNvPr id="2" name="Billed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07046" y="5949280"/>
            <a:ext cx="1548142" cy="817642"/>
          </a:xfrm>
          <a:prstGeom prst="rect">
            <a:avLst/>
          </a:prstGeom>
        </p:spPr>
      </p:pic>
    </p:spTree>
    <p:extLst>
      <p:ext uri="{BB962C8B-B14F-4D97-AF65-F5344CB8AC3E}">
        <p14:creationId xmlns:p14="http://schemas.microsoft.com/office/powerpoint/2010/main" val="407236890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7_Titel og indholdsobjekt">
    <p:spTree>
      <p:nvGrpSpPr>
        <p:cNvPr id="1" name=""/>
        <p:cNvGrpSpPr/>
        <p:nvPr/>
      </p:nvGrpSpPr>
      <p:grpSpPr>
        <a:xfrm>
          <a:off x="0" y="0"/>
          <a:ext cx="0" cy="0"/>
          <a:chOff x="0" y="0"/>
          <a:chExt cx="0" cy="0"/>
        </a:xfrm>
      </p:grpSpPr>
      <p:sp>
        <p:nvSpPr>
          <p:cNvPr id="3" name="Pladsholder til indhold 2"/>
          <p:cNvSpPr>
            <a:spLocks noGrp="1"/>
          </p:cNvSpPr>
          <p:nvPr>
            <p:ph idx="1"/>
          </p:nvPr>
        </p:nvSpPr>
        <p:spPr>
          <a:xfrm>
            <a:off x="609521" y="1600201"/>
            <a:ext cx="10971372" cy="4349080"/>
          </a:xfrm>
          <a:solidFill>
            <a:schemeClr val="bg1"/>
          </a:solidFill>
        </p:spPr>
        <p:txBody>
          <a:bodyPr>
            <a:normAutofit/>
          </a:bodyPr>
          <a:lstStyle>
            <a:lvl1pPr marL="285757" indent="-285757">
              <a:buClr>
                <a:schemeClr val="tx2">
                  <a:lumMod val="50000"/>
                </a:schemeClr>
              </a:buClr>
              <a:buFont typeface="Arial" pitchFamily="34" charset="0"/>
              <a:buChar char="•"/>
              <a:defRPr sz="1600" cap="none" spc="200" baseline="0">
                <a:solidFill>
                  <a:srgbClr val="211A52"/>
                </a:solidFill>
              </a:defRPr>
            </a:lvl1pPr>
            <a:lvl2pPr marL="742968" indent="-285757">
              <a:buFont typeface="Arial" pitchFamily="34" charset="0"/>
              <a:buChar char="•"/>
              <a:defRPr sz="1600" cap="none" spc="200" baseline="0">
                <a:solidFill>
                  <a:srgbClr val="211A52"/>
                </a:solidFill>
              </a:defRPr>
            </a:lvl2pPr>
            <a:lvl3pPr marL="1200179" indent="-285757">
              <a:buFont typeface="Arial" pitchFamily="34" charset="0"/>
              <a:buChar char="•"/>
              <a:defRPr sz="1600" cap="none" spc="200" baseline="0">
                <a:solidFill>
                  <a:srgbClr val="211A52"/>
                </a:solidFill>
              </a:defRPr>
            </a:lvl3pPr>
            <a:lvl4pPr marL="1657390" indent="-285757">
              <a:buFont typeface="Arial" pitchFamily="34" charset="0"/>
              <a:buChar char="•"/>
              <a:defRPr sz="1600" cap="none" spc="200" baseline="0">
                <a:solidFill>
                  <a:srgbClr val="211A52"/>
                </a:solidFill>
              </a:defRPr>
            </a:lvl4pPr>
            <a:lvl5pPr marL="2114602" indent="-285757">
              <a:buFont typeface="Arial" pitchFamily="34" charset="0"/>
              <a:buChar char="•"/>
              <a:defRPr sz="1600" cap="none" spc="200" baseline="0">
                <a:solidFill>
                  <a:srgbClr val="211A52"/>
                </a:solidFill>
              </a:defRPr>
            </a:lvl5p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7" name="Titel 6"/>
          <p:cNvSpPr>
            <a:spLocks noGrp="1"/>
          </p:cNvSpPr>
          <p:nvPr>
            <p:ph type="title"/>
          </p:nvPr>
        </p:nvSpPr>
        <p:spPr>
          <a:xfrm>
            <a:off x="591866" y="332656"/>
            <a:ext cx="10971372" cy="1143000"/>
          </a:xfrm>
          <a:solidFill>
            <a:schemeClr val="bg1"/>
          </a:solidFill>
        </p:spPr>
        <p:txBody>
          <a:bodyPr>
            <a:normAutofit/>
          </a:bodyPr>
          <a:lstStyle>
            <a:lvl1pPr algn="ctr">
              <a:defRPr sz="3200" b="0" i="0" kern="0" cap="none" spc="100" baseline="0">
                <a:solidFill>
                  <a:srgbClr val="211A52"/>
                </a:solidFill>
              </a:defRPr>
            </a:lvl1pPr>
          </a:lstStyle>
          <a:p>
            <a:r>
              <a:rPr lang="da-DK" dirty="0"/>
              <a:t>Klik for at redigere i master</a:t>
            </a:r>
          </a:p>
        </p:txBody>
      </p:sp>
      <p:sp>
        <p:nvSpPr>
          <p:cNvPr id="14" name="Pladsholder til dato 13"/>
          <p:cNvSpPr>
            <a:spLocks noGrp="1"/>
          </p:cNvSpPr>
          <p:nvPr>
            <p:ph type="dt" sz="half" idx="10"/>
          </p:nvPr>
        </p:nvSpPr>
        <p:spPr>
          <a:xfrm>
            <a:off x="623310" y="6221831"/>
            <a:ext cx="4319918" cy="591546"/>
          </a:xfrm>
        </p:spPr>
        <p:txBody>
          <a:bodyPr/>
          <a:lstStyle>
            <a:lvl1pPr>
              <a:defRPr sz="800" b="1" cap="all" spc="200" baseline="0"/>
            </a:lvl1pPr>
          </a:lstStyle>
          <a:p>
            <a:endParaRPr lang="da-DK" dirty="0"/>
          </a:p>
          <a:p>
            <a:r>
              <a:rPr lang="da-DK" sz="1000" dirty="0"/>
              <a:t>DIST</a:t>
            </a:r>
            <a:endParaRPr lang="da-DK" sz="800" dirty="0"/>
          </a:p>
          <a:p>
            <a:r>
              <a:rPr lang="da-DK" dirty="0"/>
              <a:t>DEVELOPMENT AND PLANNING</a:t>
            </a:r>
          </a:p>
          <a:p>
            <a:endParaRPr lang="da-DK" dirty="0"/>
          </a:p>
          <a:p>
            <a:endParaRPr lang="da-DK" dirty="0"/>
          </a:p>
          <a:p>
            <a:endParaRPr lang="da-DK" dirty="0"/>
          </a:p>
        </p:txBody>
      </p:sp>
      <p:sp>
        <p:nvSpPr>
          <p:cNvPr id="16" name="Pladsholder til diasnummer 15"/>
          <p:cNvSpPr>
            <a:spLocks noGrp="1"/>
          </p:cNvSpPr>
          <p:nvPr>
            <p:ph type="sldNum" sz="quarter" idx="12"/>
          </p:nvPr>
        </p:nvSpPr>
        <p:spPr>
          <a:xfrm>
            <a:off x="8879153" y="6160220"/>
            <a:ext cx="2844430" cy="365125"/>
          </a:xfrm>
        </p:spPr>
        <p:txBody>
          <a:bodyPr/>
          <a:lstStyle>
            <a:lvl1pPr>
              <a:defRPr sz="800" b="1" cap="all" spc="200" baseline="0"/>
            </a:lvl1pPr>
          </a:lstStyle>
          <a:p>
            <a:fld id="{76FF49CB-DA36-4A0D-B7A5-D537E7FBD145}" type="slidenum">
              <a:rPr lang="da-DK" smtClean="0"/>
              <a:pPr/>
              <a:t>‹#›</a:t>
            </a:fld>
            <a:endParaRPr lang="da-DK" dirty="0"/>
          </a:p>
        </p:txBody>
      </p:sp>
      <p:pic>
        <p:nvPicPr>
          <p:cNvPr id="2" name="Billed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07046" y="5949280"/>
            <a:ext cx="1548142" cy="817642"/>
          </a:xfrm>
          <a:prstGeom prst="rect">
            <a:avLst/>
          </a:prstGeom>
        </p:spPr>
      </p:pic>
    </p:spTree>
    <p:extLst>
      <p:ext uri="{BB962C8B-B14F-4D97-AF65-F5344CB8AC3E}">
        <p14:creationId xmlns:p14="http://schemas.microsoft.com/office/powerpoint/2010/main" val="307395697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8_Titel og indholdsobjekt">
    <p:spTree>
      <p:nvGrpSpPr>
        <p:cNvPr id="1" name=""/>
        <p:cNvGrpSpPr/>
        <p:nvPr/>
      </p:nvGrpSpPr>
      <p:grpSpPr>
        <a:xfrm>
          <a:off x="0" y="0"/>
          <a:ext cx="0" cy="0"/>
          <a:chOff x="0" y="0"/>
          <a:chExt cx="0" cy="0"/>
        </a:xfrm>
      </p:grpSpPr>
      <p:sp>
        <p:nvSpPr>
          <p:cNvPr id="3" name="Pladsholder til indhold 2"/>
          <p:cNvSpPr>
            <a:spLocks noGrp="1"/>
          </p:cNvSpPr>
          <p:nvPr>
            <p:ph idx="1"/>
          </p:nvPr>
        </p:nvSpPr>
        <p:spPr>
          <a:xfrm>
            <a:off x="609521" y="1600201"/>
            <a:ext cx="10971372" cy="4349080"/>
          </a:xfrm>
          <a:solidFill>
            <a:schemeClr val="bg1"/>
          </a:solidFill>
        </p:spPr>
        <p:txBody>
          <a:bodyPr>
            <a:normAutofit/>
          </a:bodyPr>
          <a:lstStyle>
            <a:lvl1pPr marL="285757" indent="-285757">
              <a:buClr>
                <a:schemeClr val="tx2">
                  <a:lumMod val="50000"/>
                </a:schemeClr>
              </a:buClr>
              <a:buFont typeface="Arial" pitchFamily="34" charset="0"/>
              <a:buChar char="•"/>
              <a:defRPr sz="1600" cap="none" spc="200" baseline="0">
                <a:solidFill>
                  <a:srgbClr val="211A52"/>
                </a:solidFill>
              </a:defRPr>
            </a:lvl1pPr>
            <a:lvl2pPr marL="742968" indent="-285757">
              <a:buFont typeface="Arial" pitchFamily="34" charset="0"/>
              <a:buChar char="•"/>
              <a:defRPr sz="1600" cap="none" spc="200" baseline="0">
                <a:solidFill>
                  <a:srgbClr val="211A52"/>
                </a:solidFill>
              </a:defRPr>
            </a:lvl2pPr>
            <a:lvl3pPr marL="1200179" indent="-285757">
              <a:buFont typeface="Arial" pitchFamily="34" charset="0"/>
              <a:buChar char="•"/>
              <a:defRPr sz="1600" cap="none" spc="200" baseline="0">
                <a:solidFill>
                  <a:srgbClr val="211A52"/>
                </a:solidFill>
              </a:defRPr>
            </a:lvl3pPr>
            <a:lvl4pPr marL="1657390" indent="-285757">
              <a:buFont typeface="Arial" pitchFamily="34" charset="0"/>
              <a:buChar char="•"/>
              <a:defRPr sz="1600" cap="none" spc="200" baseline="0">
                <a:solidFill>
                  <a:srgbClr val="211A52"/>
                </a:solidFill>
              </a:defRPr>
            </a:lvl4pPr>
            <a:lvl5pPr marL="2114602" indent="-285757">
              <a:buFont typeface="Arial" pitchFamily="34" charset="0"/>
              <a:buChar char="•"/>
              <a:defRPr sz="1600" cap="none" spc="200" baseline="0">
                <a:solidFill>
                  <a:srgbClr val="211A52"/>
                </a:solidFill>
              </a:defRPr>
            </a:lvl5p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7" name="Titel 6"/>
          <p:cNvSpPr>
            <a:spLocks noGrp="1"/>
          </p:cNvSpPr>
          <p:nvPr>
            <p:ph type="title"/>
          </p:nvPr>
        </p:nvSpPr>
        <p:spPr>
          <a:xfrm>
            <a:off x="591866" y="332656"/>
            <a:ext cx="10971372" cy="1143000"/>
          </a:xfrm>
          <a:solidFill>
            <a:schemeClr val="bg1"/>
          </a:solidFill>
        </p:spPr>
        <p:txBody>
          <a:bodyPr>
            <a:normAutofit/>
          </a:bodyPr>
          <a:lstStyle>
            <a:lvl1pPr algn="ctr">
              <a:defRPr sz="3200" b="0" i="0" kern="0" cap="none" spc="100" baseline="0">
                <a:solidFill>
                  <a:srgbClr val="211A52"/>
                </a:solidFill>
              </a:defRPr>
            </a:lvl1pPr>
          </a:lstStyle>
          <a:p>
            <a:r>
              <a:rPr lang="da-DK" dirty="0"/>
              <a:t>Klik for at redigere i master</a:t>
            </a:r>
          </a:p>
        </p:txBody>
      </p:sp>
      <p:sp>
        <p:nvSpPr>
          <p:cNvPr id="14" name="Pladsholder til dato 13"/>
          <p:cNvSpPr>
            <a:spLocks noGrp="1"/>
          </p:cNvSpPr>
          <p:nvPr>
            <p:ph type="dt" sz="half" idx="10"/>
          </p:nvPr>
        </p:nvSpPr>
        <p:spPr>
          <a:xfrm>
            <a:off x="623310" y="6221831"/>
            <a:ext cx="4319918" cy="591546"/>
          </a:xfrm>
        </p:spPr>
        <p:txBody>
          <a:bodyPr/>
          <a:lstStyle>
            <a:lvl1pPr>
              <a:defRPr sz="800" b="1" cap="all" spc="200" baseline="0"/>
            </a:lvl1pPr>
          </a:lstStyle>
          <a:p>
            <a:endParaRPr lang="da-DK" dirty="0"/>
          </a:p>
          <a:p>
            <a:r>
              <a:rPr lang="da-DK" sz="1000" dirty="0"/>
              <a:t>DIST</a:t>
            </a:r>
            <a:endParaRPr lang="da-DK" sz="800" dirty="0"/>
          </a:p>
          <a:p>
            <a:r>
              <a:rPr lang="da-DK" dirty="0"/>
              <a:t>DEVELOPMENT AND PLANNING</a:t>
            </a:r>
          </a:p>
          <a:p>
            <a:endParaRPr lang="da-DK" dirty="0"/>
          </a:p>
          <a:p>
            <a:endParaRPr lang="da-DK" dirty="0"/>
          </a:p>
          <a:p>
            <a:endParaRPr lang="da-DK" dirty="0"/>
          </a:p>
        </p:txBody>
      </p:sp>
      <p:sp>
        <p:nvSpPr>
          <p:cNvPr id="16" name="Pladsholder til diasnummer 15"/>
          <p:cNvSpPr>
            <a:spLocks noGrp="1"/>
          </p:cNvSpPr>
          <p:nvPr>
            <p:ph type="sldNum" sz="quarter" idx="12"/>
          </p:nvPr>
        </p:nvSpPr>
        <p:spPr>
          <a:xfrm>
            <a:off x="8879153" y="6160220"/>
            <a:ext cx="2844430" cy="365125"/>
          </a:xfrm>
        </p:spPr>
        <p:txBody>
          <a:bodyPr/>
          <a:lstStyle>
            <a:lvl1pPr>
              <a:defRPr sz="800" b="1" cap="all" spc="200" baseline="0"/>
            </a:lvl1pPr>
          </a:lstStyle>
          <a:p>
            <a:fld id="{76FF49CB-DA36-4A0D-B7A5-D537E7FBD145}" type="slidenum">
              <a:rPr lang="da-DK" smtClean="0"/>
              <a:pPr/>
              <a:t>‹#›</a:t>
            </a:fld>
            <a:endParaRPr lang="da-DK" dirty="0"/>
          </a:p>
        </p:txBody>
      </p:sp>
      <p:pic>
        <p:nvPicPr>
          <p:cNvPr id="2" name="Billed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07046" y="5949280"/>
            <a:ext cx="1548142" cy="817642"/>
          </a:xfrm>
          <a:prstGeom prst="rect">
            <a:avLst/>
          </a:prstGeom>
        </p:spPr>
      </p:pic>
    </p:spTree>
    <p:extLst>
      <p:ext uri="{BB962C8B-B14F-4D97-AF65-F5344CB8AC3E}">
        <p14:creationId xmlns:p14="http://schemas.microsoft.com/office/powerpoint/2010/main" val="309379679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9_Titel og indholdsobjekt">
    <p:spTree>
      <p:nvGrpSpPr>
        <p:cNvPr id="1" name=""/>
        <p:cNvGrpSpPr/>
        <p:nvPr/>
      </p:nvGrpSpPr>
      <p:grpSpPr>
        <a:xfrm>
          <a:off x="0" y="0"/>
          <a:ext cx="0" cy="0"/>
          <a:chOff x="0" y="0"/>
          <a:chExt cx="0" cy="0"/>
        </a:xfrm>
      </p:grpSpPr>
      <p:sp>
        <p:nvSpPr>
          <p:cNvPr id="3" name="Pladsholder til indhold 2"/>
          <p:cNvSpPr>
            <a:spLocks noGrp="1"/>
          </p:cNvSpPr>
          <p:nvPr>
            <p:ph idx="1"/>
          </p:nvPr>
        </p:nvSpPr>
        <p:spPr>
          <a:xfrm>
            <a:off x="609521" y="1600201"/>
            <a:ext cx="10971372" cy="4349080"/>
          </a:xfrm>
          <a:solidFill>
            <a:schemeClr val="bg1"/>
          </a:solidFill>
        </p:spPr>
        <p:txBody>
          <a:bodyPr>
            <a:normAutofit/>
          </a:bodyPr>
          <a:lstStyle>
            <a:lvl1pPr marL="285757" indent="-285757">
              <a:buClr>
                <a:schemeClr val="tx2">
                  <a:lumMod val="50000"/>
                </a:schemeClr>
              </a:buClr>
              <a:buFont typeface="Arial" pitchFamily="34" charset="0"/>
              <a:buChar char="•"/>
              <a:defRPr sz="1600" cap="none" spc="200" baseline="0">
                <a:solidFill>
                  <a:srgbClr val="211A52"/>
                </a:solidFill>
              </a:defRPr>
            </a:lvl1pPr>
            <a:lvl2pPr marL="742968" indent="-285757">
              <a:buFont typeface="Arial" pitchFamily="34" charset="0"/>
              <a:buChar char="•"/>
              <a:defRPr sz="1600" cap="none" spc="200" baseline="0">
                <a:solidFill>
                  <a:srgbClr val="211A52"/>
                </a:solidFill>
              </a:defRPr>
            </a:lvl2pPr>
            <a:lvl3pPr marL="1200179" indent="-285757">
              <a:buFont typeface="Arial" pitchFamily="34" charset="0"/>
              <a:buChar char="•"/>
              <a:defRPr sz="1600" cap="none" spc="200" baseline="0">
                <a:solidFill>
                  <a:srgbClr val="211A52"/>
                </a:solidFill>
              </a:defRPr>
            </a:lvl3pPr>
            <a:lvl4pPr marL="1657390" indent="-285757">
              <a:buFont typeface="Arial" pitchFamily="34" charset="0"/>
              <a:buChar char="•"/>
              <a:defRPr sz="1600" cap="none" spc="200" baseline="0">
                <a:solidFill>
                  <a:srgbClr val="211A52"/>
                </a:solidFill>
              </a:defRPr>
            </a:lvl4pPr>
            <a:lvl5pPr marL="2114602" indent="-285757">
              <a:buFont typeface="Arial" pitchFamily="34" charset="0"/>
              <a:buChar char="•"/>
              <a:defRPr sz="1600" cap="none" spc="200" baseline="0">
                <a:solidFill>
                  <a:srgbClr val="211A52"/>
                </a:solidFill>
              </a:defRPr>
            </a:lvl5p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7" name="Titel 6"/>
          <p:cNvSpPr>
            <a:spLocks noGrp="1"/>
          </p:cNvSpPr>
          <p:nvPr>
            <p:ph type="title"/>
          </p:nvPr>
        </p:nvSpPr>
        <p:spPr>
          <a:xfrm>
            <a:off x="591866" y="332656"/>
            <a:ext cx="10971372" cy="1143000"/>
          </a:xfrm>
          <a:solidFill>
            <a:schemeClr val="bg1"/>
          </a:solidFill>
        </p:spPr>
        <p:txBody>
          <a:bodyPr>
            <a:normAutofit/>
          </a:bodyPr>
          <a:lstStyle>
            <a:lvl1pPr algn="ctr">
              <a:defRPr sz="3200" b="0" i="0" kern="0" cap="none" spc="100" baseline="0">
                <a:solidFill>
                  <a:srgbClr val="211A52"/>
                </a:solidFill>
              </a:defRPr>
            </a:lvl1pPr>
          </a:lstStyle>
          <a:p>
            <a:r>
              <a:rPr lang="da-DK" dirty="0"/>
              <a:t>Klik for at redigere i master</a:t>
            </a:r>
          </a:p>
        </p:txBody>
      </p:sp>
      <p:sp>
        <p:nvSpPr>
          <p:cNvPr id="14" name="Pladsholder til dato 13"/>
          <p:cNvSpPr>
            <a:spLocks noGrp="1"/>
          </p:cNvSpPr>
          <p:nvPr>
            <p:ph type="dt" sz="half" idx="10"/>
          </p:nvPr>
        </p:nvSpPr>
        <p:spPr>
          <a:xfrm>
            <a:off x="623310" y="6221831"/>
            <a:ext cx="4319918" cy="591546"/>
          </a:xfrm>
        </p:spPr>
        <p:txBody>
          <a:bodyPr/>
          <a:lstStyle>
            <a:lvl1pPr>
              <a:defRPr sz="800" b="1" cap="all" spc="200" baseline="0"/>
            </a:lvl1pPr>
          </a:lstStyle>
          <a:p>
            <a:endParaRPr lang="da-DK" dirty="0"/>
          </a:p>
          <a:p>
            <a:r>
              <a:rPr lang="da-DK" sz="1000" dirty="0"/>
              <a:t>DIST</a:t>
            </a:r>
            <a:endParaRPr lang="da-DK" sz="800" dirty="0"/>
          </a:p>
          <a:p>
            <a:r>
              <a:rPr lang="da-DK" dirty="0"/>
              <a:t>DEVELOPMENT AND PLANNING</a:t>
            </a:r>
          </a:p>
          <a:p>
            <a:endParaRPr lang="da-DK" dirty="0"/>
          </a:p>
          <a:p>
            <a:endParaRPr lang="da-DK" dirty="0"/>
          </a:p>
          <a:p>
            <a:endParaRPr lang="da-DK" dirty="0"/>
          </a:p>
        </p:txBody>
      </p:sp>
      <p:sp>
        <p:nvSpPr>
          <p:cNvPr id="16" name="Pladsholder til diasnummer 15"/>
          <p:cNvSpPr>
            <a:spLocks noGrp="1"/>
          </p:cNvSpPr>
          <p:nvPr>
            <p:ph type="sldNum" sz="quarter" idx="12"/>
          </p:nvPr>
        </p:nvSpPr>
        <p:spPr>
          <a:xfrm>
            <a:off x="8879153" y="6160220"/>
            <a:ext cx="2844430" cy="365125"/>
          </a:xfrm>
        </p:spPr>
        <p:txBody>
          <a:bodyPr/>
          <a:lstStyle>
            <a:lvl1pPr>
              <a:defRPr sz="800" b="1" cap="all" spc="200" baseline="0"/>
            </a:lvl1pPr>
          </a:lstStyle>
          <a:p>
            <a:fld id="{76FF49CB-DA36-4A0D-B7A5-D537E7FBD145}" type="slidenum">
              <a:rPr lang="da-DK" smtClean="0"/>
              <a:pPr/>
              <a:t>‹#›</a:t>
            </a:fld>
            <a:endParaRPr lang="da-DK" dirty="0"/>
          </a:p>
        </p:txBody>
      </p:sp>
      <p:pic>
        <p:nvPicPr>
          <p:cNvPr id="2" name="Billed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07046" y="5949280"/>
            <a:ext cx="1548142" cy="817642"/>
          </a:xfrm>
          <a:prstGeom prst="rect">
            <a:avLst/>
          </a:prstGeom>
        </p:spPr>
      </p:pic>
    </p:spTree>
    <p:extLst>
      <p:ext uri="{BB962C8B-B14F-4D97-AF65-F5344CB8AC3E}">
        <p14:creationId xmlns:p14="http://schemas.microsoft.com/office/powerpoint/2010/main" val="274898057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One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48A0E3C-0CE1-4BBF-A912-5A81BF3B7BCA}"/>
              </a:ext>
            </a:extLst>
          </p:cNvPr>
          <p:cNvSpPr>
            <a:spLocks noGrp="1"/>
          </p:cNvSpPr>
          <p:nvPr>
            <p:ph type="title"/>
          </p:nvPr>
        </p:nvSpPr>
        <p:spPr/>
        <p:txBody>
          <a:bodyPr/>
          <a:lstStyle/>
          <a:p>
            <a:r>
              <a:rPr lang="da-DK" dirty="0"/>
              <a:t>Click to edit Master title style</a:t>
            </a:r>
            <a:endParaRPr lang="da-DK"/>
          </a:p>
        </p:txBody>
      </p:sp>
      <p:sp>
        <p:nvSpPr>
          <p:cNvPr id="3" name="Content Placeholder 2"/>
          <p:cNvSpPr>
            <a:spLocks noGrp="1"/>
          </p:cNvSpPr>
          <p:nvPr>
            <p:ph idx="1"/>
          </p:nvPr>
        </p:nvSpPr>
        <p:spPr/>
        <p:txBody>
          <a:bodyPr/>
          <a:lstStyle/>
          <a:p>
            <a:pPr lvl="0"/>
            <a:r>
              <a:rPr lang="da-DK"/>
              <a:t>Edit Master text styles</a:t>
            </a:r>
          </a:p>
          <a:p>
            <a:pPr lvl="1"/>
            <a:r>
              <a:rPr lang="da-DK"/>
              <a:t>Second level</a:t>
            </a:r>
          </a:p>
          <a:p>
            <a:pPr lvl="2"/>
            <a:r>
              <a:rPr lang="da-DK"/>
              <a:t>Third level</a:t>
            </a:r>
          </a:p>
          <a:p>
            <a:pPr lvl="3"/>
            <a:r>
              <a:rPr lang="da-DK"/>
              <a:t>Fourth level</a:t>
            </a:r>
          </a:p>
          <a:p>
            <a:pPr lvl="4"/>
            <a:r>
              <a:rPr lang="da-DK"/>
              <a:t>Fifth level</a:t>
            </a:r>
            <a:endParaRPr lang="da-DK" dirty="0"/>
          </a:p>
        </p:txBody>
      </p:sp>
      <p:sp>
        <p:nvSpPr>
          <p:cNvPr id="2" name="Footer Placeholder 1">
            <a:extLst>
              <a:ext uri="{FF2B5EF4-FFF2-40B4-BE49-F238E27FC236}">
                <a16:creationId xmlns:a16="http://schemas.microsoft.com/office/drawing/2014/main" id="{1FCA8860-CDAD-4F91-9292-2B11655C191E}"/>
              </a:ext>
            </a:extLst>
          </p:cNvPr>
          <p:cNvSpPr>
            <a:spLocks noGrp="1"/>
          </p:cNvSpPr>
          <p:nvPr>
            <p:ph type="ftr" sz="quarter" idx="10"/>
          </p:nvPr>
        </p:nvSpPr>
        <p:spPr/>
        <p:txBody>
          <a:bodyPr/>
          <a:lstStyle/>
          <a:p>
            <a:endParaRPr lang="da-DK" dirty="0"/>
          </a:p>
        </p:txBody>
      </p:sp>
      <p:sp>
        <p:nvSpPr>
          <p:cNvPr id="6" name="Slide Number Placeholder 5">
            <a:extLst>
              <a:ext uri="{FF2B5EF4-FFF2-40B4-BE49-F238E27FC236}">
                <a16:creationId xmlns:a16="http://schemas.microsoft.com/office/drawing/2014/main" id="{88C7A21B-9B48-4777-BF0D-9FB95719C2E7}"/>
              </a:ext>
            </a:extLst>
          </p:cNvPr>
          <p:cNvSpPr>
            <a:spLocks noGrp="1"/>
          </p:cNvSpPr>
          <p:nvPr>
            <p:ph type="sldNum" sz="quarter" idx="11"/>
          </p:nvPr>
        </p:nvSpPr>
        <p:spPr/>
        <p:txBody>
          <a:bodyPr/>
          <a:lstStyle/>
          <a:p>
            <a:fld id="{103EA872-A674-449B-A120-B97244F8E91D}" type="slidenum">
              <a:rPr lang="da-DK" smtClean="0"/>
              <a:pPr/>
              <a:t>‹#›</a:t>
            </a:fld>
            <a:endParaRPr lang="da-DK" dirty="0"/>
          </a:p>
        </p:txBody>
      </p:sp>
    </p:spTree>
    <p:extLst>
      <p:ext uri="{BB962C8B-B14F-4D97-AF65-F5344CB8AC3E}">
        <p14:creationId xmlns:p14="http://schemas.microsoft.com/office/powerpoint/2010/main" val="2850656995"/>
      </p:ext>
    </p:extLst>
  </p:cSld>
  <p:clrMapOvr>
    <a:masterClrMapping/>
  </p:clrMapOvr>
  <p:extLst>
    <p:ext uri="{DCECCB84-F9BA-43D5-87BE-67443E8EF086}">
      <p15:sldGuideLst xmlns:p15="http://schemas.microsoft.com/office/powerpoint/2012/main">
        <p15:guide id="1" pos="6984">
          <p15:clr>
            <a:srgbClr val="F26B43"/>
          </p15:clr>
        </p15:guide>
        <p15:guide id="2" pos="1117">
          <p15:clr>
            <a:srgbClr val="F26B43"/>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Front A">
    <p:bg>
      <p:bgPr>
        <a:solidFill>
          <a:srgbClr val="008737"/>
        </a:solidFill>
        <a:effectLst/>
      </p:bgPr>
    </p:bg>
    <p:spTree>
      <p:nvGrpSpPr>
        <p:cNvPr id="1" name=""/>
        <p:cNvGrpSpPr/>
        <p:nvPr/>
      </p:nvGrpSpPr>
      <p:grpSpPr>
        <a:xfrm>
          <a:off x="0" y="0"/>
          <a:ext cx="0" cy="0"/>
          <a:chOff x="0" y="0"/>
          <a:chExt cx="0" cy="0"/>
        </a:xfrm>
      </p:grpSpPr>
      <p:sp>
        <p:nvSpPr>
          <p:cNvPr id="2" name="Background"/>
          <p:cNvSpPr/>
          <p:nvPr userDrawn="1"/>
        </p:nvSpPr>
        <p:spPr bwMode="auto">
          <a:xfrm>
            <a:off x="0" y="-14069"/>
            <a:ext cx="0" cy="0"/>
          </a:xfrm>
          <a:prstGeom prst="rect">
            <a:avLst/>
          </a:prstGeom>
          <a:solidFill>
            <a:srgbClr val="008737"/>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da-DK" sz="1600" b="0" i="0" u="none" strike="noStrike" cap="none" normalizeH="0" baseline="0" dirty="0">
              <a:ln>
                <a:noFill/>
              </a:ln>
              <a:solidFill>
                <a:schemeClr val="tx1"/>
              </a:solidFill>
              <a:effectLst/>
              <a:latin typeface="Arial" panose="020B0604020202020204" pitchFamily="34" charset="0"/>
              <a:ea typeface="ＭＳ Ｐゴシック" pitchFamily="-80" charset="-128"/>
            </a:endParaRPr>
          </a:p>
        </p:txBody>
      </p:sp>
      <p:sp>
        <p:nvSpPr>
          <p:cNvPr id="11" name="Logo white">
            <a:extLst>
              <a:ext uri="{FF2B5EF4-FFF2-40B4-BE49-F238E27FC236}">
                <a16:creationId xmlns:a16="http://schemas.microsoft.com/office/drawing/2014/main" id="{275A6477-FE3A-4D40-B1FE-E46C11E344A5}"/>
              </a:ext>
            </a:extLst>
          </p:cNvPr>
          <p:cNvSpPr>
            <a:spLocks noChangeAspect="1"/>
          </p:cNvSpPr>
          <p:nvPr userDrawn="1">
            <p:custDataLst>
              <p:tags r:id="rId1"/>
            </p:custDataLst>
          </p:nvPr>
        </p:nvSpPr>
        <p:spPr bwMode="auto">
          <a:xfrm>
            <a:off x="252000" y="252000"/>
            <a:ext cx="419611" cy="612000"/>
          </a:xfrm>
          <a:custGeom>
            <a:avLst/>
            <a:gdLst>
              <a:gd name="connsiteX0" fmla="*/ 1050029 w 4933949"/>
              <a:gd name="connsiteY0" fmla="*/ 6094413 h 7196138"/>
              <a:gd name="connsiteX1" fmla="*/ 3883920 w 4933949"/>
              <a:gd name="connsiteY1" fmla="*/ 6094413 h 7196138"/>
              <a:gd name="connsiteX2" fmla="*/ 4933949 w 4933949"/>
              <a:gd name="connsiteY2" fmla="*/ 6645934 h 7196138"/>
              <a:gd name="connsiteX3" fmla="*/ 3883920 w 4933949"/>
              <a:gd name="connsiteY3" fmla="*/ 7196138 h 7196138"/>
              <a:gd name="connsiteX4" fmla="*/ 1050029 w 4933949"/>
              <a:gd name="connsiteY4" fmla="*/ 7196138 h 7196138"/>
              <a:gd name="connsiteX5" fmla="*/ 0 w 4933949"/>
              <a:gd name="connsiteY5" fmla="*/ 6645934 h 7196138"/>
              <a:gd name="connsiteX6" fmla="*/ 1050029 w 4933949"/>
              <a:gd name="connsiteY6" fmla="*/ 6094413 h 7196138"/>
              <a:gd name="connsiteX7" fmla="*/ 1050029 w 4933949"/>
              <a:gd name="connsiteY7" fmla="*/ 4730750 h 7196138"/>
              <a:gd name="connsiteX8" fmla="*/ 3883920 w 4933949"/>
              <a:gd name="connsiteY8" fmla="*/ 4730750 h 7196138"/>
              <a:gd name="connsiteX9" fmla="*/ 4933949 w 4933949"/>
              <a:gd name="connsiteY9" fmla="*/ 5283066 h 7196138"/>
              <a:gd name="connsiteX10" fmla="*/ 3883920 w 4933949"/>
              <a:gd name="connsiteY10" fmla="*/ 5834063 h 7196138"/>
              <a:gd name="connsiteX11" fmla="*/ 1050029 w 4933949"/>
              <a:gd name="connsiteY11" fmla="*/ 5834063 h 7196138"/>
              <a:gd name="connsiteX12" fmla="*/ 0 w 4933949"/>
              <a:gd name="connsiteY12" fmla="*/ 5283066 h 7196138"/>
              <a:gd name="connsiteX13" fmla="*/ 1050029 w 4933949"/>
              <a:gd name="connsiteY13" fmla="*/ 4730750 h 7196138"/>
              <a:gd name="connsiteX14" fmla="*/ 1050029 w 4933949"/>
              <a:gd name="connsiteY14" fmla="*/ 3368675 h 7196138"/>
              <a:gd name="connsiteX15" fmla="*/ 3883920 w 4933949"/>
              <a:gd name="connsiteY15" fmla="*/ 3368675 h 7196138"/>
              <a:gd name="connsiteX16" fmla="*/ 4933949 w 4933949"/>
              <a:gd name="connsiteY16" fmla="*/ 3920991 h 7196138"/>
              <a:gd name="connsiteX17" fmla="*/ 3883920 w 4933949"/>
              <a:gd name="connsiteY17" fmla="*/ 4471988 h 7196138"/>
              <a:gd name="connsiteX18" fmla="*/ 1050029 w 4933949"/>
              <a:gd name="connsiteY18" fmla="*/ 4471988 h 7196138"/>
              <a:gd name="connsiteX19" fmla="*/ 0 w 4933949"/>
              <a:gd name="connsiteY19" fmla="*/ 3920991 h 7196138"/>
              <a:gd name="connsiteX20" fmla="*/ 1050029 w 4933949"/>
              <a:gd name="connsiteY20" fmla="*/ 3368675 h 7196138"/>
              <a:gd name="connsiteX21" fmla="*/ 678543 w 4933949"/>
              <a:gd name="connsiteY21" fmla="*/ 305710 h 7196138"/>
              <a:gd name="connsiteX22" fmla="*/ 678543 w 4933949"/>
              <a:gd name="connsiteY22" fmla="*/ 2307316 h 7196138"/>
              <a:gd name="connsiteX23" fmla="*/ 909109 w 4933949"/>
              <a:gd name="connsiteY23" fmla="*/ 2307316 h 7196138"/>
              <a:gd name="connsiteX24" fmla="*/ 1119911 w 4933949"/>
              <a:gd name="connsiteY24" fmla="*/ 2234842 h 7196138"/>
              <a:gd name="connsiteX25" fmla="*/ 1198962 w 4933949"/>
              <a:gd name="connsiteY25" fmla="*/ 1615517 h 7196138"/>
              <a:gd name="connsiteX26" fmla="*/ 1198962 w 4933949"/>
              <a:gd name="connsiteY26" fmla="*/ 996191 h 7196138"/>
              <a:gd name="connsiteX27" fmla="*/ 1119911 w 4933949"/>
              <a:gd name="connsiteY27" fmla="*/ 378184 h 7196138"/>
              <a:gd name="connsiteX28" fmla="*/ 909109 w 4933949"/>
              <a:gd name="connsiteY28" fmla="*/ 305710 h 7196138"/>
              <a:gd name="connsiteX29" fmla="*/ 678543 w 4933949"/>
              <a:gd name="connsiteY29" fmla="*/ 305710 h 7196138"/>
              <a:gd name="connsiteX30" fmla="*/ 1842869 w 4933949"/>
              <a:gd name="connsiteY30" fmla="*/ 0 h 7196138"/>
              <a:gd name="connsiteX31" fmla="*/ 3073618 w 4933949"/>
              <a:gd name="connsiteY31" fmla="*/ 0 h 7196138"/>
              <a:gd name="connsiteX32" fmla="*/ 3114467 w 4933949"/>
              <a:gd name="connsiteY32" fmla="*/ 14495 h 7196138"/>
              <a:gd name="connsiteX33" fmla="*/ 3128962 w 4933949"/>
              <a:gd name="connsiteY33" fmla="*/ 54027 h 7196138"/>
              <a:gd name="connsiteX34" fmla="*/ 3128962 w 4933949"/>
              <a:gd name="connsiteY34" fmla="*/ 275402 h 7196138"/>
              <a:gd name="connsiteX35" fmla="*/ 3114467 w 4933949"/>
              <a:gd name="connsiteY35" fmla="*/ 314934 h 7196138"/>
              <a:gd name="connsiteX36" fmla="*/ 3073618 w 4933949"/>
              <a:gd name="connsiteY36" fmla="*/ 329429 h 7196138"/>
              <a:gd name="connsiteX37" fmla="*/ 2679620 w 4933949"/>
              <a:gd name="connsiteY37" fmla="*/ 329429 h 7196138"/>
              <a:gd name="connsiteX38" fmla="*/ 2679620 w 4933949"/>
              <a:gd name="connsiteY38" fmla="*/ 2558999 h 7196138"/>
              <a:gd name="connsiteX39" fmla="*/ 2665125 w 4933949"/>
              <a:gd name="connsiteY39" fmla="*/ 2598530 h 7196138"/>
              <a:gd name="connsiteX40" fmla="*/ 2625594 w 4933949"/>
              <a:gd name="connsiteY40" fmla="*/ 2613025 h 7196138"/>
              <a:gd name="connsiteX41" fmla="*/ 2290893 w 4933949"/>
              <a:gd name="connsiteY41" fmla="*/ 2613025 h 7196138"/>
              <a:gd name="connsiteX42" fmla="*/ 2250044 w 4933949"/>
              <a:gd name="connsiteY42" fmla="*/ 2598530 h 7196138"/>
              <a:gd name="connsiteX43" fmla="*/ 2235549 w 4933949"/>
              <a:gd name="connsiteY43" fmla="*/ 2558999 h 7196138"/>
              <a:gd name="connsiteX44" fmla="*/ 2235549 w 4933949"/>
              <a:gd name="connsiteY44" fmla="*/ 329429 h 7196138"/>
              <a:gd name="connsiteX45" fmla="*/ 1842869 w 4933949"/>
              <a:gd name="connsiteY45" fmla="*/ 329429 h 7196138"/>
              <a:gd name="connsiteX46" fmla="*/ 1802020 w 4933949"/>
              <a:gd name="connsiteY46" fmla="*/ 314934 h 7196138"/>
              <a:gd name="connsiteX47" fmla="*/ 1787525 w 4933949"/>
              <a:gd name="connsiteY47" fmla="*/ 275402 h 7196138"/>
              <a:gd name="connsiteX48" fmla="*/ 1787525 w 4933949"/>
              <a:gd name="connsiteY48" fmla="*/ 54027 h 7196138"/>
              <a:gd name="connsiteX49" fmla="*/ 1802020 w 4933949"/>
              <a:gd name="connsiteY49" fmla="*/ 14495 h 7196138"/>
              <a:gd name="connsiteX50" fmla="*/ 1842869 w 4933949"/>
              <a:gd name="connsiteY50" fmla="*/ 0 h 7196138"/>
              <a:gd name="connsiteX51" fmla="*/ 317544 w 4933949"/>
              <a:gd name="connsiteY51" fmla="*/ 0 h 7196138"/>
              <a:gd name="connsiteX52" fmla="*/ 972349 w 4933949"/>
              <a:gd name="connsiteY52" fmla="*/ 0 h 7196138"/>
              <a:gd name="connsiteX53" fmla="*/ 1476958 w 4933949"/>
              <a:gd name="connsiteY53" fmla="*/ 179209 h 7196138"/>
              <a:gd name="connsiteX54" fmla="*/ 1619250 w 4933949"/>
              <a:gd name="connsiteY54" fmla="*/ 1025181 h 7196138"/>
              <a:gd name="connsiteX55" fmla="*/ 1619250 w 4933949"/>
              <a:gd name="connsiteY55" fmla="*/ 1587845 h 7196138"/>
              <a:gd name="connsiteX56" fmla="*/ 1476958 w 4933949"/>
              <a:gd name="connsiteY56" fmla="*/ 2433816 h 7196138"/>
              <a:gd name="connsiteX57" fmla="*/ 972349 w 4933949"/>
              <a:gd name="connsiteY57" fmla="*/ 2613025 h 7196138"/>
              <a:gd name="connsiteX58" fmla="*/ 317544 w 4933949"/>
              <a:gd name="connsiteY58" fmla="*/ 2613025 h 7196138"/>
              <a:gd name="connsiteX59" fmla="*/ 278018 w 4933949"/>
              <a:gd name="connsiteY59" fmla="*/ 2598530 h 7196138"/>
              <a:gd name="connsiteX60" fmla="*/ 263525 w 4933949"/>
              <a:gd name="connsiteY60" fmla="*/ 2558999 h 7196138"/>
              <a:gd name="connsiteX61" fmla="*/ 263525 w 4933949"/>
              <a:gd name="connsiteY61" fmla="*/ 54027 h 7196138"/>
              <a:gd name="connsiteX62" fmla="*/ 278018 w 4933949"/>
              <a:gd name="connsiteY62" fmla="*/ 14495 h 7196138"/>
              <a:gd name="connsiteX63" fmla="*/ 317544 w 4933949"/>
              <a:gd name="connsiteY63" fmla="*/ 0 h 7196138"/>
              <a:gd name="connsiteX64" fmla="*/ 3359213 w 4933949"/>
              <a:gd name="connsiteY64" fmla="*/ 0 h 7196138"/>
              <a:gd name="connsiteX65" fmla="*/ 3664991 w 4933949"/>
              <a:gd name="connsiteY65" fmla="*/ 0 h 7196138"/>
              <a:gd name="connsiteX66" fmla="*/ 3705850 w 4933949"/>
              <a:gd name="connsiteY66" fmla="*/ 14497 h 7196138"/>
              <a:gd name="connsiteX67" fmla="*/ 3720348 w 4933949"/>
              <a:gd name="connsiteY67" fmla="*/ 54035 h 7196138"/>
              <a:gd name="connsiteX68" fmla="*/ 3720348 w 4933949"/>
              <a:gd name="connsiteY68" fmla="*/ 1903062 h 7196138"/>
              <a:gd name="connsiteX69" fmla="*/ 3798111 w 4933949"/>
              <a:gd name="connsiteY69" fmla="*/ 2279984 h 7196138"/>
              <a:gd name="connsiteX70" fmla="*/ 3976042 w 4933949"/>
              <a:gd name="connsiteY70" fmla="*/ 2349833 h 7196138"/>
              <a:gd name="connsiteX71" fmla="*/ 4163200 w 4933949"/>
              <a:gd name="connsiteY71" fmla="*/ 2279984 h 7196138"/>
              <a:gd name="connsiteX72" fmla="*/ 4240963 w 4933949"/>
              <a:gd name="connsiteY72" fmla="*/ 1903062 h 7196138"/>
              <a:gd name="connsiteX73" fmla="*/ 4240963 w 4933949"/>
              <a:gd name="connsiteY73" fmla="*/ 54035 h 7196138"/>
              <a:gd name="connsiteX74" fmla="*/ 4255461 w 4933949"/>
              <a:gd name="connsiteY74" fmla="*/ 14497 h 7196138"/>
              <a:gd name="connsiteX75" fmla="*/ 4295001 w 4933949"/>
              <a:gd name="connsiteY75" fmla="*/ 0 h 7196138"/>
              <a:gd name="connsiteX76" fmla="*/ 4602098 w 4933949"/>
              <a:gd name="connsiteY76" fmla="*/ 0 h 7196138"/>
              <a:gd name="connsiteX77" fmla="*/ 4641638 w 4933949"/>
              <a:gd name="connsiteY77" fmla="*/ 14497 h 7196138"/>
              <a:gd name="connsiteX78" fmla="*/ 4656136 w 4933949"/>
              <a:gd name="connsiteY78" fmla="*/ 54035 h 7196138"/>
              <a:gd name="connsiteX79" fmla="*/ 4656136 w 4933949"/>
              <a:gd name="connsiteY79" fmla="*/ 1904380 h 7196138"/>
              <a:gd name="connsiteX80" fmla="*/ 4507201 w 4933949"/>
              <a:gd name="connsiteY80" fmla="*/ 2459220 h 7196138"/>
              <a:gd name="connsiteX81" fmla="*/ 3981314 w 4933949"/>
              <a:gd name="connsiteY81" fmla="*/ 2646363 h 7196138"/>
              <a:gd name="connsiteX82" fmla="*/ 3447519 w 4933949"/>
              <a:gd name="connsiteY82" fmla="*/ 2459220 h 7196138"/>
              <a:gd name="connsiteX83" fmla="*/ 3305174 w 4933949"/>
              <a:gd name="connsiteY83" fmla="*/ 1904380 h 7196138"/>
              <a:gd name="connsiteX84" fmla="*/ 3305174 w 4933949"/>
              <a:gd name="connsiteY84" fmla="*/ 54035 h 7196138"/>
              <a:gd name="connsiteX85" fmla="*/ 3318354 w 4933949"/>
              <a:gd name="connsiteY85" fmla="*/ 14497 h 7196138"/>
              <a:gd name="connsiteX86" fmla="*/ 3359213 w 4933949"/>
              <a:gd name="connsiteY86" fmla="*/ 0 h 7196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933949" h="7196138">
                <a:moveTo>
                  <a:pt x="1050029" y="6094413"/>
                </a:moveTo>
                <a:cubicBezTo>
                  <a:pt x="2409664" y="6623557"/>
                  <a:pt x="2524285" y="6623557"/>
                  <a:pt x="3883920" y="6094413"/>
                </a:cubicBezTo>
                <a:cubicBezTo>
                  <a:pt x="3883920" y="6094413"/>
                  <a:pt x="3883920" y="6094413"/>
                  <a:pt x="4933949" y="6645934"/>
                </a:cubicBezTo>
                <a:cubicBezTo>
                  <a:pt x="4933949" y="6645934"/>
                  <a:pt x="4933949" y="6645934"/>
                  <a:pt x="3883920" y="7196138"/>
                </a:cubicBezTo>
                <a:cubicBezTo>
                  <a:pt x="2524285" y="6668311"/>
                  <a:pt x="2409664" y="6668311"/>
                  <a:pt x="1050029" y="7196138"/>
                </a:cubicBezTo>
                <a:cubicBezTo>
                  <a:pt x="1050029" y="7196138"/>
                  <a:pt x="1050029" y="7196138"/>
                  <a:pt x="0" y="6645934"/>
                </a:cubicBezTo>
                <a:cubicBezTo>
                  <a:pt x="0" y="6645934"/>
                  <a:pt x="0" y="6645934"/>
                  <a:pt x="1050029" y="6094413"/>
                </a:cubicBezTo>
                <a:close/>
                <a:moveTo>
                  <a:pt x="1050029" y="4730750"/>
                </a:moveTo>
                <a:cubicBezTo>
                  <a:pt x="2409664" y="5260657"/>
                  <a:pt x="2524285" y="5260657"/>
                  <a:pt x="3883920" y="4730750"/>
                </a:cubicBezTo>
                <a:cubicBezTo>
                  <a:pt x="3883920" y="4730750"/>
                  <a:pt x="3883920" y="4730750"/>
                  <a:pt x="4933949" y="5283066"/>
                </a:cubicBezTo>
                <a:cubicBezTo>
                  <a:pt x="4933949" y="5283066"/>
                  <a:pt x="4933949" y="5283066"/>
                  <a:pt x="3883920" y="5834063"/>
                </a:cubicBezTo>
                <a:cubicBezTo>
                  <a:pt x="2524285" y="5305475"/>
                  <a:pt x="2409664" y="5305475"/>
                  <a:pt x="1050029" y="5834063"/>
                </a:cubicBezTo>
                <a:cubicBezTo>
                  <a:pt x="1050029" y="5834063"/>
                  <a:pt x="1050029" y="5834063"/>
                  <a:pt x="0" y="5283066"/>
                </a:cubicBezTo>
                <a:cubicBezTo>
                  <a:pt x="0" y="5283066"/>
                  <a:pt x="0" y="5283066"/>
                  <a:pt x="1050029" y="4730750"/>
                </a:cubicBezTo>
                <a:close/>
                <a:moveTo>
                  <a:pt x="1050029" y="3368675"/>
                </a:moveTo>
                <a:cubicBezTo>
                  <a:pt x="2409664" y="3898582"/>
                  <a:pt x="2524285" y="3898582"/>
                  <a:pt x="3883920" y="3368675"/>
                </a:cubicBezTo>
                <a:cubicBezTo>
                  <a:pt x="3883920" y="3368675"/>
                  <a:pt x="3883920" y="3368675"/>
                  <a:pt x="4933949" y="3920991"/>
                </a:cubicBezTo>
                <a:cubicBezTo>
                  <a:pt x="4933949" y="3920991"/>
                  <a:pt x="4933949" y="3920991"/>
                  <a:pt x="3883920" y="4471988"/>
                </a:cubicBezTo>
                <a:cubicBezTo>
                  <a:pt x="2524285" y="3943400"/>
                  <a:pt x="2409664" y="3943400"/>
                  <a:pt x="1050029" y="4471988"/>
                </a:cubicBezTo>
                <a:cubicBezTo>
                  <a:pt x="1050029" y="4471988"/>
                  <a:pt x="1050029" y="4471988"/>
                  <a:pt x="0" y="3920991"/>
                </a:cubicBezTo>
                <a:cubicBezTo>
                  <a:pt x="0" y="3920991"/>
                  <a:pt x="0" y="3920991"/>
                  <a:pt x="1050029" y="3368675"/>
                </a:cubicBezTo>
                <a:close/>
                <a:moveTo>
                  <a:pt x="678543" y="305710"/>
                </a:moveTo>
                <a:lnTo>
                  <a:pt x="678543" y="2307316"/>
                </a:lnTo>
                <a:cubicBezTo>
                  <a:pt x="678543" y="2307316"/>
                  <a:pt x="678543" y="2307316"/>
                  <a:pt x="909109" y="2307316"/>
                </a:cubicBezTo>
                <a:cubicBezTo>
                  <a:pt x="1011875" y="2307316"/>
                  <a:pt x="1072481" y="2291503"/>
                  <a:pt x="1119911" y="2234842"/>
                </a:cubicBezTo>
                <a:cubicBezTo>
                  <a:pt x="1192375" y="2147873"/>
                  <a:pt x="1198962" y="1971299"/>
                  <a:pt x="1198962" y="1615517"/>
                </a:cubicBezTo>
                <a:cubicBezTo>
                  <a:pt x="1198962" y="1615517"/>
                  <a:pt x="1198962" y="1615517"/>
                  <a:pt x="1198962" y="996191"/>
                </a:cubicBezTo>
                <a:cubicBezTo>
                  <a:pt x="1198962" y="641727"/>
                  <a:pt x="1192375" y="465153"/>
                  <a:pt x="1119911" y="378184"/>
                </a:cubicBezTo>
                <a:cubicBezTo>
                  <a:pt x="1072481" y="321522"/>
                  <a:pt x="1011875" y="305710"/>
                  <a:pt x="909109" y="305710"/>
                </a:cubicBezTo>
                <a:cubicBezTo>
                  <a:pt x="909109" y="305710"/>
                  <a:pt x="909109" y="305710"/>
                  <a:pt x="678543" y="305710"/>
                </a:cubicBezTo>
                <a:close/>
                <a:moveTo>
                  <a:pt x="1842869" y="0"/>
                </a:moveTo>
                <a:cubicBezTo>
                  <a:pt x="1842869" y="0"/>
                  <a:pt x="1842869" y="0"/>
                  <a:pt x="3073618" y="0"/>
                </a:cubicBezTo>
                <a:cubicBezTo>
                  <a:pt x="3093384" y="0"/>
                  <a:pt x="3105243" y="5271"/>
                  <a:pt x="3114467" y="14495"/>
                </a:cubicBezTo>
                <a:cubicBezTo>
                  <a:pt x="3122374" y="22401"/>
                  <a:pt x="3128962" y="34261"/>
                  <a:pt x="3128962" y="54027"/>
                </a:cubicBezTo>
                <a:cubicBezTo>
                  <a:pt x="3128962" y="54027"/>
                  <a:pt x="3128962" y="54027"/>
                  <a:pt x="3128962" y="275402"/>
                </a:cubicBezTo>
                <a:cubicBezTo>
                  <a:pt x="3128962" y="295168"/>
                  <a:pt x="3122374" y="307028"/>
                  <a:pt x="3114467" y="314934"/>
                </a:cubicBezTo>
                <a:cubicBezTo>
                  <a:pt x="3105243" y="324158"/>
                  <a:pt x="3093384" y="329429"/>
                  <a:pt x="3073618" y="329429"/>
                </a:cubicBezTo>
                <a:cubicBezTo>
                  <a:pt x="3073618" y="329429"/>
                  <a:pt x="3073618" y="329429"/>
                  <a:pt x="2679620" y="329429"/>
                </a:cubicBezTo>
                <a:cubicBezTo>
                  <a:pt x="2679620" y="329429"/>
                  <a:pt x="2679620" y="329429"/>
                  <a:pt x="2679620" y="2558999"/>
                </a:cubicBezTo>
                <a:cubicBezTo>
                  <a:pt x="2679620" y="2578765"/>
                  <a:pt x="2674349" y="2590624"/>
                  <a:pt x="2665125" y="2598530"/>
                </a:cubicBezTo>
                <a:cubicBezTo>
                  <a:pt x="2657219" y="2607755"/>
                  <a:pt x="2645360" y="2613025"/>
                  <a:pt x="2625594" y="2613025"/>
                </a:cubicBezTo>
                <a:cubicBezTo>
                  <a:pt x="2625594" y="2613025"/>
                  <a:pt x="2625594" y="2613025"/>
                  <a:pt x="2290893" y="2613025"/>
                </a:cubicBezTo>
                <a:cubicBezTo>
                  <a:pt x="2271128" y="2613025"/>
                  <a:pt x="2259268" y="2607755"/>
                  <a:pt x="2250044" y="2598530"/>
                </a:cubicBezTo>
                <a:cubicBezTo>
                  <a:pt x="2240820" y="2590624"/>
                  <a:pt x="2235549" y="2578765"/>
                  <a:pt x="2235549" y="2558999"/>
                </a:cubicBezTo>
                <a:cubicBezTo>
                  <a:pt x="2235549" y="2558999"/>
                  <a:pt x="2235549" y="2558999"/>
                  <a:pt x="2235549" y="329429"/>
                </a:cubicBezTo>
                <a:cubicBezTo>
                  <a:pt x="2235549" y="329429"/>
                  <a:pt x="2235549" y="329429"/>
                  <a:pt x="1842869" y="329429"/>
                </a:cubicBezTo>
                <a:cubicBezTo>
                  <a:pt x="1823104" y="329429"/>
                  <a:pt x="1811244" y="324158"/>
                  <a:pt x="1802020" y="314934"/>
                </a:cubicBezTo>
                <a:cubicBezTo>
                  <a:pt x="1792796" y="307028"/>
                  <a:pt x="1787525" y="295168"/>
                  <a:pt x="1787525" y="275402"/>
                </a:cubicBezTo>
                <a:cubicBezTo>
                  <a:pt x="1787525" y="275402"/>
                  <a:pt x="1787525" y="275402"/>
                  <a:pt x="1787525" y="54027"/>
                </a:cubicBezTo>
                <a:cubicBezTo>
                  <a:pt x="1787525" y="34261"/>
                  <a:pt x="1792796" y="22401"/>
                  <a:pt x="1802020" y="14495"/>
                </a:cubicBezTo>
                <a:cubicBezTo>
                  <a:pt x="1811244" y="5271"/>
                  <a:pt x="1823104" y="0"/>
                  <a:pt x="1842869" y="0"/>
                </a:cubicBezTo>
                <a:close/>
                <a:moveTo>
                  <a:pt x="317544" y="0"/>
                </a:moveTo>
                <a:cubicBezTo>
                  <a:pt x="317544" y="0"/>
                  <a:pt x="317544" y="0"/>
                  <a:pt x="972349" y="0"/>
                </a:cubicBezTo>
                <a:cubicBezTo>
                  <a:pt x="1226630" y="0"/>
                  <a:pt x="1382097" y="57980"/>
                  <a:pt x="1476958" y="179209"/>
                </a:cubicBezTo>
                <a:cubicBezTo>
                  <a:pt x="1615298" y="345241"/>
                  <a:pt x="1619250" y="614055"/>
                  <a:pt x="1619250" y="1025181"/>
                </a:cubicBezTo>
                <a:cubicBezTo>
                  <a:pt x="1619250" y="1025181"/>
                  <a:pt x="1619250" y="1025181"/>
                  <a:pt x="1619250" y="1587845"/>
                </a:cubicBezTo>
                <a:cubicBezTo>
                  <a:pt x="1619250" y="1998971"/>
                  <a:pt x="1615298" y="2267784"/>
                  <a:pt x="1476958" y="2433816"/>
                </a:cubicBezTo>
                <a:cubicBezTo>
                  <a:pt x="1382097" y="2555046"/>
                  <a:pt x="1226630" y="2613025"/>
                  <a:pt x="972349" y="2613025"/>
                </a:cubicBezTo>
                <a:cubicBezTo>
                  <a:pt x="972349" y="2613025"/>
                  <a:pt x="972349" y="2613025"/>
                  <a:pt x="317544" y="2613025"/>
                </a:cubicBezTo>
                <a:cubicBezTo>
                  <a:pt x="297781" y="2613025"/>
                  <a:pt x="285923" y="2607755"/>
                  <a:pt x="278018" y="2598530"/>
                </a:cubicBezTo>
                <a:cubicBezTo>
                  <a:pt x="268795" y="2590624"/>
                  <a:pt x="263525" y="2578765"/>
                  <a:pt x="263525" y="2558999"/>
                </a:cubicBezTo>
                <a:cubicBezTo>
                  <a:pt x="263525" y="2558999"/>
                  <a:pt x="263525" y="2558999"/>
                  <a:pt x="263525" y="54027"/>
                </a:cubicBezTo>
                <a:cubicBezTo>
                  <a:pt x="263525" y="34261"/>
                  <a:pt x="268795" y="22401"/>
                  <a:pt x="278018" y="14495"/>
                </a:cubicBezTo>
                <a:cubicBezTo>
                  <a:pt x="285923" y="5271"/>
                  <a:pt x="297781" y="0"/>
                  <a:pt x="317544" y="0"/>
                </a:cubicBezTo>
                <a:close/>
                <a:moveTo>
                  <a:pt x="3359213" y="0"/>
                </a:moveTo>
                <a:cubicBezTo>
                  <a:pt x="3359213" y="0"/>
                  <a:pt x="3359213" y="0"/>
                  <a:pt x="3664991" y="0"/>
                </a:cubicBezTo>
                <a:cubicBezTo>
                  <a:pt x="3684762" y="0"/>
                  <a:pt x="3696624" y="5272"/>
                  <a:pt x="3705850" y="14497"/>
                </a:cubicBezTo>
                <a:cubicBezTo>
                  <a:pt x="3715076" y="22405"/>
                  <a:pt x="3720348" y="34266"/>
                  <a:pt x="3720348" y="54035"/>
                </a:cubicBezTo>
                <a:cubicBezTo>
                  <a:pt x="3720348" y="54035"/>
                  <a:pt x="3720348" y="54035"/>
                  <a:pt x="3720348" y="1903062"/>
                </a:cubicBezTo>
                <a:cubicBezTo>
                  <a:pt x="3720348" y="2103384"/>
                  <a:pt x="3738800" y="2214089"/>
                  <a:pt x="3798111" y="2279984"/>
                </a:cubicBezTo>
                <a:cubicBezTo>
                  <a:pt x="3841605" y="2328747"/>
                  <a:pt x="3899597" y="2349833"/>
                  <a:pt x="3976042" y="2349833"/>
                </a:cubicBezTo>
                <a:cubicBezTo>
                  <a:pt x="4060395" y="2349833"/>
                  <a:pt x="4121023" y="2326111"/>
                  <a:pt x="4163200" y="2279984"/>
                </a:cubicBezTo>
                <a:cubicBezTo>
                  <a:pt x="4226464" y="2211453"/>
                  <a:pt x="4240963" y="2096795"/>
                  <a:pt x="4240963" y="1903062"/>
                </a:cubicBezTo>
                <a:cubicBezTo>
                  <a:pt x="4240963" y="1903062"/>
                  <a:pt x="4240963" y="1903062"/>
                  <a:pt x="4240963" y="54035"/>
                </a:cubicBezTo>
                <a:cubicBezTo>
                  <a:pt x="4240963" y="34266"/>
                  <a:pt x="4246235" y="22405"/>
                  <a:pt x="4255461" y="14497"/>
                </a:cubicBezTo>
                <a:cubicBezTo>
                  <a:pt x="4263369" y="5272"/>
                  <a:pt x="4276549" y="0"/>
                  <a:pt x="4295001" y="0"/>
                </a:cubicBezTo>
                <a:cubicBezTo>
                  <a:pt x="4295001" y="0"/>
                  <a:pt x="4295001" y="0"/>
                  <a:pt x="4602098" y="0"/>
                </a:cubicBezTo>
                <a:cubicBezTo>
                  <a:pt x="4621868" y="0"/>
                  <a:pt x="4633730" y="5272"/>
                  <a:pt x="4641638" y="14497"/>
                </a:cubicBezTo>
                <a:cubicBezTo>
                  <a:pt x="4650864" y="22405"/>
                  <a:pt x="4656136" y="34266"/>
                  <a:pt x="4656136" y="54035"/>
                </a:cubicBezTo>
                <a:cubicBezTo>
                  <a:pt x="4656136" y="54035"/>
                  <a:pt x="4656136" y="54035"/>
                  <a:pt x="4656136" y="1904380"/>
                </a:cubicBezTo>
                <a:cubicBezTo>
                  <a:pt x="4656136" y="2153465"/>
                  <a:pt x="4627140" y="2319521"/>
                  <a:pt x="4507201" y="2459220"/>
                </a:cubicBezTo>
                <a:cubicBezTo>
                  <a:pt x="4405714" y="2577832"/>
                  <a:pt x="4239645" y="2646363"/>
                  <a:pt x="3981314" y="2646363"/>
                </a:cubicBezTo>
                <a:cubicBezTo>
                  <a:pt x="3726938" y="2646363"/>
                  <a:pt x="3559550" y="2581786"/>
                  <a:pt x="3447519" y="2459220"/>
                </a:cubicBezTo>
                <a:cubicBezTo>
                  <a:pt x="3340760" y="2341926"/>
                  <a:pt x="3305174" y="2173233"/>
                  <a:pt x="3305174" y="1904380"/>
                </a:cubicBezTo>
                <a:cubicBezTo>
                  <a:pt x="3305174" y="1904380"/>
                  <a:pt x="3305174" y="1904380"/>
                  <a:pt x="3305174" y="54035"/>
                </a:cubicBezTo>
                <a:cubicBezTo>
                  <a:pt x="3305174" y="34266"/>
                  <a:pt x="3310446" y="22405"/>
                  <a:pt x="3318354" y="14497"/>
                </a:cubicBezTo>
                <a:cubicBezTo>
                  <a:pt x="3327580" y="5272"/>
                  <a:pt x="3339442" y="0"/>
                  <a:pt x="3359213"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da-DK"/>
          </a:p>
        </p:txBody>
      </p:sp>
      <p:sp>
        <p:nvSpPr>
          <p:cNvPr id="114690" name="Rectangle 2"/>
          <p:cNvSpPr>
            <a:spLocks noGrp="1" noChangeArrowheads="1"/>
          </p:cNvSpPr>
          <p:nvPr>
            <p:ph type="ctrTitle"/>
          </p:nvPr>
        </p:nvSpPr>
        <p:spPr>
          <a:xfrm>
            <a:off x="249859" y="3545117"/>
            <a:ext cx="10840028" cy="2706458"/>
          </a:xfrm>
        </p:spPr>
        <p:txBody>
          <a:bodyPr anchor="t" anchorCtr="0"/>
          <a:lstStyle>
            <a:lvl1pPr>
              <a:lnSpc>
                <a:spcPct val="93000"/>
              </a:lnSpc>
              <a:defRPr sz="8000">
                <a:solidFill>
                  <a:schemeClr val="bg1"/>
                </a:solidFill>
              </a:defRPr>
            </a:lvl1pPr>
          </a:lstStyle>
          <a:p>
            <a:pPr lvl="0"/>
            <a:r>
              <a:rPr lang="da-DK" noProof="0"/>
              <a:t>Click to edit Master title style</a:t>
            </a:r>
            <a:endParaRPr lang="da-DK" noProof="0" dirty="0"/>
          </a:p>
        </p:txBody>
      </p:sp>
      <p:sp>
        <p:nvSpPr>
          <p:cNvPr id="114691" name="Rectangle 3"/>
          <p:cNvSpPr>
            <a:spLocks noGrp="1" noChangeArrowheads="1"/>
          </p:cNvSpPr>
          <p:nvPr>
            <p:ph type="subTitle" idx="1"/>
          </p:nvPr>
        </p:nvSpPr>
        <p:spPr>
          <a:xfrm>
            <a:off x="247072" y="1704975"/>
            <a:ext cx="10840028" cy="1660654"/>
          </a:xfrm>
        </p:spPr>
        <p:txBody>
          <a:bodyPr anchor="b" anchorCtr="0"/>
          <a:lstStyle>
            <a:lvl1pPr marL="0" indent="0">
              <a:lnSpc>
                <a:spcPct val="110000"/>
              </a:lnSpc>
              <a:spcBef>
                <a:spcPts val="0"/>
              </a:spcBef>
              <a:buFontTx/>
              <a:buNone/>
              <a:defRPr sz="3000">
                <a:solidFill>
                  <a:schemeClr val="bg1"/>
                </a:solidFill>
              </a:defRPr>
            </a:lvl1pPr>
          </a:lstStyle>
          <a:p>
            <a:pPr lvl="0"/>
            <a:r>
              <a:rPr lang="da-DK" noProof="0" dirty="0"/>
              <a:t>Click to edit Master subtitle style</a:t>
            </a:r>
            <a:endParaRPr lang="da-DK" dirty="0"/>
          </a:p>
        </p:txBody>
      </p:sp>
      <p:sp>
        <p:nvSpPr>
          <p:cNvPr id="3" name="Footer Placeholder 2">
            <a:extLst>
              <a:ext uri="{FF2B5EF4-FFF2-40B4-BE49-F238E27FC236}">
                <a16:creationId xmlns:a16="http://schemas.microsoft.com/office/drawing/2014/main" id="{F2117C6C-7BC3-4888-BC29-FAB17565D119}"/>
              </a:ext>
            </a:extLst>
          </p:cNvPr>
          <p:cNvSpPr>
            <a:spLocks noGrp="1"/>
          </p:cNvSpPr>
          <p:nvPr>
            <p:ph type="ftr" sz="quarter" idx="16"/>
          </p:nvPr>
        </p:nvSpPr>
        <p:spPr/>
        <p:txBody>
          <a:bodyPr/>
          <a:lstStyle>
            <a:lvl1pPr>
              <a:defRPr>
                <a:noFill/>
              </a:defRPr>
            </a:lvl1pPr>
          </a:lstStyle>
          <a:p>
            <a:endParaRPr lang="da-DK" dirty="0"/>
          </a:p>
        </p:txBody>
      </p:sp>
      <p:sp>
        <p:nvSpPr>
          <p:cNvPr id="4" name="Slide Number Placeholder 3">
            <a:extLst>
              <a:ext uri="{FF2B5EF4-FFF2-40B4-BE49-F238E27FC236}">
                <a16:creationId xmlns:a16="http://schemas.microsoft.com/office/drawing/2014/main" id="{E77E4668-D07F-4B96-9755-175402734855}"/>
              </a:ext>
            </a:extLst>
          </p:cNvPr>
          <p:cNvSpPr>
            <a:spLocks noGrp="1"/>
          </p:cNvSpPr>
          <p:nvPr>
            <p:ph type="sldNum" sz="quarter" idx="17"/>
          </p:nvPr>
        </p:nvSpPr>
        <p:spPr/>
        <p:txBody>
          <a:bodyPr/>
          <a:lstStyle>
            <a:lvl1pPr>
              <a:defRPr>
                <a:solidFill>
                  <a:schemeClr val="bg1"/>
                </a:solidFill>
              </a:defRPr>
            </a:lvl1pPr>
          </a:lstStyle>
          <a:p>
            <a:fld id="{103EA872-A674-449B-A120-B97244F8E91D}" type="slidenum">
              <a:rPr lang="da-DK" smtClean="0"/>
              <a:pPr/>
              <a:t>‹#›</a:t>
            </a:fld>
            <a:endParaRPr lang="da-DK" dirty="0"/>
          </a:p>
        </p:txBody>
      </p:sp>
    </p:spTree>
    <p:extLst>
      <p:ext uri="{BB962C8B-B14F-4D97-AF65-F5344CB8AC3E}">
        <p14:creationId xmlns:p14="http://schemas.microsoft.com/office/powerpoint/2010/main" val="405838179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56">
          <p15:clr>
            <a:srgbClr val="F26B43"/>
          </p15:clr>
        </p15:guide>
        <p15:guide id="2" pos="6984">
          <p15:clr>
            <a:srgbClr val="F26B43"/>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Front B">
    <p:bg>
      <p:bgRef idx="1001">
        <a:schemeClr val="bg1"/>
      </p:bgRef>
    </p:bg>
    <p:spTree>
      <p:nvGrpSpPr>
        <p:cNvPr id="1" name=""/>
        <p:cNvGrpSpPr/>
        <p:nvPr/>
      </p:nvGrpSpPr>
      <p:grpSpPr>
        <a:xfrm>
          <a:off x="0" y="0"/>
          <a:ext cx="0" cy="0"/>
          <a:chOff x="0" y="0"/>
          <a:chExt cx="0" cy="0"/>
        </a:xfrm>
      </p:grpSpPr>
      <p:sp>
        <p:nvSpPr>
          <p:cNvPr id="114690" name="Rectangle 2"/>
          <p:cNvSpPr>
            <a:spLocks noGrp="1" noChangeArrowheads="1"/>
          </p:cNvSpPr>
          <p:nvPr>
            <p:ph type="ctrTitle"/>
          </p:nvPr>
        </p:nvSpPr>
        <p:spPr>
          <a:xfrm>
            <a:off x="249859" y="3545117"/>
            <a:ext cx="10840028" cy="2706458"/>
          </a:xfrm>
        </p:spPr>
        <p:txBody>
          <a:bodyPr anchor="t" anchorCtr="0"/>
          <a:lstStyle>
            <a:lvl1pPr>
              <a:lnSpc>
                <a:spcPct val="93000"/>
              </a:lnSpc>
              <a:defRPr sz="8000">
                <a:solidFill>
                  <a:schemeClr val="tx1"/>
                </a:solidFill>
              </a:defRPr>
            </a:lvl1pPr>
          </a:lstStyle>
          <a:p>
            <a:pPr lvl="0"/>
            <a:r>
              <a:rPr lang="da-DK" noProof="0"/>
              <a:t>Click to edit Master title style</a:t>
            </a:r>
            <a:endParaRPr lang="da-DK" noProof="0" dirty="0"/>
          </a:p>
        </p:txBody>
      </p:sp>
      <p:sp>
        <p:nvSpPr>
          <p:cNvPr id="114691" name="Rectangle 3"/>
          <p:cNvSpPr>
            <a:spLocks noGrp="1" noChangeArrowheads="1"/>
          </p:cNvSpPr>
          <p:nvPr>
            <p:ph type="subTitle" idx="1"/>
          </p:nvPr>
        </p:nvSpPr>
        <p:spPr>
          <a:xfrm>
            <a:off x="247072" y="1704975"/>
            <a:ext cx="10840028" cy="1660654"/>
          </a:xfrm>
        </p:spPr>
        <p:txBody>
          <a:bodyPr anchor="b" anchorCtr="0"/>
          <a:lstStyle>
            <a:lvl1pPr marL="0" indent="0">
              <a:lnSpc>
                <a:spcPct val="110000"/>
              </a:lnSpc>
              <a:spcBef>
                <a:spcPts val="0"/>
              </a:spcBef>
              <a:buFontTx/>
              <a:buNone/>
              <a:defRPr sz="3000">
                <a:solidFill>
                  <a:schemeClr val="tx1"/>
                </a:solidFill>
              </a:defRPr>
            </a:lvl1pPr>
          </a:lstStyle>
          <a:p>
            <a:pPr lvl="0"/>
            <a:r>
              <a:rPr lang="da-DK" noProof="0"/>
              <a:t>Click to edit Master subtitle style</a:t>
            </a:r>
            <a:endParaRPr lang="da-DK" noProof="0" dirty="0"/>
          </a:p>
        </p:txBody>
      </p:sp>
      <p:sp>
        <p:nvSpPr>
          <p:cNvPr id="3" name="Footer Placeholder 2">
            <a:extLst>
              <a:ext uri="{FF2B5EF4-FFF2-40B4-BE49-F238E27FC236}">
                <a16:creationId xmlns:a16="http://schemas.microsoft.com/office/drawing/2014/main" id="{71346B4F-F02C-40EC-9B70-932B18214C6A}"/>
              </a:ext>
            </a:extLst>
          </p:cNvPr>
          <p:cNvSpPr>
            <a:spLocks noGrp="1"/>
          </p:cNvSpPr>
          <p:nvPr>
            <p:ph type="ftr" sz="quarter" idx="16"/>
          </p:nvPr>
        </p:nvSpPr>
        <p:spPr/>
        <p:txBody>
          <a:bodyPr/>
          <a:lstStyle/>
          <a:p>
            <a:endParaRPr lang="da-DK" dirty="0"/>
          </a:p>
        </p:txBody>
      </p:sp>
      <p:sp>
        <p:nvSpPr>
          <p:cNvPr id="4" name="Slide Number Placeholder 3">
            <a:extLst>
              <a:ext uri="{FF2B5EF4-FFF2-40B4-BE49-F238E27FC236}">
                <a16:creationId xmlns:a16="http://schemas.microsoft.com/office/drawing/2014/main" id="{FE67EB69-BB5A-407E-BF0A-1CB9B24506D8}"/>
              </a:ext>
            </a:extLst>
          </p:cNvPr>
          <p:cNvSpPr>
            <a:spLocks noGrp="1"/>
          </p:cNvSpPr>
          <p:nvPr>
            <p:ph type="sldNum" sz="quarter" idx="17"/>
          </p:nvPr>
        </p:nvSpPr>
        <p:spPr/>
        <p:txBody>
          <a:bodyPr/>
          <a:lstStyle>
            <a:lvl1pPr>
              <a:defRPr>
                <a:solidFill>
                  <a:schemeClr val="bg1"/>
                </a:solidFill>
              </a:defRPr>
            </a:lvl1pPr>
          </a:lstStyle>
          <a:p>
            <a:fld id="{103EA872-A674-449B-A120-B97244F8E91D}" type="slidenum">
              <a:rPr lang="da-DK" smtClean="0"/>
              <a:pPr/>
              <a:t>‹#›</a:t>
            </a:fld>
            <a:endParaRPr lang="da-DK" dirty="0"/>
          </a:p>
        </p:txBody>
      </p:sp>
    </p:spTree>
    <p:extLst>
      <p:ext uri="{BB962C8B-B14F-4D97-AF65-F5344CB8AC3E}">
        <p14:creationId xmlns:p14="http://schemas.microsoft.com/office/powerpoint/2010/main" val="187344125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56">
          <p15:clr>
            <a:srgbClr val="F26B43"/>
          </p15:clr>
        </p15:guide>
        <p15:guide id="2" pos="6984">
          <p15:clr>
            <a:srgbClr val="F26B43"/>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48A0E3C-0CE1-4BBF-A912-5A81BF3B7BCA}"/>
              </a:ext>
            </a:extLst>
          </p:cNvPr>
          <p:cNvSpPr>
            <a:spLocks noGrp="1"/>
          </p:cNvSpPr>
          <p:nvPr>
            <p:ph type="title"/>
          </p:nvPr>
        </p:nvSpPr>
        <p:spPr/>
        <p:txBody>
          <a:bodyPr/>
          <a:lstStyle/>
          <a:p>
            <a:r>
              <a:rPr lang="da-DK" dirty="0"/>
              <a:t>Click to edit Master title style</a:t>
            </a:r>
            <a:endParaRPr lang="da-DK"/>
          </a:p>
        </p:txBody>
      </p:sp>
      <p:sp>
        <p:nvSpPr>
          <p:cNvPr id="3" name="Content Placeholder 2"/>
          <p:cNvSpPr>
            <a:spLocks noGrp="1"/>
          </p:cNvSpPr>
          <p:nvPr>
            <p:ph idx="1"/>
          </p:nvPr>
        </p:nvSpPr>
        <p:spPr/>
        <p:txBody>
          <a:bodyPr/>
          <a:lstStyle/>
          <a:p>
            <a:pPr lvl="0"/>
            <a:r>
              <a:rPr lang="da-DK"/>
              <a:t>Edit Master text styles</a:t>
            </a:r>
          </a:p>
          <a:p>
            <a:pPr lvl="1"/>
            <a:r>
              <a:rPr lang="da-DK"/>
              <a:t>Second level</a:t>
            </a:r>
          </a:p>
          <a:p>
            <a:pPr lvl="2"/>
            <a:r>
              <a:rPr lang="da-DK"/>
              <a:t>Third level</a:t>
            </a:r>
          </a:p>
          <a:p>
            <a:pPr lvl="3"/>
            <a:r>
              <a:rPr lang="da-DK"/>
              <a:t>Fourth level</a:t>
            </a:r>
          </a:p>
          <a:p>
            <a:pPr lvl="4"/>
            <a:r>
              <a:rPr lang="da-DK"/>
              <a:t>Fifth level</a:t>
            </a:r>
            <a:endParaRPr lang="da-DK" dirty="0"/>
          </a:p>
        </p:txBody>
      </p:sp>
      <p:sp>
        <p:nvSpPr>
          <p:cNvPr id="2" name="Footer Placeholder 1">
            <a:extLst>
              <a:ext uri="{FF2B5EF4-FFF2-40B4-BE49-F238E27FC236}">
                <a16:creationId xmlns:a16="http://schemas.microsoft.com/office/drawing/2014/main" id="{1FCA8860-CDAD-4F91-9292-2B11655C191E}"/>
              </a:ext>
            </a:extLst>
          </p:cNvPr>
          <p:cNvSpPr>
            <a:spLocks noGrp="1"/>
          </p:cNvSpPr>
          <p:nvPr>
            <p:ph type="ftr" sz="quarter" idx="10"/>
          </p:nvPr>
        </p:nvSpPr>
        <p:spPr/>
        <p:txBody>
          <a:bodyPr/>
          <a:lstStyle/>
          <a:p>
            <a:endParaRPr lang="da-DK" dirty="0"/>
          </a:p>
        </p:txBody>
      </p:sp>
      <p:sp>
        <p:nvSpPr>
          <p:cNvPr id="6" name="Slide Number Placeholder 5">
            <a:extLst>
              <a:ext uri="{FF2B5EF4-FFF2-40B4-BE49-F238E27FC236}">
                <a16:creationId xmlns:a16="http://schemas.microsoft.com/office/drawing/2014/main" id="{88C7A21B-9B48-4777-BF0D-9FB95719C2E7}"/>
              </a:ext>
            </a:extLst>
          </p:cNvPr>
          <p:cNvSpPr>
            <a:spLocks noGrp="1"/>
          </p:cNvSpPr>
          <p:nvPr>
            <p:ph type="sldNum" sz="quarter" idx="11"/>
          </p:nvPr>
        </p:nvSpPr>
        <p:spPr/>
        <p:txBody>
          <a:bodyPr/>
          <a:lstStyle/>
          <a:p>
            <a:fld id="{103EA872-A674-449B-A120-B97244F8E91D}" type="slidenum">
              <a:rPr lang="da-DK" smtClean="0"/>
              <a:pPr/>
              <a:t>‹#›</a:t>
            </a:fld>
            <a:endParaRPr lang="da-DK" dirty="0"/>
          </a:p>
        </p:txBody>
      </p:sp>
    </p:spTree>
    <p:extLst>
      <p:ext uri="{BB962C8B-B14F-4D97-AF65-F5344CB8AC3E}">
        <p14:creationId xmlns:p14="http://schemas.microsoft.com/office/powerpoint/2010/main" val="3931825170"/>
      </p:ext>
    </p:extLst>
  </p:cSld>
  <p:clrMapOvr>
    <a:masterClrMapping/>
  </p:clrMapOvr>
  <p:extLst>
    <p:ext uri="{DCECCB84-F9BA-43D5-87BE-67443E8EF086}">
      <p15:sldGuideLst xmlns:p15="http://schemas.microsoft.com/office/powerpoint/2012/main">
        <p15:guide id="1" pos="6984">
          <p15:clr>
            <a:srgbClr val="F26B43"/>
          </p15:clr>
        </p15:guide>
        <p15:guide id="2" pos="1117">
          <p15:clr>
            <a:srgbClr val="F26B43"/>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EB1D5E1-0C4E-4A74-BE37-26307F7E2821}"/>
              </a:ext>
            </a:extLst>
          </p:cNvPr>
          <p:cNvSpPr>
            <a:spLocks noGrp="1"/>
          </p:cNvSpPr>
          <p:nvPr>
            <p:ph type="title"/>
          </p:nvPr>
        </p:nvSpPr>
        <p:spPr>
          <a:xfrm>
            <a:off x="1774726" y="426127"/>
            <a:ext cx="9312374" cy="972716"/>
          </a:xfrm>
        </p:spPr>
        <p:txBody>
          <a:bodyPr/>
          <a:lstStyle/>
          <a:p>
            <a:r>
              <a:rPr lang="da-DK"/>
              <a:t>Click to edit Master title style</a:t>
            </a:r>
            <a:endParaRPr lang="da-DK" dirty="0"/>
          </a:p>
        </p:txBody>
      </p:sp>
      <p:sp>
        <p:nvSpPr>
          <p:cNvPr id="3" name="Content Placeholder 2"/>
          <p:cNvSpPr>
            <a:spLocks noGrp="1"/>
          </p:cNvSpPr>
          <p:nvPr>
            <p:ph sz="half" idx="1"/>
          </p:nvPr>
        </p:nvSpPr>
        <p:spPr>
          <a:xfrm>
            <a:off x="1774800" y="1706399"/>
            <a:ext cx="4410177" cy="454680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a-DK"/>
              <a:t>Edit Master text styles</a:t>
            </a:r>
          </a:p>
          <a:p>
            <a:pPr lvl="1"/>
            <a:r>
              <a:rPr lang="da-DK"/>
              <a:t>Second level</a:t>
            </a:r>
          </a:p>
          <a:p>
            <a:pPr lvl="2"/>
            <a:r>
              <a:rPr lang="da-DK"/>
              <a:t>Third level</a:t>
            </a:r>
          </a:p>
          <a:p>
            <a:pPr lvl="3"/>
            <a:r>
              <a:rPr lang="da-DK"/>
              <a:t>Fourth level</a:t>
            </a:r>
          </a:p>
          <a:p>
            <a:pPr lvl="4"/>
            <a:r>
              <a:rPr lang="da-DK"/>
              <a:t>Fifth level</a:t>
            </a:r>
            <a:endParaRPr lang="da-DK" dirty="0"/>
          </a:p>
        </p:txBody>
      </p:sp>
      <p:sp>
        <p:nvSpPr>
          <p:cNvPr id="4" name="Content Placeholder 3"/>
          <p:cNvSpPr>
            <a:spLocks noGrp="1"/>
          </p:cNvSpPr>
          <p:nvPr>
            <p:ph sz="half" idx="2"/>
          </p:nvPr>
        </p:nvSpPr>
        <p:spPr>
          <a:xfrm>
            <a:off x="6678001" y="1706399"/>
            <a:ext cx="4409100" cy="454680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a-DK"/>
              <a:t>Edit Master text styles</a:t>
            </a:r>
          </a:p>
          <a:p>
            <a:pPr lvl="1"/>
            <a:r>
              <a:rPr lang="da-DK"/>
              <a:t>Second level</a:t>
            </a:r>
          </a:p>
          <a:p>
            <a:pPr lvl="2"/>
            <a:r>
              <a:rPr lang="da-DK"/>
              <a:t>Third level</a:t>
            </a:r>
          </a:p>
          <a:p>
            <a:pPr lvl="3"/>
            <a:r>
              <a:rPr lang="da-DK"/>
              <a:t>Fourth level</a:t>
            </a:r>
          </a:p>
          <a:p>
            <a:pPr lvl="4"/>
            <a:r>
              <a:rPr lang="da-DK"/>
              <a:t>Fifth level</a:t>
            </a:r>
            <a:endParaRPr lang="da-DK" dirty="0"/>
          </a:p>
        </p:txBody>
      </p:sp>
      <p:sp>
        <p:nvSpPr>
          <p:cNvPr id="7" name="Footer Placeholder 6">
            <a:extLst>
              <a:ext uri="{FF2B5EF4-FFF2-40B4-BE49-F238E27FC236}">
                <a16:creationId xmlns:a16="http://schemas.microsoft.com/office/drawing/2014/main" id="{02499420-B0E8-4C8A-8C00-E21262271ADD}"/>
              </a:ext>
            </a:extLst>
          </p:cNvPr>
          <p:cNvSpPr>
            <a:spLocks noGrp="1"/>
          </p:cNvSpPr>
          <p:nvPr>
            <p:ph type="ftr" sz="quarter" idx="10"/>
          </p:nvPr>
        </p:nvSpPr>
        <p:spPr/>
        <p:txBody>
          <a:bodyPr/>
          <a:lstStyle/>
          <a:p>
            <a:endParaRPr lang="da-DK" dirty="0"/>
          </a:p>
        </p:txBody>
      </p:sp>
      <p:sp>
        <p:nvSpPr>
          <p:cNvPr id="8" name="Slide Number Placeholder 7">
            <a:extLst>
              <a:ext uri="{FF2B5EF4-FFF2-40B4-BE49-F238E27FC236}">
                <a16:creationId xmlns:a16="http://schemas.microsoft.com/office/drawing/2014/main" id="{E3EE7F0E-E606-41AC-BBBF-B5AECB1112EB}"/>
              </a:ext>
            </a:extLst>
          </p:cNvPr>
          <p:cNvSpPr>
            <a:spLocks noGrp="1"/>
          </p:cNvSpPr>
          <p:nvPr>
            <p:ph type="sldNum" sz="quarter" idx="11"/>
          </p:nvPr>
        </p:nvSpPr>
        <p:spPr/>
        <p:txBody>
          <a:bodyPr/>
          <a:lstStyle/>
          <a:p>
            <a:fld id="{103EA872-A674-449B-A120-B97244F8E91D}" type="slidenum">
              <a:rPr lang="da-DK" smtClean="0"/>
              <a:pPr/>
              <a:t>‹#›</a:t>
            </a:fld>
            <a:endParaRPr lang="da-DK" dirty="0"/>
          </a:p>
        </p:txBody>
      </p:sp>
    </p:spTree>
    <p:extLst>
      <p:ext uri="{BB962C8B-B14F-4D97-AF65-F5344CB8AC3E}">
        <p14:creationId xmlns:p14="http://schemas.microsoft.com/office/powerpoint/2010/main" val="4040179774"/>
      </p:ext>
    </p:extLst>
  </p:cSld>
  <p:clrMapOvr>
    <a:masterClrMapping/>
  </p:clrMapOvr>
  <p:extLst>
    <p:ext uri="{DCECCB84-F9BA-43D5-87BE-67443E8EF086}">
      <p15:sldGuideLst xmlns:p15="http://schemas.microsoft.com/office/powerpoint/2012/main">
        <p15:guide id="1" pos="1118">
          <p15:clr>
            <a:srgbClr val="F26B43"/>
          </p15:clr>
        </p15:guide>
        <p15:guide id="2" pos="3896">
          <p15:clr>
            <a:srgbClr val="F26B43"/>
          </p15:clr>
        </p15:guide>
        <p15:guide id="3" pos="4205">
          <p15:clr>
            <a:srgbClr val="F26B43"/>
          </p15:clr>
        </p15:guide>
        <p15:guide id="4" pos="6984">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297DEAA-3B7B-49C7-8C28-3F21F36A93D7}"/>
              </a:ext>
            </a:extLst>
          </p:cNvPr>
          <p:cNvSpPr>
            <a:spLocks noGrp="1"/>
          </p:cNvSpPr>
          <p:nvPr>
            <p:ph type="title"/>
          </p:nvPr>
        </p:nvSpPr>
        <p:spPr/>
        <p:txBody>
          <a:bodyPr/>
          <a:lstStyle/>
          <a:p>
            <a:r>
              <a:rPr lang="da-DK"/>
              <a:t>Click to edit Master title style</a:t>
            </a:r>
            <a:endParaRPr lang="da-DK" dirty="0"/>
          </a:p>
        </p:txBody>
      </p:sp>
      <p:sp>
        <p:nvSpPr>
          <p:cNvPr id="2" name="Footer Placeholder 1">
            <a:extLst>
              <a:ext uri="{FF2B5EF4-FFF2-40B4-BE49-F238E27FC236}">
                <a16:creationId xmlns:a16="http://schemas.microsoft.com/office/drawing/2014/main" id="{51F74546-9D06-4CF7-806D-E04B043BF5A5}"/>
              </a:ext>
            </a:extLst>
          </p:cNvPr>
          <p:cNvSpPr>
            <a:spLocks noGrp="1"/>
          </p:cNvSpPr>
          <p:nvPr>
            <p:ph type="ftr" sz="quarter" idx="10"/>
          </p:nvPr>
        </p:nvSpPr>
        <p:spPr/>
        <p:txBody>
          <a:bodyPr/>
          <a:lstStyle/>
          <a:p>
            <a:endParaRPr lang="da-DK" dirty="0"/>
          </a:p>
        </p:txBody>
      </p:sp>
      <p:sp>
        <p:nvSpPr>
          <p:cNvPr id="6" name="Slide Number Placeholder 5">
            <a:extLst>
              <a:ext uri="{FF2B5EF4-FFF2-40B4-BE49-F238E27FC236}">
                <a16:creationId xmlns:a16="http://schemas.microsoft.com/office/drawing/2014/main" id="{42F53AB3-8AAF-469F-AD3F-AE5E1A39D7C8}"/>
              </a:ext>
            </a:extLst>
          </p:cNvPr>
          <p:cNvSpPr>
            <a:spLocks noGrp="1"/>
          </p:cNvSpPr>
          <p:nvPr>
            <p:ph type="sldNum" sz="quarter" idx="11"/>
          </p:nvPr>
        </p:nvSpPr>
        <p:spPr/>
        <p:txBody>
          <a:bodyPr/>
          <a:lstStyle/>
          <a:p>
            <a:fld id="{103EA872-A674-449B-A120-B97244F8E91D}" type="slidenum">
              <a:rPr lang="da-DK" smtClean="0"/>
              <a:pPr/>
              <a:t>‹#›</a:t>
            </a:fld>
            <a:endParaRPr lang="da-DK" dirty="0"/>
          </a:p>
        </p:txBody>
      </p:sp>
    </p:spTree>
    <p:extLst>
      <p:ext uri="{BB962C8B-B14F-4D97-AF65-F5344CB8AC3E}">
        <p14:creationId xmlns:p14="http://schemas.microsoft.com/office/powerpoint/2010/main" val="120845512"/>
      </p:ext>
    </p:extLst>
  </p:cSld>
  <p:clrMapOvr>
    <a:masterClrMapping/>
  </p:clrMapOvr>
  <p:extLst>
    <p:ext uri="{DCECCB84-F9BA-43D5-87BE-67443E8EF086}">
      <p15:sldGuideLst xmlns:p15="http://schemas.microsoft.com/office/powerpoint/2012/main">
        <p15:guide id="1" pos="1117" userDrawn="1">
          <p15:clr>
            <a:srgbClr val="F26B43"/>
          </p15:clr>
        </p15:guide>
        <p15:guide id="2" pos="6984" userDrawn="1">
          <p15:clr>
            <a:srgbClr val="F26B43"/>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xt and two pictures">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90A2595F-A737-4D92-946C-EC0BBF885334}"/>
              </a:ext>
            </a:extLst>
          </p:cNvPr>
          <p:cNvSpPr>
            <a:spLocks noGrp="1"/>
          </p:cNvSpPr>
          <p:nvPr>
            <p:ph type="title"/>
          </p:nvPr>
        </p:nvSpPr>
        <p:spPr>
          <a:xfrm>
            <a:off x="1774726" y="426127"/>
            <a:ext cx="6048672" cy="972716"/>
          </a:xfrm>
        </p:spPr>
        <p:txBody>
          <a:bodyPr/>
          <a:lstStyle/>
          <a:p>
            <a:r>
              <a:rPr lang="da-DK"/>
              <a:t>Click to edit Master title style</a:t>
            </a:r>
            <a:endParaRPr lang="da-DK" dirty="0"/>
          </a:p>
        </p:txBody>
      </p:sp>
      <p:sp>
        <p:nvSpPr>
          <p:cNvPr id="3" name="Content Placeholder 2"/>
          <p:cNvSpPr>
            <a:spLocks noGrp="1"/>
          </p:cNvSpPr>
          <p:nvPr>
            <p:ph idx="1"/>
          </p:nvPr>
        </p:nvSpPr>
        <p:spPr>
          <a:xfrm>
            <a:off x="1774726" y="1706328"/>
            <a:ext cx="6048672" cy="4545578"/>
          </a:xfrm>
        </p:spPr>
        <p:txBody>
          <a:bodyPr/>
          <a:lstStyle/>
          <a:p>
            <a:pPr lvl="0"/>
            <a:r>
              <a:rPr lang="da-DK"/>
              <a:t>Edit Master text styles</a:t>
            </a:r>
          </a:p>
          <a:p>
            <a:pPr lvl="1"/>
            <a:r>
              <a:rPr lang="da-DK"/>
              <a:t>Second level</a:t>
            </a:r>
          </a:p>
          <a:p>
            <a:pPr lvl="2"/>
            <a:r>
              <a:rPr lang="da-DK"/>
              <a:t>Third level</a:t>
            </a:r>
          </a:p>
          <a:p>
            <a:pPr lvl="3"/>
            <a:r>
              <a:rPr lang="da-DK"/>
              <a:t>Fourth level</a:t>
            </a:r>
          </a:p>
          <a:p>
            <a:pPr lvl="4"/>
            <a:r>
              <a:rPr lang="da-DK"/>
              <a:t>Fifth level</a:t>
            </a:r>
            <a:endParaRPr lang="da-DK" dirty="0"/>
          </a:p>
        </p:txBody>
      </p:sp>
      <p:sp>
        <p:nvSpPr>
          <p:cNvPr id="10" name="Picture Placeholder 9">
            <a:extLst>
              <a:ext uri="{FF2B5EF4-FFF2-40B4-BE49-F238E27FC236}">
                <a16:creationId xmlns:a16="http://schemas.microsoft.com/office/drawing/2014/main" id="{565D29D0-EA4F-4318-8A82-6C2B200A712B}"/>
              </a:ext>
            </a:extLst>
          </p:cNvPr>
          <p:cNvSpPr>
            <a:spLocks noGrp="1"/>
          </p:cNvSpPr>
          <p:nvPr>
            <p:ph type="pic" sz="quarter" idx="13" hasCustomPrompt="1"/>
          </p:nvPr>
        </p:nvSpPr>
        <p:spPr>
          <a:xfrm>
            <a:off x="8331213" y="849734"/>
            <a:ext cx="3859200" cy="2505600"/>
          </a:xfrm>
        </p:spPr>
        <p:txBody>
          <a:bodyPr/>
          <a:lstStyle>
            <a:lvl1pPr marL="0" indent="0" algn="ctr">
              <a:buNone/>
              <a:defRPr sz="1200"/>
            </a:lvl1pPr>
          </a:lstStyle>
          <a:p>
            <a:r>
              <a:rPr lang="da-DK" dirty="0"/>
              <a:t>Click the placeholder and paste image via Skyfish icon</a:t>
            </a:r>
            <a:endParaRPr lang="da-DK"/>
          </a:p>
        </p:txBody>
      </p:sp>
      <p:sp>
        <p:nvSpPr>
          <p:cNvPr id="12" name="Picture Placeholder 11">
            <a:extLst>
              <a:ext uri="{FF2B5EF4-FFF2-40B4-BE49-F238E27FC236}">
                <a16:creationId xmlns:a16="http://schemas.microsoft.com/office/drawing/2014/main" id="{25B8511D-E10E-40C3-82A6-3DCDC97CF6C2}"/>
              </a:ext>
            </a:extLst>
          </p:cNvPr>
          <p:cNvSpPr>
            <a:spLocks noGrp="1"/>
          </p:cNvSpPr>
          <p:nvPr>
            <p:ph type="pic" sz="quarter" idx="14" hasCustomPrompt="1"/>
          </p:nvPr>
        </p:nvSpPr>
        <p:spPr>
          <a:xfrm>
            <a:off x="8331213" y="3563718"/>
            <a:ext cx="3859200" cy="2505600"/>
          </a:xfrm>
        </p:spPr>
        <p:txBody>
          <a:bodyPr/>
          <a:lstStyle>
            <a:lvl1pPr marL="0" indent="0" algn="ctr">
              <a:buNone/>
              <a:defRPr sz="1200"/>
            </a:lvl1pPr>
          </a:lstStyle>
          <a:p>
            <a:r>
              <a:rPr lang="da-DK" dirty="0"/>
              <a:t>Click the placeholder and paste image via Skyfish icon</a:t>
            </a:r>
            <a:endParaRPr lang="da-DK"/>
          </a:p>
          <a:p>
            <a:endParaRPr lang="da-DK" dirty="0"/>
          </a:p>
        </p:txBody>
      </p:sp>
      <p:sp>
        <p:nvSpPr>
          <p:cNvPr id="2" name="Footer Placeholder 1">
            <a:extLst>
              <a:ext uri="{FF2B5EF4-FFF2-40B4-BE49-F238E27FC236}">
                <a16:creationId xmlns:a16="http://schemas.microsoft.com/office/drawing/2014/main" id="{D2986237-C7E2-4498-82A4-361A340A6504}"/>
              </a:ext>
            </a:extLst>
          </p:cNvPr>
          <p:cNvSpPr>
            <a:spLocks noGrp="1"/>
          </p:cNvSpPr>
          <p:nvPr>
            <p:ph type="ftr" sz="quarter" idx="15"/>
          </p:nvPr>
        </p:nvSpPr>
        <p:spPr/>
        <p:txBody>
          <a:bodyPr/>
          <a:lstStyle/>
          <a:p>
            <a:endParaRPr lang="da-DK" dirty="0"/>
          </a:p>
        </p:txBody>
      </p:sp>
      <p:sp>
        <p:nvSpPr>
          <p:cNvPr id="6" name="Slide Number Placeholder 5">
            <a:extLst>
              <a:ext uri="{FF2B5EF4-FFF2-40B4-BE49-F238E27FC236}">
                <a16:creationId xmlns:a16="http://schemas.microsoft.com/office/drawing/2014/main" id="{21664EEF-2B63-484E-803A-4FCD66F243A5}"/>
              </a:ext>
            </a:extLst>
          </p:cNvPr>
          <p:cNvSpPr>
            <a:spLocks noGrp="1"/>
          </p:cNvSpPr>
          <p:nvPr>
            <p:ph type="sldNum" sz="quarter" idx="16"/>
          </p:nvPr>
        </p:nvSpPr>
        <p:spPr/>
        <p:txBody>
          <a:bodyPr/>
          <a:lstStyle/>
          <a:p>
            <a:fld id="{103EA872-A674-449B-A120-B97244F8E91D}" type="slidenum">
              <a:rPr lang="da-DK" smtClean="0"/>
              <a:pPr/>
              <a:t>‹#›</a:t>
            </a:fld>
            <a:endParaRPr lang="da-DK" dirty="0"/>
          </a:p>
        </p:txBody>
      </p:sp>
    </p:spTree>
    <p:extLst>
      <p:ext uri="{BB962C8B-B14F-4D97-AF65-F5344CB8AC3E}">
        <p14:creationId xmlns:p14="http://schemas.microsoft.com/office/powerpoint/2010/main" val="141399722"/>
      </p:ext>
    </p:extLst>
  </p:cSld>
  <p:clrMapOvr>
    <a:masterClrMapping/>
  </p:clrMapOvr>
  <p:extLst>
    <p:ext uri="{DCECCB84-F9BA-43D5-87BE-67443E8EF086}">
      <p15:sldGuideLst xmlns:p15="http://schemas.microsoft.com/office/powerpoint/2012/main">
        <p15:guide id="1" pos="4927">
          <p15:clr>
            <a:srgbClr val="F26B43"/>
          </p15:clr>
        </p15:guide>
        <p15:guide id="2" pos="5247">
          <p15:clr>
            <a:srgbClr val="F26B43"/>
          </p15:clr>
        </p15:guide>
        <p15:guide id="3" pos="1117">
          <p15:clr>
            <a:srgbClr val="F26B43"/>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pictures and text">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92213382-11A1-48CE-B0A0-D8A7D26861FB}"/>
              </a:ext>
            </a:extLst>
          </p:cNvPr>
          <p:cNvSpPr>
            <a:spLocks noGrp="1"/>
          </p:cNvSpPr>
          <p:nvPr>
            <p:ph type="title"/>
          </p:nvPr>
        </p:nvSpPr>
        <p:spPr>
          <a:xfrm>
            <a:off x="4221360" y="426127"/>
            <a:ext cx="6865740" cy="972716"/>
          </a:xfrm>
        </p:spPr>
        <p:txBody>
          <a:bodyPr/>
          <a:lstStyle/>
          <a:p>
            <a:r>
              <a:rPr lang="da-DK" dirty="0"/>
              <a:t>Click to edit Master title style</a:t>
            </a:r>
            <a:endParaRPr lang="da-DK"/>
          </a:p>
        </p:txBody>
      </p:sp>
      <p:sp>
        <p:nvSpPr>
          <p:cNvPr id="3" name="Content Placeholder 2"/>
          <p:cNvSpPr>
            <a:spLocks noGrp="1"/>
          </p:cNvSpPr>
          <p:nvPr>
            <p:ph idx="1"/>
          </p:nvPr>
        </p:nvSpPr>
        <p:spPr>
          <a:xfrm>
            <a:off x="4221360" y="1706328"/>
            <a:ext cx="6865740" cy="4545578"/>
          </a:xfrm>
        </p:spPr>
        <p:txBody>
          <a:bodyPr/>
          <a:lstStyle/>
          <a:p>
            <a:pPr lvl="0"/>
            <a:r>
              <a:rPr lang="da-DK"/>
              <a:t>Edit Master text styles</a:t>
            </a:r>
          </a:p>
          <a:p>
            <a:pPr lvl="1"/>
            <a:r>
              <a:rPr lang="da-DK"/>
              <a:t>Second level</a:t>
            </a:r>
          </a:p>
          <a:p>
            <a:pPr lvl="2"/>
            <a:r>
              <a:rPr lang="da-DK"/>
              <a:t>Third level</a:t>
            </a:r>
          </a:p>
          <a:p>
            <a:pPr lvl="3"/>
            <a:r>
              <a:rPr lang="da-DK"/>
              <a:t>Fourth level</a:t>
            </a:r>
          </a:p>
          <a:p>
            <a:pPr lvl="4"/>
            <a:r>
              <a:rPr lang="da-DK"/>
              <a:t>Fifth level</a:t>
            </a:r>
            <a:endParaRPr lang="da-DK" dirty="0"/>
          </a:p>
        </p:txBody>
      </p:sp>
      <p:sp>
        <p:nvSpPr>
          <p:cNvPr id="10" name="Picture Placeholder 9">
            <a:extLst>
              <a:ext uri="{FF2B5EF4-FFF2-40B4-BE49-F238E27FC236}">
                <a16:creationId xmlns:a16="http://schemas.microsoft.com/office/drawing/2014/main" id="{565D29D0-EA4F-4318-8A82-6C2B200A712B}"/>
              </a:ext>
            </a:extLst>
          </p:cNvPr>
          <p:cNvSpPr>
            <a:spLocks noGrp="1"/>
          </p:cNvSpPr>
          <p:nvPr>
            <p:ph type="pic" sz="quarter" idx="13" hasCustomPrompt="1"/>
          </p:nvPr>
        </p:nvSpPr>
        <p:spPr>
          <a:xfrm>
            <a:off x="-1" y="1314523"/>
            <a:ext cx="3708000" cy="2455200"/>
          </a:xfrm>
        </p:spPr>
        <p:txBody>
          <a:bodyPr/>
          <a:lstStyle>
            <a:lvl1pPr marL="0" indent="0" algn="ctr">
              <a:buNone/>
              <a:defRPr sz="1200"/>
            </a:lvl1pPr>
          </a:lstStyle>
          <a:p>
            <a:r>
              <a:rPr lang="da-DK" dirty="0"/>
              <a:t>Click the placeholder and paste image via Skyfish icon</a:t>
            </a:r>
            <a:endParaRPr lang="da-DK"/>
          </a:p>
        </p:txBody>
      </p:sp>
      <p:sp>
        <p:nvSpPr>
          <p:cNvPr id="12" name="Picture Placeholder 11">
            <a:extLst>
              <a:ext uri="{FF2B5EF4-FFF2-40B4-BE49-F238E27FC236}">
                <a16:creationId xmlns:a16="http://schemas.microsoft.com/office/drawing/2014/main" id="{25B8511D-E10E-40C3-82A6-3DCDC97CF6C2}"/>
              </a:ext>
            </a:extLst>
          </p:cNvPr>
          <p:cNvSpPr>
            <a:spLocks noGrp="1"/>
          </p:cNvSpPr>
          <p:nvPr>
            <p:ph type="pic" sz="quarter" idx="14" hasCustomPrompt="1"/>
          </p:nvPr>
        </p:nvSpPr>
        <p:spPr>
          <a:xfrm>
            <a:off x="-1" y="3968153"/>
            <a:ext cx="3708000" cy="2455200"/>
          </a:xfrm>
        </p:spPr>
        <p:txBody>
          <a:bodyPr/>
          <a:lstStyle>
            <a:lvl1pPr marL="0" indent="0" algn="ctr">
              <a:buNone/>
              <a:defRPr sz="1200"/>
            </a:lvl1pPr>
          </a:lstStyle>
          <a:p>
            <a:r>
              <a:rPr lang="da-DK" dirty="0"/>
              <a:t>Click the placeholder and paste image via Skyfish icon</a:t>
            </a:r>
            <a:endParaRPr lang="da-DK"/>
          </a:p>
          <a:p>
            <a:endParaRPr lang="da-DK" dirty="0"/>
          </a:p>
        </p:txBody>
      </p:sp>
      <p:sp>
        <p:nvSpPr>
          <p:cNvPr id="2" name="Footer Placeholder 1">
            <a:extLst>
              <a:ext uri="{FF2B5EF4-FFF2-40B4-BE49-F238E27FC236}">
                <a16:creationId xmlns:a16="http://schemas.microsoft.com/office/drawing/2014/main" id="{AE26B732-1A52-4AA9-89FC-8FC5439E40DC}"/>
              </a:ext>
            </a:extLst>
          </p:cNvPr>
          <p:cNvSpPr>
            <a:spLocks noGrp="1"/>
          </p:cNvSpPr>
          <p:nvPr>
            <p:ph type="ftr" sz="quarter" idx="15"/>
          </p:nvPr>
        </p:nvSpPr>
        <p:spPr/>
        <p:txBody>
          <a:bodyPr/>
          <a:lstStyle/>
          <a:p>
            <a:endParaRPr lang="da-DK" dirty="0"/>
          </a:p>
        </p:txBody>
      </p:sp>
      <p:sp>
        <p:nvSpPr>
          <p:cNvPr id="6" name="Slide Number Placeholder 5">
            <a:extLst>
              <a:ext uri="{FF2B5EF4-FFF2-40B4-BE49-F238E27FC236}">
                <a16:creationId xmlns:a16="http://schemas.microsoft.com/office/drawing/2014/main" id="{3B25D0DC-E43F-43DA-AA0F-C0C54C8939F7}"/>
              </a:ext>
            </a:extLst>
          </p:cNvPr>
          <p:cNvSpPr>
            <a:spLocks noGrp="1"/>
          </p:cNvSpPr>
          <p:nvPr>
            <p:ph type="sldNum" sz="quarter" idx="16"/>
          </p:nvPr>
        </p:nvSpPr>
        <p:spPr/>
        <p:txBody>
          <a:bodyPr/>
          <a:lstStyle/>
          <a:p>
            <a:fld id="{103EA872-A674-449B-A120-B97244F8E91D}" type="slidenum">
              <a:rPr lang="da-DK" smtClean="0"/>
              <a:pPr/>
              <a:t>‹#›</a:t>
            </a:fld>
            <a:endParaRPr lang="da-DK" dirty="0"/>
          </a:p>
        </p:txBody>
      </p:sp>
    </p:spTree>
    <p:extLst>
      <p:ext uri="{BB962C8B-B14F-4D97-AF65-F5344CB8AC3E}">
        <p14:creationId xmlns:p14="http://schemas.microsoft.com/office/powerpoint/2010/main" val="3731013190"/>
      </p:ext>
    </p:extLst>
  </p:cSld>
  <p:clrMapOvr>
    <a:masterClrMapping/>
  </p:clrMapOvr>
  <p:extLst>
    <p:ext uri="{DCECCB84-F9BA-43D5-87BE-67443E8EF086}">
      <p15:sldGuideLst xmlns:p15="http://schemas.microsoft.com/office/powerpoint/2012/main">
        <p15:guide id="1" pos="6984">
          <p15:clr>
            <a:srgbClr val="F26B43"/>
          </p15:clr>
        </p15:guide>
        <p15:guide id="2" pos="2660">
          <p15:clr>
            <a:srgbClr val="F26B43"/>
          </p15:clr>
        </p15:guide>
        <p15:guide id="3" pos="2335">
          <p15:clr>
            <a:srgbClr val="F26B43"/>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hree columns">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8953C3-F3F7-4638-96F8-7CF20CB55E0C}"/>
              </a:ext>
            </a:extLst>
          </p:cNvPr>
          <p:cNvSpPr>
            <a:spLocks noGrp="1"/>
          </p:cNvSpPr>
          <p:nvPr>
            <p:ph type="title" hasCustomPrompt="1"/>
          </p:nvPr>
        </p:nvSpPr>
        <p:spPr>
          <a:xfrm>
            <a:off x="247650" y="980727"/>
            <a:ext cx="3740400" cy="418115"/>
          </a:xfrm>
        </p:spPr>
        <p:txBody>
          <a:bodyPr/>
          <a:lstStyle>
            <a:lvl1pPr>
              <a:defRPr sz="2400"/>
            </a:lvl1pPr>
          </a:lstStyle>
          <a:p>
            <a:r>
              <a:rPr lang="da-DK" dirty="0"/>
              <a:t>Click to add title one line</a:t>
            </a:r>
          </a:p>
        </p:txBody>
      </p:sp>
      <p:sp>
        <p:nvSpPr>
          <p:cNvPr id="15" name="Content Placeholder 2">
            <a:extLst>
              <a:ext uri="{FF2B5EF4-FFF2-40B4-BE49-F238E27FC236}">
                <a16:creationId xmlns:a16="http://schemas.microsoft.com/office/drawing/2014/main" id="{CC0DB591-4602-46B3-B1C3-1E64148AB9B7}"/>
              </a:ext>
            </a:extLst>
          </p:cNvPr>
          <p:cNvSpPr>
            <a:spLocks noGrp="1"/>
          </p:cNvSpPr>
          <p:nvPr>
            <p:ph idx="1"/>
          </p:nvPr>
        </p:nvSpPr>
        <p:spPr>
          <a:xfrm>
            <a:off x="247650" y="4407150"/>
            <a:ext cx="3740400" cy="1844425"/>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da-DK" dirty="0"/>
              <a:t>Edit Master text styles</a:t>
            </a:r>
            <a:endParaRPr lang="da-DK"/>
          </a:p>
          <a:p>
            <a:pPr lvl="1"/>
            <a:r>
              <a:rPr lang="da-DK" dirty="0"/>
              <a:t>Second level</a:t>
            </a:r>
            <a:endParaRPr lang="da-DK"/>
          </a:p>
          <a:p>
            <a:pPr lvl="2"/>
            <a:r>
              <a:rPr lang="da-DK" dirty="0"/>
              <a:t>Third level</a:t>
            </a:r>
            <a:endParaRPr lang="da-DK"/>
          </a:p>
          <a:p>
            <a:pPr lvl="3"/>
            <a:r>
              <a:rPr lang="da-DK" dirty="0"/>
              <a:t>Fourth level</a:t>
            </a:r>
            <a:endParaRPr lang="da-DK"/>
          </a:p>
          <a:p>
            <a:pPr lvl="4"/>
            <a:r>
              <a:rPr lang="da-DK" dirty="0"/>
              <a:t>Fifth level</a:t>
            </a:r>
            <a:endParaRPr lang="da-DK"/>
          </a:p>
        </p:txBody>
      </p:sp>
      <p:sp>
        <p:nvSpPr>
          <p:cNvPr id="19" name="Text Placeholder 18">
            <a:extLst>
              <a:ext uri="{FF2B5EF4-FFF2-40B4-BE49-F238E27FC236}">
                <a16:creationId xmlns:a16="http://schemas.microsoft.com/office/drawing/2014/main" id="{68416079-1CFC-426F-A6ED-5AB355FC545F}"/>
              </a:ext>
            </a:extLst>
          </p:cNvPr>
          <p:cNvSpPr>
            <a:spLocks noGrp="1"/>
          </p:cNvSpPr>
          <p:nvPr>
            <p:ph type="body" sz="quarter" idx="21" hasCustomPrompt="1"/>
          </p:nvPr>
        </p:nvSpPr>
        <p:spPr>
          <a:xfrm>
            <a:off x="4222750" y="979200"/>
            <a:ext cx="3740400" cy="417767"/>
          </a:xfrm>
        </p:spPr>
        <p:txBody>
          <a:bodyPr anchor="b" anchorCtr="0"/>
          <a:lstStyle>
            <a:lvl1pPr marL="0" indent="0">
              <a:buNone/>
              <a:defRPr sz="2400" b="1"/>
            </a:lvl1pPr>
            <a:lvl2pPr marL="0" indent="0">
              <a:buNone/>
              <a:defRPr sz="2400" b="1"/>
            </a:lvl2pPr>
            <a:lvl3pPr marL="0" indent="0">
              <a:buNone/>
              <a:defRPr sz="2400" b="1"/>
            </a:lvl3pPr>
            <a:lvl4pPr marL="0" indent="0">
              <a:buNone/>
              <a:defRPr sz="2400" b="1"/>
            </a:lvl4pPr>
            <a:lvl5pPr marL="0" indent="0">
              <a:buNone/>
              <a:defRPr sz="2400" b="1"/>
            </a:lvl5pPr>
          </a:lstStyle>
          <a:p>
            <a:pPr lvl="0"/>
            <a:r>
              <a:rPr lang="da-DK" dirty="0"/>
              <a:t>Click to add title one line</a:t>
            </a:r>
            <a:endParaRPr lang="da-DK"/>
          </a:p>
        </p:txBody>
      </p:sp>
      <p:sp>
        <p:nvSpPr>
          <p:cNvPr id="21" name="Content Placeholder 20">
            <a:extLst>
              <a:ext uri="{FF2B5EF4-FFF2-40B4-BE49-F238E27FC236}">
                <a16:creationId xmlns:a16="http://schemas.microsoft.com/office/drawing/2014/main" id="{D358873C-68BF-4E89-B536-B3248F2B25FE}"/>
              </a:ext>
            </a:extLst>
          </p:cNvPr>
          <p:cNvSpPr>
            <a:spLocks noGrp="1"/>
          </p:cNvSpPr>
          <p:nvPr>
            <p:ph sz="quarter" idx="22"/>
          </p:nvPr>
        </p:nvSpPr>
        <p:spPr>
          <a:xfrm>
            <a:off x="4222750" y="4406899"/>
            <a:ext cx="3740401" cy="1844675"/>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da-DK" dirty="0"/>
              <a:t>Edit Master text styles</a:t>
            </a:r>
            <a:endParaRPr lang="da-DK"/>
          </a:p>
          <a:p>
            <a:pPr lvl="1"/>
            <a:r>
              <a:rPr lang="da-DK" dirty="0"/>
              <a:t>Second level</a:t>
            </a:r>
            <a:endParaRPr lang="da-DK"/>
          </a:p>
          <a:p>
            <a:pPr lvl="2"/>
            <a:r>
              <a:rPr lang="da-DK" dirty="0"/>
              <a:t>Third level</a:t>
            </a:r>
            <a:endParaRPr lang="da-DK"/>
          </a:p>
          <a:p>
            <a:pPr lvl="3"/>
            <a:r>
              <a:rPr lang="da-DK" dirty="0"/>
              <a:t>Fourth level</a:t>
            </a:r>
            <a:endParaRPr lang="da-DK"/>
          </a:p>
          <a:p>
            <a:pPr lvl="4"/>
            <a:r>
              <a:rPr lang="da-DK" dirty="0"/>
              <a:t>Fifth level</a:t>
            </a:r>
            <a:endParaRPr lang="da-DK"/>
          </a:p>
          <a:p>
            <a:pPr lvl="5"/>
            <a:endParaRPr lang="da-DK" dirty="0"/>
          </a:p>
        </p:txBody>
      </p:sp>
      <p:sp>
        <p:nvSpPr>
          <p:cNvPr id="23" name="Text Placeholder 22">
            <a:extLst>
              <a:ext uri="{FF2B5EF4-FFF2-40B4-BE49-F238E27FC236}">
                <a16:creationId xmlns:a16="http://schemas.microsoft.com/office/drawing/2014/main" id="{69A0E900-1FE2-4CC1-B435-93F3A1189356}"/>
              </a:ext>
            </a:extLst>
          </p:cNvPr>
          <p:cNvSpPr>
            <a:spLocks noGrp="1"/>
          </p:cNvSpPr>
          <p:nvPr>
            <p:ph type="body" sz="quarter" idx="23" hasCustomPrompt="1"/>
          </p:nvPr>
        </p:nvSpPr>
        <p:spPr>
          <a:xfrm>
            <a:off x="8197850" y="979200"/>
            <a:ext cx="3740400" cy="417767"/>
          </a:xfrm>
        </p:spPr>
        <p:txBody>
          <a:bodyPr anchor="b" anchorCtr="0"/>
          <a:lstStyle>
            <a:lvl1pPr marL="0" indent="0">
              <a:buNone/>
              <a:defRPr sz="2400" b="1"/>
            </a:lvl1pPr>
            <a:lvl2pPr marL="0" indent="0">
              <a:buNone/>
              <a:defRPr sz="2400" b="1"/>
            </a:lvl2pPr>
            <a:lvl3pPr marL="0" indent="0">
              <a:buNone/>
              <a:defRPr sz="2400" b="1"/>
            </a:lvl3pPr>
            <a:lvl4pPr marL="0" indent="0">
              <a:buNone/>
              <a:defRPr sz="2400" b="1"/>
            </a:lvl4pPr>
            <a:lvl5pPr marL="0" indent="0">
              <a:buNone/>
              <a:defRPr sz="2400" b="1"/>
            </a:lvl5pPr>
          </a:lstStyle>
          <a:p>
            <a:pPr lvl="0"/>
            <a:r>
              <a:rPr lang="da-DK" dirty="0"/>
              <a:t>Click to add title one line</a:t>
            </a:r>
            <a:endParaRPr lang="da-DK"/>
          </a:p>
        </p:txBody>
      </p:sp>
      <p:sp>
        <p:nvSpPr>
          <p:cNvPr id="25" name="Content Placeholder 24">
            <a:extLst>
              <a:ext uri="{FF2B5EF4-FFF2-40B4-BE49-F238E27FC236}">
                <a16:creationId xmlns:a16="http://schemas.microsoft.com/office/drawing/2014/main" id="{E094886A-F110-4851-B1DA-8DFC40D509F8}"/>
              </a:ext>
            </a:extLst>
          </p:cNvPr>
          <p:cNvSpPr>
            <a:spLocks noGrp="1"/>
          </p:cNvSpPr>
          <p:nvPr>
            <p:ph sz="quarter" idx="24"/>
          </p:nvPr>
        </p:nvSpPr>
        <p:spPr>
          <a:xfrm>
            <a:off x="8197850" y="4406899"/>
            <a:ext cx="3740400" cy="1844675"/>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da-DK" dirty="0"/>
              <a:t>Edit Master text styles</a:t>
            </a:r>
            <a:endParaRPr lang="da-DK"/>
          </a:p>
          <a:p>
            <a:pPr lvl="1"/>
            <a:r>
              <a:rPr lang="da-DK" dirty="0"/>
              <a:t>Second level</a:t>
            </a:r>
            <a:endParaRPr lang="da-DK"/>
          </a:p>
          <a:p>
            <a:pPr lvl="2"/>
            <a:r>
              <a:rPr lang="da-DK" dirty="0"/>
              <a:t>Third level</a:t>
            </a:r>
            <a:endParaRPr lang="da-DK"/>
          </a:p>
          <a:p>
            <a:pPr lvl="3"/>
            <a:r>
              <a:rPr lang="da-DK" dirty="0"/>
              <a:t>Fourth level</a:t>
            </a:r>
            <a:endParaRPr lang="da-DK"/>
          </a:p>
          <a:p>
            <a:pPr lvl="4"/>
            <a:r>
              <a:rPr lang="da-DK" dirty="0"/>
              <a:t>Fifth level</a:t>
            </a:r>
            <a:endParaRPr lang="da-DK"/>
          </a:p>
          <a:p>
            <a:pPr lvl="5"/>
            <a:endParaRPr lang="da-DK" dirty="0"/>
          </a:p>
        </p:txBody>
      </p:sp>
      <p:sp>
        <p:nvSpPr>
          <p:cNvPr id="9" name="Picture Placeholder 8">
            <a:extLst>
              <a:ext uri="{FF2B5EF4-FFF2-40B4-BE49-F238E27FC236}">
                <a16:creationId xmlns:a16="http://schemas.microsoft.com/office/drawing/2014/main" id="{91B02311-54A6-4455-B615-BBCA0DA742E4}"/>
              </a:ext>
            </a:extLst>
          </p:cNvPr>
          <p:cNvSpPr>
            <a:spLocks noGrp="1"/>
          </p:cNvSpPr>
          <p:nvPr>
            <p:ph type="pic" sz="quarter" idx="18" hasCustomPrompt="1"/>
          </p:nvPr>
        </p:nvSpPr>
        <p:spPr>
          <a:xfrm>
            <a:off x="247650" y="1546282"/>
            <a:ext cx="3740400" cy="2664000"/>
          </a:xfrm>
        </p:spPr>
        <p:txBody>
          <a:bodyPr/>
          <a:lstStyle>
            <a:lvl1pPr marL="0" indent="0" algn="ctr">
              <a:buNone/>
              <a:defRPr sz="1200"/>
            </a:lvl1pPr>
          </a:lstStyle>
          <a:p>
            <a:r>
              <a:rPr lang="da-DK" dirty="0"/>
              <a:t>Click the placeholder and paste image via Skyfish icon</a:t>
            </a:r>
            <a:endParaRPr lang="da-DK"/>
          </a:p>
        </p:txBody>
      </p:sp>
      <p:sp>
        <p:nvSpPr>
          <p:cNvPr id="13" name="Picture Placeholder 8">
            <a:extLst>
              <a:ext uri="{FF2B5EF4-FFF2-40B4-BE49-F238E27FC236}">
                <a16:creationId xmlns:a16="http://schemas.microsoft.com/office/drawing/2014/main" id="{710A5827-3485-49A0-81F0-FF89EE34B804}"/>
              </a:ext>
            </a:extLst>
          </p:cNvPr>
          <p:cNvSpPr>
            <a:spLocks noGrp="1"/>
          </p:cNvSpPr>
          <p:nvPr>
            <p:ph type="pic" sz="quarter" idx="19" hasCustomPrompt="1"/>
          </p:nvPr>
        </p:nvSpPr>
        <p:spPr>
          <a:xfrm>
            <a:off x="4223149" y="1548581"/>
            <a:ext cx="3740400" cy="2664000"/>
          </a:xfrm>
        </p:spPr>
        <p:txBody>
          <a:bodyPr/>
          <a:lstStyle>
            <a:lvl1pPr marL="0" indent="0" algn="ctr">
              <a:buNone/>
              <a:defRPr sz="1200"/>
            </a:lvl1pPr>
          </a:lstStyle>
          <a:p>
            <a:r>
              <a:rPr lang="da-DK" dirty="0"/>
              <a:t>Click the placeholder and paste image via Skyfish icon</a:t>
            </a:r>
            <a:endParaRPr lang="da-DK"/>
          </a:p>
        </p:txBody>
      </p:sp>
      <p:sp>
        <p:nvSpPr>
          <p:cNvPr id="14" name="Picture Placeholder 8">
            <a:extLst>
              <a:ext uri="{FF2B5EF4-FFF2-40B4-BE49-F238E27FC236}">
                <a16:creationId xmlns:a16="http://schemas.microsoft.com/office/drawing/2014/main" id="{E27B0558-FCB8-4A55-9BA9-182DFF0387F4}"/>
              </a:ext>
            </a:extLst>
          </p:cNvPr>
          <p:cNvSpPr>
            <a:spLocks noGrp="1"/>
          </p:cNvSpPr>
          <p:nvPr>
            <p:ph type="pic" sz="quarter" idx="20" hasCustomPrompt="1"/>
          </p:nvPr>
        </p:nvSpPr>
        <p:spPr>
          <a:xfrm>
            <a:off x="8198648" y="1546282"/>
            <a:ext cx="3740400" cy="2664000"/>
          </a:xfrm>
        </p:spPr>
        <p:txBody>
          <a:bodyPr/>
          <a:lstStyle>
            <a:lvl1pPr marL="0" indent="0" algn="ctr">
              <a:buNone/>
              <a:defRPr sz="1200"/>
            </a:lvl1pPr>
          </a:lstStyle>
          <a:p>
            <a:r>
              <a:rPr lang="da-DK" dirty="0"/>
              <a:t>Click the placeholder and paste image via Skyfish icon</a:t>
            </a:r>
            <a:endParaRPr lang="da-DK"/>
          </a:p>
        </p:txBody>
      </p:sp>
      <p:sp>
        <p:nvSpPr>
          <p:cNvPr id="3" name="Footer Placeholder 2">
            <a:extLst>
              <a:ext uri="{FF2B5EF4-FFF2-40B4-BE49-F238E27FC236}">
                <a16:creationId xmlns:a16="http://schemas.microsoft.com/office/drawing/2014/main" id="{71346B4F-F02C-40EC-9B70-932B18214C6A}"/>
              </a:ext>
            </a:extLst>
          </p:cNvPr>
          <p:cNvSpPr>
            <a:spLocks noGrp="1"/>
          </p:cNvSpPr>
          <p:nvPr>
            <p:ph type="ftr" sz="quarter" idx="16"/>
          </p:nvPr>
        </p:nvSpPr>
        <p:spPr/>
        <p:txBody>
          <a:bodyPr/>
          <a:lstStyle/>
          <a:p>
            <a:endParaRPr lang="da-DK" dirty="0"/>
          </a:p>
        </p:txBody>
      </p:sp>
      <p:sp>
        <p:nvSpPr>
          <p:cNvPr id="4" name="Slide Number Placeholder 3">
            <a:extLst>
              <a:ext uri="{FF2B5EF4-FFF2-40B4-BE49-F238E27FC236}">
                <a16:creationId xmlns:a16="http://schemas.microsoft.com/office/drawing/2014/main" id="{FE67EB69-BB5A-407E-BF0A-1CB9B24506D8}"/>
              </a:ext>
            </a:extLst>
          </p:cNvPr>
          <p:cNvSpPr>
            <a:spLocks noGrp="1"/>
          </p:cNvSpPr>
          <p:nvPr>
            <p:ph type="sldNum" sz="quarter" idx="17"/>
          </p:nvPr>
        </p:nvSpPr>
        <p:spPr/>
        <p:txBody>
          <a:bodyPr/>
          <a:lstStyle>
            <a:lvl1pPr>
              <a:defRPr>
                <a:solidFill>
                  <a:schemeClr val="bg1"/>
                </a:solidFill>
              </a:defRPr>
            </a:lvl1pPr>
          </a:lstStyle>
          <a:p>
            <a:fld id="{103EA872-A674-449B-A120-B97244F8E91D}" type="slidenum">
              <a:rPr lang="da-DK" smtClean="0"/>
              <a:pPr/>
              <a:t>‹#›</a:t>
            </a:fld>
            <a:endParaRPr lang="da-DK" dirty="0"/>
          </a:p>
        </p:txBody>
      </p:sp>
    </p:spTree>
    <p:extLst>
      <p:ext uri="{BB962C8B-B14F-4D97-AF65-F5344CB8AC3E}">
        <p14:creationId xmlns:p14="http://schemas.microsoft.com/office/powerpoint/2010/main" val="361648370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56">
          <p15:clr>
            <a:srgbClr val="F26B43"/>
          </p15:clr>
        </p15:guide>
        <p15:guide id="2" pos="7522">
          <p15:clr>
            <a:srgbClr val="F26B43"/>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297DEAA-3B7B-49C7-8C28-3F21F36A93D7}"/>
              </a:ext>
            </a:extLst>
          </p:cNvPr>
          <p:cNvSpPr>
            <a:spLocks noGrp="1"/>
          </p:cNvSpPr>
          <p:nvPr>
            <p:ph type="title"/>
          </p:nvPr>
        </p:nvSpPr>
        <p:spPr/>
        <p:txBody>
          <a:bodyPr/>
          <a:lstStyle/>
          <a:p>
            <a:r>
              <a:rPr lang="da-DK"/>
              <a:t>Click to edit Master title style</a:t>
            </a:r>
            <a:endParaRPr lang="da-DK" dirty="0"/>
          </a:p>
        </p:txBody>
      </p:sp>
      <p:sp>
        <p:nvSpPr>
          <p:cNvPr id="2" name="Footer Placeholder 1">
            <a:extLst>
              <a:ext uri="{FF2B5EF4-FFF2-40B4-BE49-F238E27FC236}">
                <a16:creationId xmlns:a16="http://schemas.microsoft.com/office/drawing/2014/main" id="{51F74546-9D06-4CF7-806D-E04B043BF5A5}"/>
              </a:ext>
            </a:extLst>
          </p:cNvPr>
          <p:cNvSpPr>
            <a:spLocks noGrp="1"/>
          </p:cNvSpPr>
          <p:nvPr>
            <p:ph type="ftr" sz="quarter" idx="10"/>
          </p:nvPr>
        </p:nvSpPr>
        <p:spPr/>
        <p:txBody>
          <a:bodyPr/>
          <a:lstStyle/>
          <a:p>
            <a:endParaRPr lang="da-DK" dirty="0"/>
          </a:p>
        </p:txBody>
      </p:sp>
      <p:sp>
        <p:nvSpPr>
          <p:cNvPr id="6" name="Slide Number Placeholder 5">
            <a:extLst>
              <a:ext uri="{FF2B5EF4-FFF2-40B4-BE49-F238E27FC236}">
                <a16:creationId xmlns:a16="http://schemas.microsoft.com/office/drawing/2014/main" id="{42F53AB3-8AAF-469F-AD3F-AE5E1A39D7C8}"/>
              </a:ext>
            </a:extLst>
          </p:cNvPr>
          <p:cNvSpPr>
            <a:spLocks noGrp="1"/>
          </p:cNvSpPr>
          <p:nvPr>
            <p:ph type="sldNum" sz="quarter" idx="11"/>
          </p:nvPr>
        </p:nvSpPr>
        <p:spPr/>
        <p:txBody>
          <a:bodyPr/>
          <a:lstStyle/>
          <a:p>
            <a:fld id="{103EA872-A674-449B-A120-B97244F8E91D}" type="slidenum">
              <a:rPr lang="da-DK" smtClean="0"/>
              <a:pPr/>
              <a:t>‹#›</a:t>
            </a:fld>
            <a:endParaRPr lang="da-DK" dirty="0"/>
          </a:p>
        </p:txBody>
      </p:sp>
    </p:spTree>
    <p:extLst>
      <p:ext uri="{BB962C8B-B14F-4D97-AF65-F5344CB8AC3E}">
        <p14:creationId xmlns:p14="http://schemas.microsoft.com/office/powerpoint/2010/main" val="2559926118"/>
      </p:ext>
    </p:extLst>
  </p:cSld>
  <p:clrMapOvr>
    <a:masterClrMapping/>
  </p:clrMapOvr>
  <p:extLst>
    <p:ext uri="{DCECCB84-F9BA-43D5-87BE-67443E8EF086}">
      <p15:sldGuideLst xmlns:p15="http://schemas.microsoft.com/office/powerpoint/2012/main">
        <p15:guide id="1" pos="1117">
          <p15:clr>
            <a:srgbClr val="F26B43"/>
          </p15:clr>
        </p15:guide>
        <p15:guide id="2" pos="6984">
          <p15:clr>
            <a:srgbClr val="F26B43"/>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Logo og footer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3AE75ABF-082F-4A38-B952-09157E37A81A}"/>
              </a:ext>
            </a:extLst>
          </p:cNvPr>
          <p:cNvSpPr>
            <a:spLocks noGrp="1"/>
          </p:cNvSpPr>
          <p:nvPr>
            <p:ph type="ftr" sz="quarter" idx="10"/>
          </p:nvPr>
        </p:nvSpPr>
        <p:spPr/>
        <p:txBody>
          <a:bodyPr/>
          <a:lstStyle/>
          <a:p>
            <a:endParaRPr lang="da-DK" dirty="0"/>
          </a:p>
        </p:txBody>
      </p:sp>
      <p:sp>
        <p:nvSpPr>
          <p:cNvPr id="5" name="Slide Number Placeholder 4">
            <a:extLst>
              <a:ext uri="{FF2B5EF4-FFF2-40B4-BE49-F238E27FC236}">
                <a16:creationId xmlns:a16="http://schemas.microsoft.com/office/drawing/2014/main" id="{D0A39F3A-7714-4FD6-9132-D60FFA220D98}"/>
              </a:ext>
            </a:extLst>
          </p:cNvPr>
          <p:cNvSpPr>
            <a:spLocks noGrp="1"/>
          </p:cNvSpPr>
          <p:nvPr>
            <p:ph type="sldNum" sz="quarter" idx="11"/>
          </p:nvPr>
        </p:nvSpPr>
        <p:spPr/>
        <p:txBody>
          <a:bodyPr/>
          <a:lstStyle/>
          <a:p>
            <a:fld id="{103EA872-A674-449B-A120-B97244F8E91D}" type="slidenum">
              <a:rPr lang="da-DK" smtClean="0"/>
              <a:pPr/>
              <a:t>‹#›</a:t>
            </a:fld>
            <a:endParaRPr lang="da-DK" dirty="0"/>
          </a:p>
        </p:txBody>
      </p:sp>
    </p:spTree>
    <p:extLst>
      <p:ext uri="{BB962C8B-B14F-4D97-AF65-F5344CB8AC3E}">
        <p14:creationId xmlns:p14="http://schemas.microsoft.com/office/powerpoint/2010/main" val="10752857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Front/Pause A ">
    <p:spTree>
      <p:nvGrpSpPr>
        <p:cNvPr id="1" name=""/>
        <p:cNvGrpSpPr/>
        <p:nvPr/>
      </p:nvGrpSpPr>
      <p:grpSpPr>
        <a:xfrm>
          <a:off x="0" y="0"/>
          <a:ext cx="0" cy="0"/>
          <a:chOff x="0" y="0"/>
          <a:chExt cx="0" cy="0"/>
        </a:xfrm>
      </p:grpSpPr>
      <p:sp>
        <p:nvSpPr>
          <p:cNvPr id="9" name="Background">
            <a:extLst>
              <a:ext uri="{FF2B5EF4-FFF2-40B4-BE49-F238E27FC236}">
                <a16:creationId xmlns:a16="http://schemas.microsoft.com/office/drawing/2014/main" id="{AF9D3C51-A276-4E1F-B6B6-FD6A4E17EE28}"/>
              </a:ext>
            </a:extLst>
          </p:cNvPr>
          <p:cNvSpPr/>
          <p:nvPr userDrawn="1"/>
        </p:nvSpPr>
        <p:spPr bwMode="auto">
          <a:xfrm>
            <a:off x="0" y="-3600"/>
            <a:ext cx="12193200" cy="6861600"/>
          </a:xfrm>
          <a:prstGeom prst="rect">
            <a:avLst/>
          </a:prstGeom>
          <a:solidFill>
            <a:srgbClr val="008737"/>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da-DK" sz="1600" b="0" i="0" u="none" strike="noStrike" cap="none" normalizeH="0" baseline="0" dirty="0">
              <a:ln>
                <a:noFill/>
              </a:ln>
              <a:solidFill>
                <a:schemeClr val="tx1"/>
              </a:solidFill>
              <a:effectLst/>
              <a:latin typeface="Arial" panose="020B0604020202020204" pitchFamily="34" charset="0"/>
              <a:ea typeface="ＭＳ Ｐゴシック" pitchFamily="-80" charset="-128"/>
            </a:endParaRPr>
          </a:p>
        </p:txBody>
      </p:sp>
      <p:sp>
        <p:nvSpPr>
          <p:cNvPr id="4" name="Date Placeholder 2">
            <a:extLst>
              <a:ext uri="{FF2B5EF4-FFF2-40B4-BE49-F238E27FC236}">
                <a16:creationId xmlns:a16="http://schemas.microsoft.com/office/drawing/2014/main" id="{C9776080-6230-4AB8-AB28-4D6744DD01F9}"/>
              </a:ext>
            </a:extLst>
          </p:cNvPr>
          <p:cNvSpPr>
            <a:spLocks noGrp="1"/>
          </p:cNvSpPr>
          <p:nvPr>
            <p:ph type="dt" sz="half" idx="10"/>
          </p:nvPr>
        </p:nvSpPr>
        <p:spPr>
          <a:xfrm>
            <a:off x="0" y="6912000"/>
            <a:ext cx="0" cy="0"/>
          </a:xfrm>
          <a:prstGeom prst="rect">
            <a:avLst/>
          </a:prstGeom>
        </p:spPr>
        <p:txBody>
          <a:bodyPr/>
          <a:lstStyle>
            <a:lvl1pPr>
              <a:defRPr>
                <a:noFill/>
              </a:defRPr>
            </a:lvl1pPr>
          </a:lstStyle>
          <a:p>
            <a:fld id="{759B3F20-5AF2-4B9C-8BBC-39610E10F319}" type="datetime4">
              <a:rPr lang="en-GB" smtClean="0"/>
              <a:t>07 July 2025</a:t>
            </a:fld>
            <a:endParaRPr lang="da-DK" dirty="0"/>
          </a:p>
        </p:txBody>
      </p:sp>
      <p:sp>
        <p:nvSpPr>
          <p:cNvPr id="5" name="Footer Placeholder 3">
            <a:extLst>
              <a:ext uri="{FF2B5EF4-FFF2-40B4-BE49-F238E27FC236}">
                <a16:creationId xmlns:a16="http://schemas.microsoft.com/office/drawing/2014/main" id="{2B7FFAE6-D148-4A15-9DFC-7D71B82020C9}"/>
              </a:ext>
            </a:extLst>
          </p:cNvPr>
          <p:cNvSpPr>
            <a:spLocks noGrp="1"/>
          </p:cNvSpPr>
          <p:nvPr>
            <p:ph type="ftr" sz="quarter" idx="11"/>
          </p:nvPr>
        </p:nvSpPr>
        <p:spPr>
          <a:xfrm>
            <a:off x="0" y="6912000"/>
            <a:ext cx="0" cy="0"/>
          </a:xfrm>
        </p:spPr>
        <p:txBody>
          <a:bodyPr/>
          <a:lstStyle>
            <a:lvl1pPr>
              <a:defRPr>
                <a:noFill/>
              </a:defRPr>
            </a:lvl1pPr>
          </a:lstStyle>
          <a:p>
            <a:endParaRPr lang="da-DK" dirty="0"/>
          </a:p>
        </p:txBody>
      </p:sp>
      <p:sp>
        <p:nvSpPr>
          <p:cNvPr id="6" name="Slide Number Placeholder 4">
            <a:extLst>
              <a:ext uri="{FF2B5EF4-FFF2-40B4-BE49-F238E27FC236}">
                <a16:creationId xmlns:a16="http://schemas.microsoft.com/office/drawing/2014/main" id="{3125B57E-AFC7-4517-B327-461DB01D2867}"/>
              </a:ext>
            </a:extLst>
          </p:cNvPr>
          <p:cNvSpPr>
            <a:spLocks noGrp="1"/>
          </p:cNvSpPr>
          <p:nvPr>
            <p:ph type="sldNum" sz="quarter" idx="12"/>
          </p:nvPr>
        </p:nvSpPr>
        <p:spPr>
          <a:xfrm flipV="1">
            <a:off x="0" y="6912000"/>
            <a:ext cx="0" cy="0"/>
          </a:xfrm>
        </p:spPr>
        <p:txBody>
          <a:bodyPr/>
          <a:lstStyle>
            <a:lvl1pPr>
              <a:defRPr>
                <a:noFill/>
              </a:defRPr>
            </a:lvl1pPr>
          </a:lstStyle>
          <a:p>
            <a:fld id="{24C8C45C-947F-4981-8B3F-4F32E973C901}" type="slidenum">
              <a:rPr lang="da-DK" smtClean="0"/>
              <a:pPr/>
              <a:t>‹#›</a:t>
            </a:fld>
            <a:endParaRPr lang="da-DK" dirty="0"/>
          </a:p>
        </p:txBody>
      </p:sp>
      <p:sp>
        <p:nvSpPr>
          <p:cNvPr id="10" name="Logo color">
            <a:extLst>
              <a:ext uri="{FF2B5EF4-FFF2-40B4-BE49-F238E27FC236}">
                <a16:creationId xmlns:a16="http://schemas.microsoft.com/office/drawing/2014/main" id="{B0EE486B-843B-49D6-90AE-5093AB56E30F}"/>
              </a:ext>
            </a:extLst>
          </p:cNvPr>
          <p:cNvSpPr>
            <a:spLocks noChangeAspect="1"/>
          </p:cNvSpPr>
          <p:nvPr userDrawn="1">
            <p:custDataLst>
              <p:tags r:id="rId1"/>
            </p:custDataLst>
          </p:nvPr>
        </p:nvSpPr>
        <p:spPr bwMode="auto">
          <a:xfrm>
            <a:off x="2494806" y="5013176"/>
            <a:ext cx="792619" cy="1156030"/>
          </a:xfrm>
          <a:custGeom>
            <a:avLst/>
            <a:gdLst>
              <a:gd name="connsiteX0" fmla="*/ 1050029 w 4933949"/>
              <a:gd name="connsiteY0" fmla="*/ 6094413 h 7196138"/>
              <a:gd name="connsiteX1" fmla="*/ 3883920 w 4933949"/>
              <a:gd name="connsiteY1" fmla="*/ 6094413 h 7196138"/>
              <a:gd name="connsiteX2" fmla="*/ 4933949 w 4933949"/>
              <a:gd name="connsiteY2" fmla="*/ 6645934 h 7196138"/>
              <a:gd name="connsiteX3" fmla="*/ 3883920 w 4933949"/>
              <a:gd name="connsiteY3" fmla="*/ 7196138 h 7196138"/>
              <a:gd name="connsiteX4" fmla="*/ 1050029 w 4933949"/>
              <a:gd name="connsiteY4" fmla="*/ 7196138 h 7196138"/>
              <a:gd name="connsiteX5" fmla="*/ 0 w 4933949"/>
              <a:gd name="connsiteY5" fmla="*/ 6645934 h 7196138"/>
              <a:gd name="connsiteX6" fmla="*/ 1050029 w 4933949"/>
              <a:gd name="connsiteY6" fmla="*/ 6094413 h 7196138"/>
              <a:gd name="connsiteX7" fmla="*/ 1050029 w 4933949"/>
              <a:gd name="connsiteY7" fmla="*/ 4730750 h 7196138"/>
              <a:gd name="connsiteX8" fmla="*/ 3883920 w 4933949"/>
              <a:gd name="connsiteY8" fmla="*/ 4730750 h 7196138"/>
              <a:gd name="connsiteX9" fmla="*/ 4933949 w 4933949"/>
              <a:gd name="connsiteY9" fmla="*/ 5283066 h 7196138"/>
              <a:gd name="connsiteX10" fmla="*/ 3883920 w 4933949"/>
              <a:gd name="connsiteY10" fmla="*/ 5834063 h 7196138"/>
              <a:gd name="connsiteX11" fmla="*/ 1050029 w 4933949"/>
              <a:gd name="connsiteY11" fmla="*/ 5834063 h 7196138"/>
              <a:gd name="connsiteX12" fmla="*/ 0 w 4933949"/>
              <a:gd name="connsiteY12" fmla="*/ 5283066 h 7196138"/>
              <a:gd name="connsiteX13" fmla="*/ 1050029 w 4933949"/>
              <a:gd name="connsiteY13" fmla="*/ 4730750 h 7196138"/>
              <a:gd name="connsiteX14" fmla="*/ 1050029 w 4933949"/>
              <a:gd name="connsiteY14" fmla="*/ 3368675 h 7196138"/>
              <a:gd name="connsiteX15" fmla="*/ 3883920 w 4933949"/>
              <a:gd name="connsiteY15" fmla="*/ 3368675 h 7196138"/>
              <a:gd name="connsiteX16" fmla="*/ 4933949 w 4933949"/>
              <a:gd name="connsiteY16" fmla="*/ 3920991 h 7196138"/>
              <a:gd name="connsiteX17" fmla="*/ 3883920 w 4933949"/>
              <a:gd name="connsiteY17" fmla="*/ 4471988 h 7196138"/>
              <a:gd name="connsiteX18" fmla="*/ 1050029 w 4933949"/>
              <a:gd name="connsiteY18" fmla="*/ 4471988 h 7196138"/>
              <a:gd name="connsiteX19" fmla="*/ 0 w 4933949"/>
              <a:gd name="connsiteY19" fmla="*/ 3920991 h 7196138"/>
              <a:gd name="connsiteX20" fmla="*/ 1050029 w 4933949"/>
              <a:gd name="connsiteY20" fmla="*/ 3368675 h 7196138"/>
              <a:gd name="connsiteX21" fmla="*/ 678543 w 4933949"/>
              <a:gd name="connsiteY21" fmla="*/ 305710 h 7196138"/>
              <a:gd name="connsiteX22" fmla="*/ 678543 w 4933949"/>
              <a:gd name="connsiteY22" fmla="*/ 2307316 h 7196138"/>
              <a:gd name="connsiteX23" fmla="*/ 909109 w 4933949"/>
              <a:gd name="connsiteY23" fmla="*/ 2307316 h 7196138"/>
              <a:gd name="connsiteX24" fmla="*/ 1119911 w 4933949"/>
              <a:gd name="connsiteY24" fmla="*/ 2234842 h 7196138"/>
              <a:gd name="connsiteX25" fmla="*/ 1198962 w 4933949"/>
              <a:gd name="connsiteY25" fmla="*/ 1615517 h 7196138"/>
              <a:gd name="connsiteX26" fmla="*/ 1198962 w 4933949"/>
              <a:gd name="connsiteY26" fmla="*/ 996191 h 7196138"/>
              <a:gd name="connsiteX27" fmla="*/ 1119911 w 4933949"/>
              <a:gd name="connsiteY27" fmla="*/ 378184 h 7196138"/>
              <a:gd name="connsiteX28" fmla="*/ 909109 w 4933949"/>
              <a:gd name="connsiteY28" fmla="*/ 305710 h 7196138"/>
              <a:gd name="connsiteX29" fmla="*/ 678543 w 4933949"/>
              <a:gd name="connsiteY29" fmla="*/ 305710 h 7196138"/>
              <a:gd name="connsiteX30" fmla="*/ 1842869 w 4933949"/>
              <a:gd name="connsiteY30" fmla="*/ 0 h 7196138"/>
              <a:gd name="connsiteX31" fmla="*/ 3073618 w 4933949"/>
              <a:gd name="connsiteY31" fmla="*/ 0 h 7196138"/>
              <a:gd name="connsiteX32" fmla="*/ 3114467 w 4933949"/>
              <a:gd name="connsiteY32" fmla="*/ 14495 h 7196138"/>
              <a:gd name="connsiteX33" fmla="*/ 3128962 w 4933949"/>
              <a:gd name="connsiteY33" fmla="*/ 54027 h 7196138"/>
              <a:gd name="connsiteX34" fmla="*/ 3128962 w 4933949"/>
              <a:gd name="connsiteY34" fmla="*/ 275402 h 7196138"/>
              <a:gd name="connsiteX35" fmla="*/ 3114467 w 4933949"/>
              <a:gd name="connsiteY35" fmla="*/ 314934 h 7196138"/>
              <a:gd name="connsiteX36" fmla="*/ 3073618 w 4933949"/>
              <a:gd name="connsiteY36" fmla="*/ 329429 h 7196138"/>
              <a:gd name="connsiteX37" fmla="*/ 2679620 w 4933949"/>
              <a:gd name="connsiteY37" fmla="*/ 329429 h 7196138"/>
              <a:gd name="connsiteX38" fmla="*/ 2679620 w 4933949"/>
              <a:gd name="connsiteY38" fmla="*/ 2558999 h 7196138"/>
              <a:gd name="connsiteX39" fmla="*/ 2665125 w 4933949"/>
              <a:gd name="connsiteY39" fmla="*/ 2598530 h 7196138"/>
              <a:gd name="connsiteX40" fmla="*/ 2625594 w 4933949"/>
              <a:gd name="connsiteY40" fmla="*/ 2613025 h 7196138"/>
              <a:gd name="connsiteX41" fmla="*/ 2290893 w 4933949"/>
              <a:gd name="connsiteY41" fmla="*/ 2613025 h 7196138"/>
              <a:gd name="connsiteX42" fmla="*/ 2250044 w 4933949"/>
              <a:gd name="connsiteY42" fmla="*/ 2598530 h 7196138"/>
              <a:gd name="connsiteX43" fmla="*/ 2235549 w 4933949"/>
              <a:gd name="connsiteY43" fmla="*/ 2558999 h 7196138"/>
              <a:gd name="connsiteX44" fmla="*/ 2235549 w 4933949"/>
              <a:gd name="connsiteY44" fmla="*/ 329429 h 7196138"/>
              <a:gd name="connsiteX45" fmla="*/ 1842869 w 4933949"/>
              <a:gd name="connsiteY45" fmla="*/ 329429 h 7196138"/>
              <a:gd name="connsiteX46" fmla="*/ 1802020 w 4933949"/>
              <a:gd name="connsiteY46" fmla="*/ 314934 h 7196138"/>
              <a:gd name="connsiteX47" fmla="*/ 1787525 w 4933949"/>
              <a:gd name="connsiteY47" fmla="*/ 275402 h 7196138"/>
              <a:gd name="connsiteX48" fmla="*/ 1787525 w 4933949"/>
              <a:gd name="connsiteY48" fmla="*/ 54027 h 7196138"/>
              <a:gd name="connsiteX49" fmla="*/ 1802020 w 4933949"/>
              <a:gd name="connsiteY49" fmla="*/ 14495 h 7196138"/>
              <a:gd name="connsiteX50" fmla="*/ 1842869 w 4933949"/>
              <a:gd name="connsiteY50" fmla="*/ 0 h 7196138"/>
              <a:gd name="connsiteX51" fmla="*/ 317544 w 4933949"/>
              <a:gd name="connsiteY51" fmla="*/ 0 h 7196138"/>
              <a:gd name="connsiteX52" fmla="*/ 972349 w 4933949"/>
              <a:gd name="connsiteY52" fmla="*/ 0 h 7196138"/>
              <a:gd name="connsiteX53" fmla="*/ 1476958 w 4933949"/>
              <a:gd name="connsiteY53" fmla="*/ 179209 h 7196138"/>
              <a:gd name="connsiteX54" fmla="*/ 1619250 w 4933949"/>
              <a:gd name="connsiteY54" fmla="*/ 1025181 h 7196138"/>
              <a:gd name="connsiteX55" fmla="*/ 1619250 w 4933949"/>
              <a:gd name="connsiteY55" fmla="*/ 1587845 h 7196138"/>
              <a:gd name="connsiteX56" fmla="*/ 1476958 w 4933949"/>
              <a:gd name="connsiteY56" fmla="*/ 2433816 h 7196138"/>
              <a:gd name="connsiteX57" fmla="*/ 972349 w 4933949"/>
              <a:gd name="connsiteY57" fmla="*/ 2613025 h 7196138"/>
              <a:gd name="connsiteX58" fmla="*/ 317544 w 4933949"/>
              <a:gd name="connsiteY58" fmla="*/ 2613025 h 7196138"/>
              <a:gd name="connsiteX59" fmla="*/ 278018 w 4933949"/>
              <a:gd name="connsiteY59" fmla="*/ 2598530 h 7196138"/>
              <a:gd name="connsiteX60" fmla="*/ 263525 w 4933949"/>
              <a:gd name="connsiteY60" fmla="*/ 2558999 h 7196138"/>
              <a:gd name="connsiteX61" fmla="*/ 263525 w 4933949"/>
              <a:gd name="connsiteY61" fmla="*/ 54027 h 7196138"/>
              <a:gd name="connsiteX62" fmla="*/ 278018 w 4933949"/>
              <a:gd name="connsiteY62" fmla="*/ 14495 h 7196138"/>
              <a:gd name="connsiteX63" fmla="*/ 317544 w 4933949"/>
              <a:gd name="connsiteY63" fmla="*/ 0 h 7196138"/>
              <a:gd name="connsiteX64" fmla="*/ 3359213 w 4933949"/>
              <a:gd name="connsiteY64" fmla="*/ 0 h 7196138"/>
              <a:gd name="connsiteX65" fmla="*/ 3664991 w 4933949"/>
              <a:gd name="connsiteY65" fmla="*/ 0 h 7196138"/>
              <a:gd name="connsiteX66" fmla="*/ 3705850 w 4933949"/>
              <a:gd name="connsiteY66" fmla="*/ 14497 h 7196138"/>
              <a:gd name="connsiteX67" fmla="*/ 3720348 w 4933949"/>
              <a:gd name="connsiteY67" fmla="*/ 54035 h 7196138"/>
              <a:gd name="connsiteX68" fmla="*/ 3720348 w 4933949"/>
              <a:gd name="connsiteY68" fmla="*/ 1903062 h 7196138"/>
              <a:gd name="connsiteX69" fmla="*/ 3798111 w 4933949"/>
              <a:gd name="connsiteY69" fmla="*/ 2279984 h 7196138"/>
              <a:gd name="connsiteX70" fmla="*/ 3976042 w 4933949"/>
              <a:gd name="connsiteY70" fmla="*/ 2349833 h 7196138"/>
              <a:gd name="connsiteX71" fmla="*/ 4163200 w 4933949"/>
              <a:gd name="connsiteY71" fmla="*/ 2279984 h 7196138"/>
              <a:gd name="connsiteX72" fmla="*/ 4240963 w 4933949"/>
              <a:gd name="connsiteY72" fmla="*/ 1903062 h 7196138"/>
              <a:gd name="connsiteX73" fmla="*/ 4240963 w 4933949"/>
              <a:gd name="connsiteY73" fmla="*/ 54035 h 7196138"/>
              <a:gd name="connsiteX74" fmla="*/ 4255461 w 4933949"/>
              <a:gd name="connsiteY74" fmla="*/ 14497 h 7196138"/>
              <a:gd name="connsiteX75" fmla="*/ 4295001 w 4933949"/>
              <a:gd name="connsiteY75" fmla="*/ 0 h 7196138"/>
              <a:gd name="connsiteX76" fmla="*/ 4602098 w 4933949"/>
              <a:gd name="connsiteY76" fmla="*/ 0 h 7196138"/>
              <a:gd name="connsiteX77" fmla="*/ 4641638 w 4933949"/>
              <a:gd name="connsiteY77" fmla="*/ 14497 h 7196138"/>
              <a:gd name="connsiteX78" fmla="*/ 4656136 w 4933949"/>
              <a:gd name="connsiteY78" fmla="*/ 54035 h 7196138"/>
              <a:gd name="connsiteX79" fmla="*/ 4656136 w 4933949"/>
              <a:gd name="connsiteY79" fmla="*/ 1904380 h 7196138"/>
              <a:gd name="connsiteX80" fmla="*/ 4507201 w 4933949"/>
              <a:gd name="connsiteY80" fmla="*/ 2459220 h 7196138"/>
              <a:gd name="connsiteX81" fmla="*/ 3981314 w 4933949"/>
              <a:gd name="connsiteY81" fmla="*/ 2646363 h 7196138"/>
              <a:gd name="connsiteX82" fmla="*/ 3447519 w 4933949"/>
              <a:gd name="connsiteY82" fmla="*/ 2459220 h 7196138"/>
              <a:gd name="connsiteX83" fmla="*/ 3305174 w 4933949"/>
              <a:gd name="connsiteY83" fmla="*/ 1904380 h 7196138"/>
              <a:gd name="connsiteX84" fmla="*/ 3305174 w 4933949"/>
              <a:gd name="connsiteY84" fmla="*/ 54035 h 7196138"/>
              <a:gd name="connsiteX85" fmla="*/ 3318354 w 4933949"/>
              <a:gd name="connsiteY85" fmla="*/ 14497 h 7196138"/>
              <a:gd name="connsiteX86" fmla="*/ 3359213 w 4933949"/>
              <a:gd name="connsiteY86" fmla="*/ 0 h 7196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933949" h="7196138">
                <a:moveTo>
                  <a:pt x="1050029" y="6094413"/>
                </a:moveTo>
                <a:cubicBezTo>
                  <a:pt x="2409664" y="6623557"/>
                  <a:pt x="2524285" y="6623557"/>
                  <a:pt x="3883920" y="6094413"/>
                </a:cubicBezTo>
                <a:cubicBezTo>
                  <a:pt x="3883920" y="6094413"/>
                  <a:pt x="3883920" y="6094413"/>
                  <a:pt x="4933949" y="6645934"/>
                </a:cubicBezTo>
                <a:cubicBezTo>
                  <a:pt x="4933949" y="6645934"/>
                  <a:pt x="4933949" y="6645934"/>
                  <a:pt x="3883920" y="7196138"/>
                </a:cubicBezTo>
                <a:cubicBezTo>
                  <a:pt x="2524285" y="6668311"/>
                  <a:pt x="2409664" y="6668311"/>
                  <a:pt x="1050029" y="7196138"/>
                </a:cubicBezTo>
                <a:cubicBezTo>
                  <a:pt x="1050029" y="7196138"/>
                  <a:pt x="1050029" y="7196138"/>
                  <a:pt x="0" y="6645934"/>
                </a:cubicBezTo>
                <a:cubicBezTo>
                  <a:pt x="0" y="6645934"/>
                  <a:pt x="0" y="6645934"/>
                  <a:pt x="1050029" y="6094413"/>
                </a:cubicBezTo>
                <a:close/>
                <a:moveTo>
                  <a:pt x="1050029" y="4730750"/>
                </a:moveTo>
                <a:cubicBezTo>
                  <a:pt x="2409664" y="5260657"/>
                  <a:pt x="2524285" y="5260657"/>
                  <a:pt x="3883920" y="4730750"/>
                </a:cubicBezTo>
                <a:cubicBezTo>
                  <a:pt x="3883920" y="4730750"/>
                  <a:pt x="3883920" y="4730750"/>
                  <a:pt x="4933949" y="5283066"/>
                </a:cubicBezTo>
                <a:cubicBezTo>
                  <a:pt x="4933949" y="5283066"/>
                  <a:pt x="4933949" y="5283066"/>
                  <a:pt x="3883920" y="5834063"/>
                </a:cubicBezTo>
                <a:cubicBezTo>
                  <a:pt x="2524285" y="5305475"/>
                  <a:pt x="2409664" y="5305475"/>
                  <a:pt x="1050029" y="5834063"/>
                </a:cubicBezTo>
                <a:cubicBezTo>
                  <a:pt x="1050029" y="5834063"/>
                  <a:pt x="1050029" y="5834063"/>
                  <a:pt x="0" y="5283066"/>
                </a:cubicBezTo>
                <a:cubicBezTo>
                  <a:pt x="0" y="5283066"/>
                  <a:pt x="0" y="5283066"/>
                  <a:pt x="1050029" y="4730750"/>
                </a:cubicBezTo>
                <a:close/>
                <a:moveTo>
                  <a:pt x="1050029" y="3368675"/>
                </a:moveTo>
                <a:cubicBezTo>
                  <a:pt x="2409664" y="3898582"/>
                  <a:pt x="2524285" y="3898582"/>
                  <a:pt x="3883920" y="3368675"/>
                </a:cubicBezTo>
                <a:cubicBezTo>
                  <a:pt x="3883920" y="3368675"/>
                  <a:pt x="3883920" y="3368675"/>
                  <a:pt x="4933949" y="3920991"/>
                </a:cubicBezTo>
                <a:cubicBezTo>
                  <a:pt x="4933949" y="3920991"/>
                  <a:pt x="4933949" y="3920991"/>
                  <a:pt x="3883920" y="4471988"/>
                </a:cubicBezTo>
                <a:cubicBezTo>
                  <a:pt x="2524285" y="3943400"/>
                  <a:pt x="2409664" y="3943400"/>
                  <a:pt x="1050029" y="4471988"/>
                </a:cubicBezTo>
                <a:cubicBezTo>
                  <a:pt x="1050029" y="4471988"/>
                  <a:pt x="1050029" y="4471988"/>
                  <a:pt x="0" y="3920991"/>
                </a:cubicBezTo>
                <a:cubicBezTo>
                  <a:pt x="0" y="3920991"/>
                  <a:pt x="0" y="3920991"/>
                  <a:pt x="1050029" y="3368675"/>
                </a:cubicBezTo>
                <a:close/>
                <a:moveTo>
                  <a:pt x="678543" y="305710"/>
                </a:moveTo>
                <a:lnTo>
                  <a:pt x="678543" y="2307316"/>
                </a:lnTo>
                <a:cubicBezTo>
                  <a:pt x="678543" y="2307316"/>
                  <a:pt x="678543" y="2307316"/>
                  <a:pt x="909109" y="2307316"/>
                </a:cubicBezTo>
                <a:cubicBezTo>
                  <a:pt x="1011875" y="2307316"/>
                  <a:pt x="1072481" y="2291503"/>
                  <a:pt x="1119911" y="2234842"/>
                </a:cubicBezTo>
                <a:cubicBezTo>
                  <a:pt x="1192375" y="2147873"/>
                  <a:pt x="1198962" y="1971299"/>
                  <a:pt x="1198962" y="1615517"/>
                </a:cubicBezTo>
                <a:cubicBezTo>
                  <a:pt x="1198962" y="1615517"/>
                  <a:pt x="1198962" y="1615517"/>
                  <a:pt x="1198962" y="996191"/>
                </a:cubicBezTo>
                <a:cubicBezTo>
                  <a:pt x="1198962" y="641727"/>
                  <a:pt x="1192375" y="465153"/>
                  <a:pt x="1119911" y="378184"/>
                </a:cubicBezTo>
                <a:cubicBezTo>
                  <a:pt x="1072481" y="321522"/>
                  <a:pt x="1011875" y="305710"/>
                  <a:pt x="909109" y="305710"/>
                </a:cubicBezTo>
                <a:cubicBezTo>
                  <a:pt x="909109" y="305710"/>
                  <a:pt x="909109" y="305710"/>
                  <a:pt x="678543" y="305710"/>
                </a:cubicBezTo>
                <a:close/>
                <a:moveTo>
                  <a:pt x="1842869" y="0"/>
                </a:moveTo>
                <a:cubicBezTo>
                  <a:pt x="1842869" y="0"/>
                  <a:pt x="1842869" y="0"/>
                  <a:pt x="3073618" y="0"/>
                </a:cubicBezTo>
                <a:cubicBezTo>
                  <a:pt x="3093384" y="0"/>
                  <a:pt x="3105243" y="5271"/>
                  <a:pt x="3114467" y="14495"/>
                </a:cubicBezTo>
                <a:cubicBezTo>
                  <a:pt x="3122374" y="22401"/>
                  <a:pt x="3128962" y="34261"/>
                  <a:pt x="3128962" y="54027"/>
                </a:cubicBezTo>
                <a:cubicBezTo>
                  <a:pt x="3128962" y="54027"/>
                  <a:pt x="3128962" y="54027"/>
                  <a:pt x="3128962" y="275402"/>
                </a:cubicBezTo>
                <a:cubicBezTo>
                  <a:pt x="3128962" y="295168"/>
                  <a:pt x="3122374" y="307028"/>
                  <a:pt x="3114467" y="314934"/>
                </a:cubicBezTo>
                <a:cubicBezTo>
                  <a:pt x="3105243" y="324158"/>
                  <a:pt x="3093384" y="329429"/>
                  <a:pt x="3073618" y="329429"/>
                </a:cubicBezTo>
                <a:cubicBezTo>
                  <a:pt x="3073618" y="329429"/>
                  <a:pt x="3073618" y="329429"/>
                  <a:pt x="2679620" y="329429"/>
                </a:cubicBezTo>
                <a:cubicBezTo>
                  <a:pt x="2679620" y="329429"/>
                  <a:pt x="2679620" y="329429"/>
                  <a:pt x="2679620" y="2558999"/>
                </a:cubicBezTo>
                <a:cubicBezTo>
                  <a:pt x="2679620" y="2578765"/>
                  <a:pt x="2674349" y="2590624"/>
                  <a:pt x="2665125" y="2598530"/>
                </a:cubicBezTo>
                <a:cubicBezTo>
                  <a:pt x="2657219" y="2607755"/>
                  <a:pt x="2645360" y="2613025"/>
                  <a:pt x="2625594" y="2613025"/>
                </a:cubicBezTo>
                <a:cubicBezTo>
                  <a:pt x="2625594" y="2613025"/>
                  <a:pt x="2625594" y="2613025"/>
                  <a:pt x="2290893" y="2613025"/>
                </a:cubicBezTo>
                <a:cubicBezTo>
                  <a:pt x="2271128" y="2613025"/>
                  <a:pt x="2259268" y="2607755"/>
                  <a:pt x="2250044" y="2598530"/>
                </a:cubicBezTo>
                <a:cubicBezTo>
                  <a:pt x="2240820" y="2590624"/>
                  <a:pt x="2235549" y="2578765"/>
                  <a:pt x="2235549" y="2558999"/>
                </a:cubicBezTo>
                <a:cubicBezTo>
                  <a:pt x="2235549" y="2558999"/>
                  <a:pt x="2235549" y="2558999"/>
                  <a:pt x="2235549" y="329429"/>
                </a:cubicBezTo>
                <a:cubicBezTo>
                  <a:pt x="2235549" y="329429"/>
                  <a:pt x="2235549" y="329429"/>
                  <a:pt x="1842869" y="329429"/>
                </a:cubicBezTo>
                <a:cubicBezTo>
                  <a:pt x="1823104" y="329429"/>
                  <a:pt x="1811244" y="324158"/>
                  <a:pt x="1802020" y="314934"/>
                </a:cubicBezTo>
                <a:cubicBezTo>
                  <a:pt x="1792796" y="307028"/>
                  <a:pt x="1787525" y="295168"/>
                  <a:pt x="1787525" y="275402"/>
                </a:cubicBezTo>
                <a:cubicBezTo>
                  <a:pt x="1787525" y="275402"/>
                  <a:pt x="1787525" y="275402"/>
                  <a:pt x="1787525" y="54027"/>
                </a:cubicBezTo>
                <a:cubicBezTo>
                  <a:pt x="1787525" y="34261"/>
                  <a:pt x="1792796" y="22401"/>
                  <a:pt x="1802020" y="14495"/>
                </a:cubicBezTo>
                <a:cubicBezTo>
                  <a:pt x="1811244" y="5271"/>
                  <a:pt x="1823104" y="0"/>
                  <a:pt x="1842869" y="0"/>
                </a:cubicBezTo>
                <a:close/>
                <a:moveTo>
                  <a:pt x="317544" y="0"/>
                </a:moveTo>
                <a:cubicBezTo>
                  <a:pt x="317544" y="0"/>
                  <a:pt x="317544" y="0"/>
                  <a:pt x="972349" y="0"/>
                </a:cubicBezTo>
                <a:cubicBezTo>
                  <a:pt x="1226630" y="0"/>
                  <a:pt x="1382097" y="57980"/>
                  <a:pt x="1476958" y="179209"/>
                </a:cubicBezTo>
                <a:cubicBezTo>
                  <a:pt x="1615298" y="345241"/>
                  <a:pt x="1619250" y="614055"/>
                  <a:pt x="1619250" y="1025181"/>
                </a:cubicBezTo>
                <a:cubicBezTo>
                  <a:pt x="1619250" y="1025181"/>
                  <a:pt x="1619250" y="1025181"/>
                  <a:pt x="1619250" y="1587845"/>
                </a:cubicBezTo>
                <a:cubicBezTo>
                  <a:pt x="1619250" y="1998971"/>
                  <a:pt x="1615298" y="2267784"/>
                  <a:pt x="1476958" y="2433816"/>
                </a:cubicBezTo>
                <a:cubicBezTo>
                  <a:pt x="1382097" y="2555046"/>
                  <a:pt x="1226630" y="2613025"/>
                  <a:pt x="972349" y="2613025"/>
                </a:cubicBezTo>
                <a:cubicBezTo>
                  <a:pt x="972349" y="2613025"/>
                  <a:pt x="972349" y="2613025"/>
                  <a:pt x="317544" y="2613025"/>
                </a:cubicBezTo>
                <a:cubicBezTo>
                  <a:pt x="297781" y="2613025"/>
                  <a:pt x="285923" y="2607755"/>
                  <a:pt x="278018" y="2598530"/>
                </a:cubicBezTo>
                <a:cubicBezTo>
                  <a:pt x="268795" y="2590624"/>
                  <a:pt x="263525" y="2578765"/>
                  <a:pt x="263525" y="2558999"/>
                </a:cubicBezTo>
                <a:cubicBezTo>
                  <a:pt x="263525" y="2558999"/>
                  <a:pt x="263525" y="2558999"/>
                  <a:pt x="263525" y="54027"/>
                </a:cubicBezTo>
                <a:cubicBezTo>
                  <a:pt x="263525" y="34261"/>
                  <a:pt x="268795" y="22401"/>
                  <a:pt x="278018" y="14495"/>
                </a:cubicBezTo>
                <a:cubicBezTo>
                  <a:pt x="285923" y="5271"/>
                  <a:pt x="297781" y="0"/>
                  <a:pt x="317544" y="0"/>
                </a:cubicBezTo>
                <a:close/>
                <a:moveTo>
                  <a:pt x="3359213" y="0"/>
                </a:moveTo>
                <a:cubicBezTo>
                  <a:pt x="3359213" y="0"/>
                  <a:pt x="3359213" y="0"/>
                  <a:pt x="3664991" y="0"/>
                </a:cubicBezTo>
                <a:cubicBezTo>
                  <a:pt x="3684762" y="0"/>
                  <a:pt x="3696624" y="5272"/>
                  <a:pt x="3705850" y="14497"/>
                </a:cubicBezTo>
                <a:cubicBezTo>
                  <a:pt x="3715076" y="22405"/>
                  <a:pt x="3720348" y="34266"/>
                  <a:pt x="3720348" y="54035"/>
                </a:cubicBezTo>
                <a:cubicBezTo>
                  <a:pt x="3720348" y="54035"/>
                  <a:pt x="3720348" y="54035"/>
                  <a:pt x="3720348" y="1903062"/>
                </a:cubicBezTo>
                <a:cubicBezTo>
                  <a:pt x="3720348" y="2103384"/>
                  <a:pt x="3738800" y="2214089"/>
                  <a:pt x="3798111" y="2279984"/>
                </a:cubicBezTo>
                <a:cubicBezTo>
                  <a:pt x="3841605" y="2328747"/>
                  <a:pt x="3899597" y="2349833"/>
                  <a:pt x="3976042" y="2349833"/>
                </a:cubicBezTo>
                <a:cubicBezTo>
                  <a:pt x="4060395" y="2349833"/>
                  <a:pt x="4121023" y="2326111"/>
                  <a:pt x="4163200" y="2279984"/>
                </a:cubicBezTo>
                <a:cubicBezTo>
                  <a:pt x="4226464" y="2211453"/>
                  <a:pt x="4240963" y="2096795"/>
                  <a:pt x="4240963" y="1903062"/>
                </a:cubicBezTo>
                <a:cubicBezTo>
                  <a:pt x="4240963" y="1903062"/>
                  <a:pt x="4240963" y="1903062"/>
                  <a:pt x="4240963" y="54035"/>
                </a:cubicBezTo>
                <a:cubicBezTo>
                  <a:pt x="4240963" y="34266"/>
                  <a:pt x="4246235" y="22405"/>
                  <a:pt x="4255461" y="14497"/>
                </a:cubicBezTo>
                <a:cubicBezTo>
                  <a:pt x="4263369" y="5272"/>
                  <a:pt x="4276549" y="0"/>
                  <a:pt x="4295001" y="0"/>
                </a:cubicBezTo>
                <a:cubicBezTo>
                  <a:pt x="4295001" y="0"/>
                  <a:pt x="4295001" y="0"/>
                  <a:pt x="4602098" y="0"/>
                </a:cubicBezTo>
                <a:cubicBezTo>
                  <a:pt x="4621868" y="0"/>
                  <a:pt x="4633730" y="5272"/>
                  <a:pt x="4641638" y="14497"/>
                </a:cubicBezTo>
                <a:cubicBezTo>
                  <a:pt x="4650864" y="22405"/>
                  <a:pt x="4656136" y="34266"/>
                  <a:pt x="4656136" y="54035"/>
                </a:cubicBezTo>
                <a:cubicBezTo>
                  <a:pt x="4656136" y="54035"/>
                  <a:pt x="4656136" y="54035"/>
                  <a:pt x="4656136" y="1904380"/>
                </a:cubicBezTo>
                <a:cubicBezTo>
                  <a:pt x="4656136" y="2153465"/>
                  <a:pt x="4627140" y="2319521"/>
                  <a:pt x="4507201" y="2459220"/>
                </a:cubicBezTo>
                <a:cubicBezTo>
                  <a:pt x="4405714" y="2577832"/>
                  <a:pt x="4239645" y="2646363"/>
                  <a:pt x="3981314" y="2646363"/>
                </a:cubicBezTo>
                <a:cubicBezTo>
                  <a:pt x="3726938" y="2646363"/>
                  <a:pt x="3559550" y="2581786"/>
                  <a:pt x="3447519" y="2459220"/>
                </a:cubicBezTo>
                <a:cubicBezTo>
                  <a:pt x="3340760" y="2341926"/>
                  <a:pt x="3305174" y="2173233"/>
                  <a:pt x="3305174" y="1904380"/>
                </a:cubicBezTo>
                <a:cubicBezTo>
                  <a:pt x="3305174" y="1904380"/>
                  <a:pt x="3305174" y="1904380"/>
                  <a:pt x="3305174" y="54035"/>
                </a:cubicBezTo>
                <a:cubicBezTo>
                  <a:pt x="3305174" y="34266"/>
                  <a:pt x="3310446" y="22405"/>
                  <a:pt x="3318354" y="14497"/>
                </a:cubicBezTo>
                <a:cubicBezTo>
                  <a:pt x="3327580" y="5272"/>
                  <a:pt x="3339442" y="0"/>
                  <a:pt x="3359213"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da-DK"/>
          </a:p>
        </p:txBody>
      </p:sp>
    </p:spTree>
    <p:extLst>
      <p:ext uri="{BB962C8B-B14F-4D97-AF65-F5344CB8AC3E}">
        <p14:creationId xmlns:p14="http://schemas.microsoft.com/office/powerpoint/2010/main" val="88369864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Front/Pause B">
    <p:bg>
      <p:bgRef idx="1001">
        <a:schemeClr val="bg1"/>
      </p:bgRef>
    </p:bg>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A3420087-96DF-432F-B192-585D42BF6A4E}"/>
              </a:ext>
            </a:extLst>
          </p:cNvPr>
          <p:cNvSpPr/>
          <p:nvPr userDrawn="1"/>
        </p:nvSpPr>
        <p:spPr bwMode="auto">
          <a:xfrm>
            <a:off x="0" y="0"/>
            <a:ext cx="12193200" cy="6861600"/>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da-DK" sz="1600" b="0" i="0" u="none" strike="noStrike" cap="none" normalizeH="0" baseline="0" dirty="0">
              <a:ln>
                <a:noFill/>
              </a:ln>
              <a:solidFill>
                <a:schemeClr val="tx1"/>
              </a:solidFill>
              <a:effectLst/>
              <a:latin typeface="Arial" panose="020B0604020202020204" pitchFamily="34" charset="0"/>
              <a:ea typeface="ＭＳ Ｐゴシック" pitchFamily="-80" charset="-128"/>
            </a:endParaRPr>
          </a:p>
        </p:txBody>
      </p:sp>
      <p:sp>
        <p:nvSpPr>
          <p:cNvPr id="13" name="Logo color">
            <a:extLst>
              <a:ext uri="{FF2B5EF4-FFF2-40B4-BE49-F238E27FC236}">
                <a16:creationId xmlns:a16="http://schemas.microsoft.com/office/drawing/2014/main" id="{09BBEE10-6A59-474F-B766-7643F97F869F}"/>
              </a:ext>
            </a:extLst>
          </p:cNvPr>
          <p:cNvSpPr>
            <a:spLocks noChangeAspect="1"/>
          </p:cNvSpPr>
          <p:nvPr userDrawn="1">
            <p:custDataLst>
              <p:tags r:id="rId1"/>
            </p:custDataLst>
          </p:nvPr>
        </p:nvSpPr>
        <p:spPr bwMode="auto">
          <a:xfrm>
            <a:off x="4870539" y="1651373"/>
            <a:ext cx="2388323" cy="3483354"/>
          </a:xfrm>
          <a:custGeom>
            <a:avLst/>
            <a:gdLst>
              <a:gd name="connsiteX0" fmla="*/ 1050029 w 4933949"/>
              <a:gd name="connsiteY0" fmla="*/ 6094413 h 7196138"/>
              <a:gd name="connsiteX1" fmla="*/ 3883920 w 4933949"/>
              <a:gd name="connsiteY1" fmla="*/ 6094413 h 7196138"/>
              <a:gd name="connsiteX2" fmla="*/ 4933949 w 4933949"/>
              <a:gd name="connsiteY2" fmla="*/ 6645934 h 7196138"/>
              <a:gd name="connsiteX3" fmla="*/ 3883920 w 4933949"/>
              <a:gd name="connsiteY3" fmla="*/ 7196138 h 7196138"/>
              <a:gd name="connsiteX4" fmla="*/ 1050029 w 4933949"/>
              <a:gd name="connsiteY4" fmla="*/ 7196138 h 7196138"/>
              <a:gd name="connsiteX5" fmla="*/ 0 w 4933949"/>
              <a:gd name="connsiteY5" fmla="*/ 6645934 h 7196138"/>
              <a:gd name="connsiteX6" fmla="*/ 1050029 w 4933949"/>
              <a:gd name="connsiteY6" fmla="*/ 6094413 h 7196138"/>
              <a:gd name="connsiteX7" fmla="*/ 1050029 w 4933949"/>
              <a:gd name="connsiteY7" fmla="*/ 4730750 h 7196138"/>
              <a:gd name="connsiteX8" fmla="*/ 3883920 w 4933949"/>
              <a:gd name="connsiteY8" fmla="*/ 4730750 h 7196138"/>
              <a:gd name="connsiteX9" fmla="*/ 4933949 w 4933949"/>
              <a:gd name="connsiteY9" fmla="*/ 5283066 h 7196138"/>
              <a:gd name="connsiteX10" fmla="*/ 3883920 w 4933949"/>
              <a:gd name="connsiteY10" fmla="*/ 5834063 h 7196138"/>
              <a:gd name="connsiteX11" fmla="*/ 1050029 w 4933949"/>
              <a:gd name="connsiteY11" fmla="*/ 5834063 h 7196138"/>
              <a:gd name="connsiteX12" fmla="*/ 0 w 4933949"/>
              <a:gd name="connsiteY12" fmla="*/ 5283066 h 7196138"/>
              <a:gd name="connsiteX13" fmla="*/ 1050029 w 4933949"/>
              <a:gd name="connsiteY13" fmla="*/ 4730750 h 7196138"/>
              <a:gd name="connsiteX14" fmla="*/ 1050029 w 4933949"/>
              <a:gd name="connsiteY14" fmla="*/ 3368675 h 7196138"/>
              <a:gd name="connsiteX15" fmla="*/ 3883920 w 4933949"/>
              <a:gd name="connsiteY15" fmla="*/ 3368675 h 7196138"/>
              <a:gd name="connsiteX16" fmla="*/ 4933949 w 4933949"/>
              <a:gd name="connsiteY16" fmla="*/ 3920991 h 7196138"/>
              <a:gd name="connsiteX17" fmla="*/ 3883920 w 4933949"/>
              <a:gd name="connsiteY17" fmla="*/ 4471988 h 7196138"/>
              <a:gd name="connsiteX18" fmla="*/ 1050029 w 4933949"/>
              <a:gd name="connsiteY18" fmla="*/ 4471988 h 7196138"/>
              <a:gd name="connsiteX19" fmla="*/ 0 w 4933949"/>
              <a:gd name="connsiteY19" fmla="*/ 3920991 h 7196138"/>
              <a:gd name="connsiteX20" fmla="*/ 1050029 w 4933949"/>
              <a:gd name="connsiteY20" fmla="*/ 3368675 h 7196138"/>
              <a:gd name="connsiteX21" fmla="*/ 678543 w 4933949"/>
              <a:gd name="connsiteY21" fmla="*/ 305710 h 7196138"/>
              <a:gd name="connsiteX22" fmla="*/ 678543 w 4933949"/>
              <a:gd name="connsiteY22" fmla="*/ 2307316 h 7196138"/>
              <a:gd name="connsiteX23" fmla="*/ 909109 w 4933949"/>
              <a:gd name="connsiteY23" fmla="*/ 2307316 h 7196138"/>
              <a:gd name="connsiteX24" fmla="*/ 1119911 w 4933949"/>
              <a:gd name="connsiteY24" fmla="*/ 2234842 h 7196138"/>
              <a:gd name="connsiteX25" fmla="*/ 1198962 w 4933949"/>
              <a:gd name="connsiteY25" fmla="*/ 1615517 h 7196138"/>
              <a:gd name="connsiteX26" fmla="*/ 1198962 w 4933949"/>
              <a:gd name="connsiteY26" fmla="*/ 996191 h 7196138"/>
              <a:gd name="connsiteX27" fmla="*/ 1119911 w 4933949"/>
              <a:gd name="connsiteY27" fmla="*/ 378184 h 7196138"/>
              <a:gd name="connsiteX28" fmla="*/ 909109 w 4933949"/>
              <a:gd name="connsiteY28" fmla="*/ 305710 h 7196138"/>
              <a:gd name="connsiteX29" fmla="*/ 678543 w 4933949"/>
              <a:gd name="connsiteY29" fmla="*/ 305710 h 7196138"/>
              <a:gd name="connsiteX30" fmla="*/ 1842869 w 4933949"/>
              <a:gd name="connsiteY30" fmla="*/ 0 h 7196138"/>
              <a:gd name="connsiteX31" fmla="*/ 3073618 w 4933949"/>
              <a:gd name="connsiteY31" fmla="*/ 0 h 7196138"/>
              <a:gd name="connsiteX32" fmla="*/ 3114467 w 4933949"/>
              <a:gd name="connsiteY32" fmla="*/ 14495 h 7196138"/>
              <a:gd name="connsiteX33" fmla="*/ 3128962 w 4933949"/>
              <a:gd name="connsiteY33" fmla="*/ 54027 h 7196138"/>
              <a:gd name="connsiteX34" fmla="*/ 3128962 w 4933949"/>
              <a:gd name="connsiteY34" fmla="*/ 275402 h 7196138"/>
              <a:gd name="connsiteX35" fmla="*/ 3114467 w 4933949"/>
              <a:gd name="connsiteY35" fmla="*/ 314934 h 7196138"/>
              <a:gd name="connsiteX36" fmla="*/ 3073618 w 4933949"/>
              <a:gd name="connsiteY36" fmla="*/ 329429 h 7196138"/>
              <a:gd name="connsiteX37" fmla="*/ 2679620 w 4933949"/>
              <a:gd name="connsiteY37" fmla="*/ 329429 h 7196138"/>
              <a:gd name="connsiteX38" fmla="*/ 2679620 w 4933949"/>
              <a:gd name="connsiteY38" fmla="*/ 2558999 h 7196138"/>
              <a:gd name="connsiteX39" fmla="*/ 2665125 w 4933949"/>
              <a:gd name="connsiteY39" fmla="*/ 2598530 h 7196138"/>
              <a:gd name="connsiteX40" fmla="*/ 2625594 w 4933949"/>
              <a:gd name="connsiteY40" fmla="*/ 2613025 h 7196138"/>
              <a:gd name="connsiteX41" fmla="*/ 2290893 w 4933949"/>
              <a:gd name="connsiteY41" fmla="*/ 2613025 h 7196138"/>
              <a:gd name="connsiteX42" fmla="*/ 2250044 w 4933949"/>
              <a:gd name="connsiteY42" fmla="*/ 2598530 h 7196138"/>
              <a:gd name="connsiteX43" fmla="*/ 2235549 w 4933949"/>
              <a:gd name="connsiteY43" fmla="*/ 2558999 h 7196138"/>
              <a:gd name="connsiteX44" fmla="*/ 2235549 w 4933949"/>
              <a:gd name="connsiteY44" fmla="*/ 329429 h 7196138"/>
              <a:gd name="connsiteX45" fmla="*/ 1842869 w 4933949"/>
              <a:gd name="connsiteY45" fmla="*/ 329429 h 7196138"/>
              <a:gd name="connsiteX46" fmla="*/ 1802020 w 4933949"/>
              <a:gd name="connsiteY46" fmla="*/ 314934 h 7196138"/>
              <a:gd name="connsiteX47" fmla="*/ 1787525 w 4933949"/>
              <a:gd name="connsiteY47" fmla="*/ 275402 h 7196138"/>
              <a:gd name="connsiteX48" fmla="*/ 1787525 w 4933949"/>
              <a:gd name="connsiteY48" fmla="*/ 54027 h 7196138"/>
              <a:gd name="connsiteX49" fmla="*/ 1802020 w 4933949"/>
              <a:gd name="connsiteY49" fmla="*/ 14495 h 7196138"/>
              <a:gd name="connsiteX50" fmla="*/ 1842869 w 4933949"/>
              <a:gd name="connsiteY50" fmla="*/ 0 h 7196138"/>
              <a:gd name="connsiteX51" fmla="*/ 317544 w 4933949"/>
              <a:gd name="connsiteY51" fmla="*/ 0 h 7196138"/>
              <a:gd name="connsiteX52" fmla="*/ 972349 w 4933949"/>
              <a:gd name="connsiteY52" fmla="*/ 0 h 7196138"/>
              <a:gd name="connsiteX53" fmla="*/ 1476958 w 4933949"/>
              <a:gd name="connsiteY53" fmla="*/ 179209 h 7196138"/>
              <a:gd name="connsiteX54" fmla="*/ 1619250 w 4933949"/>
              <a:gd name="connsiteY54" fmla="*/ 1025181 h 7196138"/>
              <a:gd name="connsiteX55" fmla="*/ 1619250 w 4933949"/>
              <a:gd name="connsiteY55" fmla="*/ 1587845 h 7196138"/>
              <a:gd name="connsiteX56" fmla="*/ 1476958 w 4933949"/>
              <a:gd name="connsiteY56" fmla="*/ 2433816 h 7196138"/>
              <a:gd name="connsiteX57" fmla="*/ 972349 w 4933949"/>
              <a:gd name="connsiteY57" fmla="*/ 2613025 h 7196138"/>
              <a:gd name="connsiteX58" fmla="*/ 317544 w 4933949"/>
              <a:gd name="connsiteY58" fmla="*/ 2613025 h 7196138"/>
              <a:gd name="connsiteX59" fmla="*/ 278018 w 4933949"/>
              <a:gd name="connsiteY59" fmla="*/ 2598530 h 7196138"/>
              <a:gd name="connsiteX60" fmla="*/ 263525 w 4933949"/>
              <a:gd name="connsiteY60" fmla="*/ 2558999 h 7196138"/>
              <a:gd name="connsiteX61" fmla="*/ 263525 w 4933949"/>
              <a:gd name="connsiteY61" fmla="*/ 54027 h 7196138"/>
              <a:gd name="connsiteX62" fmla="*/ 278018 w 4933949"/>
              <a:gd name="connsiteY62" fmla="*/ 14495 h 7196138"/>
              <a:gd name="connsiteX63" fmla="*/ 317544 w 4933949"/>
              <a:gd name="connsiteY63" fmla="*/ 0 h 7196138"/>
              <a:gd name="connsiteX64" fmla="*/ 3359213 w 4933949"/>
              <a:gd name="connsiteY64" fmla="*/ 0 h 7196138"/>
              <a:gd name="connsiteX65" fmla="*/ 3664991 w 4933949"/>
              <a:gd name="connsiteY65" fmla="*/ 0 h 7196138"/>
              <a:gd name="connsiteX66" fmla="*/ 3705850 w 4933949"/>
              <a:gd name="connsiteY66" fmla="*/ 14497 h 7196138"/>
              <a:gd name="connsiteX67" fmla="*/ 3720348 w 4933949"/>
              <a:gd name="connsiteY67" fmla="*/ 54035 h 7196138"/>
              <a:gd name="connsiteX68" fmla="*/ 3720348 w 4933949"/>
              <a:gd name="connsiteY68" fmla="*/ 1903062 h 7196138"/>
              <a:gd name="connsiteX69" fmla="*/ 3798111 w 4933949"/>
              <a:gd name="connsiteY69" fmla="*/ 2279984 h 7196138"/>
              <a:gd name="connsiteX70" fmla="*/ 3976042 w 4933949"/>
              <a:gd name="connsiteY70" fmla="*/ 2349833 h 7196138"/>
              <a:gd name="connsiteX71" fmla="*/ 4163200 w 4933949"/>
              <a:gd name="connsiteY71" fmla="*/ 2279984 h 7196138"/>
              <a:gd name="connsiteX72" fmla="*/ 4240963 w 4933949"/>
              <a:gd name="connsiteY72" fmla="*/ 1903062 h 7196138"/>
              <a:gd name="connsiteX73" fmla="*/ 4240963 w 4933949"/>
              <a:gd name="connsiteY73" fmla="*/ 54035 h 7196138"/>
              <a:gd name="connsiteX74" fmla="*/ 4255461 w 4933949"/>
              <a:gd name="connsiteY74" fmla="*/ 14497 h 7196138"/>
              <a:gd name="connsiteX75" fmla="*/ 4295001 w 4933949"/>
              <a:gd name="connsiteY75" fmla="*/ 0 h 7196138"/>
              <a:gd name="connsiteX76" fmla="*/ 4602098 w 4933949"/>
              <a:gd name="connsiteY76" fmla="*/ 0 h 7196138"/>
              <a:gd name="connsiteX77" fmla="*/ 4641638 w 4933949"/>
              <a:gd name="connsiteY77" fmla="*/ 14497 h 7196138"/>
              <a:gd name="connsiteX78" fmla="*/ 4656136 w 4933949"/>
              <a:gd name="connsiteY78" fmla="*/ 54035 h 7196138"/>
              <a:gd name="connsiteX79" fmla="*/ 4656136 w 4933949"/>
              <a:gd name="connsiteY79" fmla="*/ 1904380 h 7196138"/>
              <a:gd name="connsiteX80" fmla="*/ 4507201 w 4933949"/>
              <a:gd name="connsiteY80" fmla="*/ 2459220 h 7196138"/>
              <a:gd name="connsiteX81" fmla="*/ 3981314 w 4933949"/>
              <a:gd name="connsiteY81" fmla="*/ 2646363 h 7196138"/>
              <a:gd name="connsiteX82" fmla="*/ 3447519 w 4933949"/>
              <a:gd name="connsiteY82" fmla="*/ 2459220 h 7196138"/>
              <a:gd name="connsiteX83" fmla="*/ 3305174 w 4933949"/>
              <a:gd name="connsiteY83" fmla="*/ 1904380 h 7196138"/>
              <a:gd name="connsiteX84" fmla="*/ 3305174 w 4933949"/>
              <a:gd name="connsiteY84" fmla="*/ 54035 h 7196138"/>
              <a:gd name="connsiteX85" fmla="*/ 3318354 w 4933949"/>
              <a:gd name="connsiteY85" fmla="*/ 14497 h 7196138"/>
              <a:gd name="connsiteX86" fmla="*/ 3359213 w 4933949"/>
              <a:gd name="connsiteY86" fmla="*/ 0 h 7196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933949" h="7196138">
                <a:moveTo>
                  <a:pt x="1050029" y="6094413"/>
                </a:moveTo>
                <a:cubicBezTo>
                  <a:pt x="2409664" y="6623557"/>
                  <a:pt x="2524285" y="6623557"/>
                  <a:pt x="3883920" y="6094413"/>
                </a:cubicBezTo>
                <a:cubicBezTo>
                  <a:pt x="3883920" y="6094413"/>
                  <a:pt x="3883920" y="6094413"/>
                  <a:pt x="4933949" y="6645934"/>
                </a:cubicBezTo>
                <a:cubicBezTo>
                  <a:pt x="4933949" y="6645934"/>
                  <a:pt x="4933949" y="6645934"/>
                  <a:pt x="3883920" y="7196138"/>
                </a:cubicBezTo>
                <a:cubicBezTo>
                  <a:pt x="2524285" y="6668311"/>
                  <a:pt x="2409664" y="6668311"/>
                  <a:pt x="1050029" y="7196138"/>
                </a:cubicBezTo>
                <a:cubicBezTo>
                  <a:pt x="1050029" y="7196138"/>
                  <a:pt x="1050029" y="7196138"/>
                  <a:pt x="0" y="6645934"/>
                </a:cubicBezTo>
                <a:cubicBezTo>
                  <a:pt x="0" y="6645934"/>
                  <a:pt x="0" y="6645934"/>
                  <a:pt x="1050029" y="6094413"/>
                </a:cubicBezTo>
                <a:close/>
                <a:moveTo>
                  <a:pt x="1050029" y="4730750"/>
                </a:moveTo>
                <a:cubicBezTo>
                  <a:pt x="2409664" y="5260657"/>
                  <a:pt x="2524285" y="5260657"/>
                  <a:pt x="3883920" y="4730750"/>
                </a:cubicBezTo>
                <a:cubicBezTo>
                  <a:pt x="3883920" y="4730750"/>
                  <a:pt x="3883920" y="4730750"/>
                  <a:pt x="4933949" y="5283066"/>
                </a:cubicBezTo>
                <a:cubicBezTo>
                  <a:pt x="4933949" y="5283066"/>
                  <a:pt x="4933949" y="5283066"/>
                  <a:pt x="3883920" y="5834063"/>
                </a:cubicBezTo>
                <a:cubicBezTo>
                  <a:pt x="2524285" y="5305475"/>
                  <a:pt x="2409664" y="5305475"/>
                  <a:pt x="1050029" y="5834063"/>
                </a:cubicBezTo>
                <a:cubicBezTo>
                  <a:pt x="1050029" y="5834063"/>
                  <a:pt x="1050029" y="5834063"/>
                  <a:pt x="0" y="5283066"/>
                </a:cubicBezTo>
                <a:cubicBezTo>
                  <a:pt x="0" y="5283066"/>
                  <a:pt x="0" y="5283066"/>
                  <a:pt x="1050029" y="4730750"/>
                </a:cubicBezTo>
                <a:close/>
                <a:moveTo>
                  <a:pt x="1050029" y="3368675"/>
                </a:moveTo>
                <a:cubicBezTo>
                  <a:pt x="2409664" y="3898582"/>
                  <a:pt x="2524285" y="3898582"/>
                  <a:pt x="3883920" y="3368675"/>
                </a:cubicBezTo>
                <a:cubicBezTo>
                  <a:pt x="3883920" y="3368675"/>
                  <a:pt x="3883920" y="3368675"/>
                  <a:pt x="4933949" y="3920991"/>
                </a:cubicBezTo>
                <a:cubicBezTo>
                  <a:pt x="4933949" y="3920991"/>
                  <a:pt x="4933949" y="3920991"/>
                  <a:pt x="3883920" y="4471988"/>
                </a:cubicBezTo>
                <a:cubicBezTo>
                  <a:pt x="2524285" y="3943400"/>
                  <a:pt x="2409664" y="3943400"/>
                  <a:pt x="1050029" y="4471988"/>
                </a:cubicBezTo>
                <a:cubicBezTo>
                  <a:pt x="1050029" y="4471988"/>
                  <a:pt x="1050029" y="4471988"/>
                  <a:pt x="0" y="3920991"/>
                </a:cubicBezTo>
                <a:cubicBezTo>
                  <a:pt x="0" y="3920991"/>
                  <a:pt x="0" y="3920991"/>
                  <a:pt x="1050029" y="3368675"/>
                </a:cubicBezTo>
                <a:close/>
                <a:moveTo>
                  <a:pt x="678543" y="305710"/>
                </a:moveTo>
                <a:lnTo>
                  <a:pt x="678543" y="2307316"/>
                </a:lnTo>
                <a:cubicBezTo>
                  <a:pt x="678543" y="2307316"/>
                  <a:pt x="678543" y="2307316"/>
                  <a:pt x="909109" y="2307316"/>
                </a:cubicBezTo>
                <a:cubicBezTo>
                  <a:pt x="1011875" y="2307316"/>
                  <a:pt x="1072481" y="2291503"/>
                  <a:pt x="1119911" y="2234842"/>
                </a:cubicBezTo>
                <a:cubicBezTo>
                  <a:pt x="1192375" y="2147873"/>
                  <a:pt x="1198962" y="1971299"/>
                  <a:pt x="1198962" y="1615517"/>
                </a:cubicBezTo>
                <a:cubicBezTo>
                  <a:pt x="1198962" y="1615517"/>
                  <a:pt x="1198962" y="1615517"/>
                  <a:pt x="1198962" y="996191"/>
                </a:cubicBezTo>
                <a:cubicBezTo>
                  <a:pt x="1198962" y="641727"/>
                  <a:pt x="1192375" y="465153"/>
                  <a:pt x="1119911" y="378184"/>
                </a:cubicBezTo>
                <a:cubicBezTo>
                  <a:pt x="1072481" y="321522"/>
                  <a:pt x="1011875" y="305710"/>
                  <a:pt x="909109" y="305710"/>
                </a:cubicBezTo>
                <a:cubicBezTo>
                  <a:pt x="909109" y="305710"/>
                  <a:pt x="909109" y="305710"/>
                  <a:pt x="678543" y="305710"/>
                </a:cubicBezTo>
                <a:close/>
                <a:moveTo>
                  <a:pt x="1842869" y="0"/>
                </a:moveTo>
                <a:cubicBezTo>
                  <a:pt x="1842869" y="0"/>
                  <a:pt x="1842869" y="0"/>
                  <a:pt x="3073618" y="0"/>
                </a:cubicBezTo>
                <a:cubicBezTo>
                  <a:pt x="3093384" y="0"/>
                  <a:pt x="3105243" y="5271"/>
                  <a:pt x="3114467" y="14495"/>
                </a:cubicBezTo>
                <a:cubicBezTo>
                  <a:pt x="3122374" y="22401"/>
                  <a:pt x="3128962" y="34261"/>
                  <a:pt x="3128962" y="54027"/>
                </a:cubicBezTo>
                <a:cubicBezTo>
                  <a:pt x="3128962" y="54027"/>
                  <a:pt x="3128962" y="54027"/>
                  <a:pt x="3128962" y="275402"/>
                </a:cubicBezTo>
                <a:cubicBezTo>
                  <a:pt x="3128962" y="295168"/>
                  <a:pt x="3122374" y="307028"/>
                  <a:pt x="3114467" y="314934"/>
                </a:cubicBezTo>
                <a:cubicBezTo>
                  <a:pt x="3105243" y="324158"/>
                  <a:pt x="3093384" y="329429"/>
                  <a:pt x="3073618" y="329429"/>
                </a:cubicBezTo>
                <a:cubicBezTo>
                  <a:pt x="3073618" y="329429"/>
                  <a:pt x="3073618" y="329429"/>
                  <a:pt x="2679620" y="329429"/>
                </a:cubicBezTo>
                <a:cubicBezTo>
                  <a:pt x="2679620" y="329429"/>
                  <a:pt x="2679620" y="329429"/>
                  <a:pt x="2679620" y="2558999"/>
                </a:cubicBezTo>
                <a:cubicBezTo>
                  <a:pt x="2679620" y="2578765"/>
                  <a:pt x="2674349" y="2590624"/>
                  <a:pt x="2665125" y="2598530"/>
                </a:cubicBezTo>
                <a:cubicBezTo>
                  <a:pt x="2657219" y="2607755"/>
                  <a:pt x="2645360" y="2613025"/>
                  <a:pt x="2625594" y="2613025"/>
                </a:cubicBezTo>
                <a:cubicBezTo>
                  <a:pt x="2625594" y="2613025"/>
                  <a:pt x="2625594" y="2613025"/>
                  <a:pt x="2290893" y="2613025"/>
                </a:cubicBezTo>
                <a:cubicBezTo>
                  <a:pt x="2271128" y="2613025"/>
                  <a:pt x="2259268" y="2607755"/>
                  <a:pt x="2250044" y="2598530"/>
                </a:cubicBezTo>
                <a:cubicBezTo>
                  <a:pt x="2240820" y="2590624"/>
                  <a:pt x="2235549" y="2578765"/>
                  <a:pt x="2235549" y="2558999"/>
                </a:cubicBezTo>
                <a:cubicBezTo>
                  <a:pt x="2235549" y="2558999"/>
                  <a:pt x="2235549" y="2558999"/>
                  <a:pt x="2235549" y="329429"/>
                </a:cubicBezTo>
                <a:cubicBezTo>
                  <a:pt x="2235549" y="329429"/>
                  <a:pt x="2235549" y="329429"/>
                  <a:pt x="1842869" y="329429"/>
                </a:cubicBezTo>
                <a:cubicBezTo>
                  <a:pt x="1823104" y="329429"/>
                  <a:pt x="1811244" y="324158"/>
                  <a:pt x="1802020" y="314934"/>
                </a:cubicBezTo>
                <a:cubicBezTo>
                  <a:pt x="1792796" y="307028"/>
                  <a:pt x="1787525" y="295168"/>
                  <a:pt x="1787525" y="275402"/>
                </a:cubicBezTo>
                <a:cubicBezTo>
                  <a:pt x="1787525" y="275402"/>
                  <a:pt x="1787525" y="275402"/>
                  <a:pt x="1787525" y="54027"/>
                </a:cubicBezTo>
                <a:cubicBezTo>
                  <a:pt x="1787525" y="34261"/>
                  <a:pt x="1792796" y="22401"/>
                  <a:pt x="1802020" y="14495"/>
                </a:cubicBezTo>
                <a:cubicBezTo>
                  <a:pt x="1811244" y="5271"/>
                  <a:pt x="1823104" y="0"/>
                  <a:pt x="1842869" y="0"/>
                </a:cubicBezTo>
                <a:close/>
                <a:moveTo>
                  <a:pt x="317544" y="0"/>
                </a:moveTo>
                <a:cubicBezTo>
                  <a:pt x="317544" y="0"/>
                  <a:pt x="317544" y="0"/>
                  <a:pt x="972349" y="0"/>
                </a:cubicBezTo>
                <a:cubicBezTo>
                  <a:pt x="1226630" y="0"/>
                  <a:pt x="1382097" y="57980"/>
                  <a:pt x="1476958" y="179209"/>
                </a:cubicBezTo>
                <a:cubicBezTo>
                  <a:pt x="1615298" y="345241"/>
                  <a:pt x="1619250" y="614055"/>
                  <a:pt x="1619250" y="1025181"/>
                </a:cubicBezTo>
                <a:cubicBezTo>
                  <a:pt x="1619250" y="1025181"/>
                  <a:pt x="1619250" y="1025181"/>
                  <a:pt x="1619250" y="1587845"/>
                </a:cubicBezTo>
                <a:cubicBezTo>
                  <a:pt x="1619250" y="1998971"/>
                  <a:pt x="1615298" y="2267784"/>
                  <a:pt x="1476958" y="2433816"/>
                </a:cubicBezTo>
                <a:cubicBezTo>
                  <a:pt x="1382097" y="2555046"/>
                  <a:pt x="1226630" y="2613025"/>
                  <a:pt x="972349" y="2613025"/>
                </a:cubicBezTo>
                <a:cubicBezTo>
                  <a:pt x="972349" y="2613025"/>
                  <a:pt x="972349" y="2613025"/>
                  <a:pt x="317544" y="2613025"/>
                </a:cubicBezTo>
                <a:cubicBezTo>
                  <a:pt x="297781" y="2613025"/>
                  <a:pt x="285923" y="2607755"/>
                  <a:pt x="278018" y="2598530"/>
                </a:cubicBezTo>
                <a:cubicBezTo>
                  <a:pt x="268795" y="2590624"/>
                  <a:pt x="263525" y="2578765"/>
                  <a:pt x="263525" y="2558999"/>
                </a:cubicBezTo>
                <a:cubicBezTo>
                  <a:pt x="263525" y="2558999"/>
                  <a:pt x="263525" y="2558999"/>
                  <a:pt x="263525" y="54027"/>
                </a:cubicBezTo>
                <a:cubicBezTo>
                  <a:pt x="263525" y="34261"/>
                  <a:pt x="268795" y="22401"/>
                  <a:pt x="278018" y="14495"/>
                </a:cubicBezTo>
                <a:cubicBezTo>
                  <a:pt x="285923" y="5271"/>
                  <a:pt x="297781" y="0"/>
                  <a:pt x="317544" y="0"/>
                </a:cubicBezTo>
                <a:close/>
                <a:moveTo>
                  <a:pt x="3359213" y="0"/>
                </a:moveTo>
                <a:cubicBezTo>
                  <a:pt x="3359213" y="0"/>
                  <a:pt x="3359213" y="0"/>
                  <a:pt x="3664991" y="0"/>
                </a:cubicBezTo>
                <a:cubicBezTo>
                  <a:pt x="3684762" y="0"/>
                  <a:pt x="3696624" y="5272"/>
                  <a:pt x="3705850" y="14497"/>
                </a:cubicBezTo>
                <a:cubicBezTo>
                  <a:pt x="3715076" y="22405"/>
                  <a:pt x="3720348" y="34266"/>
                  <a:pt x="3720348" y="54035"/>
                </a:cubicBezTo>
                <a:cubicBezTo>
                  <a:pt x="3720348" y="54035"/>
                  <a:pt x="3720348" y="54035"/>
                  <a:pt x="3720348" y="1903062"/>
                </a:cubicBezTo>
                <a:cubicBezTo>
                  <a:pt x="3720348" y="2103384"/>
                  <a:pt x="3738800" y="2214089"/>
                  <a:pt x="3798111" y="2279984"/>
                </a:cubicBezTo>
                <a:cubicBezTo>
                  <a:pt x="3841605" y="2328747"/>
                  <a:pt x="3899597" y="2349833"/>
                  <a:pt x="3976042" y="2349833"/>
                </a:cubicBezTo>
                <a:cubicBezTo>
                  <a:pt x="4060395" y="2349833"/>
                  <a:pt x="4121023" y="2326111"/>
                  <a:pt x="4163200" y="2279984"/>
                </a:cubicBezTo>
                <a:cubicBezTo>
                  <a:pt x="4226464" y="2211453"/>
                  <a:pt x="4240963" y="2096795"/>
                  <a:pt x="4240963" y="1903062"/>
                </a:cubicBezTo>
                <a:cubicBezTo>
                  <a:pt x="4240963" y="1903062"/>
                  <a:pt x="4240963" y="1903062"/>
                  <a:pt x="4240963" y="54035"/>
                </a:cubicBezTo>
                <a:cubicBezTo>
                  <a:pt x="4240963" y="34266"/>
                  <a:pt x="4246235" y="22405"/>
                  <a:pt x="4255461" y="14497"/>
                </a:cubicBezTo>
                <a:cubicBezTo>
                  <a:pt x="4263369" y="5272"/>
                  <a:pt x="4276549" y="0"/>
                  <a:pt x="4295001" y="0"/>
                </a:cubicBezTo>
                <a:cubicBezTo>
                  <a:pt x="4295001" y="0"/>
                  <a:pt x="4295001" y="0"/>
                  <a:pt x="4602098" y="0"/>
                </a:cubicBezTo>
                <a:cubicBezTo>
                  <a:pt x="4621868" y="0"/>
                  <a:pt x="4633730" y="5272"/>
                  <a:pt x="4641638" y="14497"/>
                </a:cubicBezTo>
                <a:cubicBezTo>
                  <a:pt x="4650864" y="22405"/>
                  <a:pt x="4656136" y="34266"/>
                  <a:pt x="4656136" y="54035"/>
                </a:cubicBezTo>
                <a:cubicBezTo>
                  <a:pt x="4656136" y="54035"/>
                  <a:pt x="4656136" y="54035"/>
                  <a:pt x="4656136" y="1904380"/>
                </a:cubicBezTo>
                <a:cubicBezTo>
                  <a:pt x="4656136" y="2153465"/>
                  <a:pt x="4627140" y="2319521"/>
                  <a:pt x="4507201" y="2459220"/>
                </a:cubicBezTo>
                <a:cubicBezTo>
                  <a:pt x="4405714" y="2577832"/>
                  <a:pt x="4239645" y="2646363"/>
                  <a:pt x="3981314" y="2646363"/>
                </a:cubicBezTo>
                <a:cubicBezTo>
                  <a:pt x="3726938" y="2646363"/>
                  <a:pt x="3559550" y="2581786"/>
                  <a:pt x="3447519" y="2459220"/>
                </a:cubicBezTo>
                <a:cubicBezTo>
                  <a:pt x="3340760" y="2341926"/>
                  <a:pt x="3305174" y="2173233"/>
                  <a:pt x="3305174" y="1904380"/>
                </a:cubicBezTo>
                <a:cubicBezTo>
                  <a:pt x="3305174" y="1904380"/>
                  <a:pt x="3305174" y="1904380"/>
                  <a:pt x="3305174" y="54035"/>
                </a:cubicBezTo>
                <a:cubicBezTo>
                  <a:pt x="3305174" y="34266"/>
                  <a:pt x="3310446" y="22405"/>
                  <a:pt x="3318354" y="14497"/>
                </a:cubicBezTo>
                <a:cubicBezTo>
                  <a:pt x="3327580" y="5272"/>
                  <a:pt x="3339442" y="0"/>
                  <a:pt x="3359213" y="0"/>
                </a:cubicBezTo>
                <a:close/>
              </a:path>
            </a:pathLst>
          </a:custGeom>
          <a:solidFill>
            <a:srgbClr val="008737"/>
          </a:solidFill>
          <a:ln>
            <a:noFill/>
          </a:ln>
        </p:spPr>
        <p:txBody>
          <a:bodyPr vert="horz" wrap="square" lIns="91440" tIns="45720" rIns="91440" bIns="45720" numCol="1" anchor="t" anchorCtr="0" compatLnSpc="1">
            <a:prstTxWarp prst="textNoShape">
              <a:avLst/>
            </a:prstTxWarp>
            <a:noAutofit/>
          </a:bodyPr>
          <a:lstStyle/>
          <a:p>
            <a:endParaRPr lang="da-DK"/>
          </a:p>
        </p:txBody>
      </p:sp>
      <p:sp>
        <p:nvSpPr>
          <p:cNvPr id="6" name="Date Placeholder 2">
            <a:extLst>
              <a:ext uri="{FF2B5EF4-FFF2-40B4-BE49-F238E27FC236}">
                <a16:creationId xmlns:a16="http://schemas.microsoft.com/office/drawing/2014/main" id="{AF062B26-8169-4B93-8FD8-CFDB0855A961}"/>
              </a:ext>
            </a:extLst>
          </p:cNvPr>
          <p:cNvSpPr>
            <a:spLocks noGrp="1"/>
          </p:cNvSpPr>
          <p:nvPr>
            <p:ph type="dt" sz="half" idx="10"/>
          </p:nvPr>
        </p:nvSpPr>
        <p:spPr>
          <a:xfrm>
            <a:off x="0" y="6912000"/>
            <a:ext cx="0" cy="0"/>
          </a:xfrm>
          <a:prstGeom prst="rect">
            <a:avLst/>
          </a:prstGeom>
        </p:spPr>
        <p:txBody>
          <a:bodyPr/>
          <a:lstStyle>
            <a:lvl1pPr>
              <a:defRPr>
                <a:noFill/>
              </a:defRPr>
            </a:lvl1pPr>
          </a:lstStyle>
          <a:p>
            <a:fld id="{88FA7152-3BFE-40D1-B77A-D1C0060485B0}" type="datetime4">
              <a:rPr lang="en-GB" smtClean="0"/>
              <a:t>07 July 2025</a:t>
            </a:fld>
            <a:endParaRPr lang="da-DK" dirty="0"/>
          </a:p>
        </p:txBody>
      </p:sp>
      <p:sp>
        <p:nvSpPr>
          <p:cNvPr id="7" name="Footer Placeholder 3">
            <a:extLst>
              <a:ext uri="{FF2B5EF4-FFF2-40B4-BE49-F238E27FC236}">
                <a16:creationId xmlns:a16="http://schemas.microsoft.com/office/drawing/2014/main" id="{CA59923C-6F09-424E-AF1E-AC62326A9B2B}"/>
              </a:ext>
            </a:extLst>
          </p:cNvPr>
          <p:cNvSpPr>
            <a:spLocks noGrp="1"/>
          </p:cNvSpPr>
          <p:nvPr>
            <p:ph type="ftr" sz="quarter" idx="11"/>
          </p:nvPr>
        </p:nvSpPr>
        <p:spPr>
          <a:xfrm>
            <a:off x="0" y="6912000"/>
            <a:ext cx="0" cy="0"/>
          </a:xfrm>
        </p:spPr>
        <p:txBody>
          <a:bodyPr/>
          <a:lstStyle>
            <a:lvl1pPr>
              <a:defRPr>
                <a:noFill/>
              </a:defRPr>
            </a:lvl1pPr>
          </a:lstStyle>
          <a:p>
            <a:endParaRPr lang="da-DK" dirty="0"/>
          </a:p>
        </p:txBody>
      </p:sp>
      <p:sp>
        <p:nvSpPr>
          <p:cNvPr id="9" name="Slide Number Placeholder 4">
            <a:extLst>
              <a:ext uri="{FF2B5EF4-FFF2-40B4-BE49-F238E27FC236}">
                <a16:creationId xmlns:a16="http://schemas.microsoft.com/office/drawing/2014/main" id="{4C299FA2-BF46-4410-B2CD-E3C80B7A9893}"/>
              </a:ext>
            </a:extLst>
          </p:cNvPr>
          <p:cNvSpPr>
            <a:spLocks noGrp="1"/>
          </p:cNvSpPr>
          <p:nvPr>
            <p:ph type="sldNum" sz="quarter" idx="12"/>
          </p:nvPr>
        </p:nvSpPr>
        <p:spPr>
          <a:xfrm flipV="1">
            <a:off x="0" y="6912000"/>
            <a:ext cx="0" cy="0"/>
          </a:xfrm>
        </p:spPr>
        <p:txBody>
          <a:bodyPr/>
          <a:lstStyle>
            <a:lvl1pPr>
              <a:defRPr>
                <a:noFill/>
              </a:defRPr>
            </a:lvl1pPr>
          </a:lstStyle>
          <a:p>
            <a:fld id="{24C8C45C-947F-4981-8B3F-4F32E973C901}" type="slidenum">
              <a:rPr lang="da-DK" smtClean="0"/>
              <a:pPr/>
              <a:t>‹#›</a:t>
            </a:fld>
            <a:endParaRPr lang="da-DK" dirty="0"/>
          </a:p>
        </p:txBody>
      </p:sp>
      <p:sp>
        <p:nvSpPr>
          <p:cNvPr id="11" name="Bottom bar">
            <a:extLst>
              <a:ext uri="{FF2B5EF4-FFF2-40B4-BE49-F238E27FC236}">
                <a16:creationId xmlns:a16="http://schemas.microsoft.com/office/drawing/2014/main" id="{495865CE-5BE9-4122-8AB8-48E534DD88F7}"/>
              </a:ext>
            </a:extLst>
          </p:cNvPr>
          <p:cNvSpPr/>
          <p:nvPr userDrawn="1"/>
        </p:nvSpPr>
        <p:spPr bwMode="auto">
          <a:xfrm>
            <a:off x="0" y="6541200"/>
            <a:ext cx="12193200" cy="316800"/>
          </a:xfrm>
          <a:prstGeom prst="rect">
            <a:avLst/>
          </a:prstGeom>
          <a:solidFill>
            <a:srgbClr val="008737"/>
          </a:solidFill>
          <a:ln w="9525" cap="flat" cmpd="sng" algn="ctr">
            <a:noFill/>
            <a:prstDash val="solid"/>
            <a:miter lim="800000"/>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432"/>
              </a:spcBef>
              <a:spcAft>
                <a:spcPct val="0"/>
              </a:spcAft>
              <a:buClrTx/>
              <a:buSzTx/>
              <a:buFontTx/>
              <a:buNone/>
              <a:tabLst/>
            </a:pPr>
            <a:endParaRPr kumimoji="0" lang="da-DK" sz="1600" b="0" i="0" u="none" strike="noStrike" cap="none" normalizeH="0" baseline="0" dirty="0" err="1">
              <a:ln>
                <a:noFill/>
              </a:ln>
              <a:solidFill>
                <a:srgbClr val="FFFFFF"/>
              </a:solidFill>
              <a:effectLst/>
              <a:latin typeface="+mn-lt"/>
              <a:ea typeface="ＭＳ Ｐゴシック" pitchFamily="-80" charset="-128"/>
            </a:endParaRPr>
          </a:p>
        </p:txBody>
      </p:sp>
      <p:sp>
        <p:nvSpPr>
          <p:cNvPr id="12" name="Top bar">
            <a:extLst>
              <a:ext uri="{FF2B5EF4-FFF2-40B4-BE49-F238E27FC236}">
                <a16:creationId xmlns:a16="http://schemas.microsoft.com/office/drawing/2014/main" id="{0D436479-94F3-475C-8F8D-D3CDC81793FD}"/>
              </a:ext>
            </a:extLst>
          </p:cNvPr>
          <p:cNvSpPr/>
          <p:nvPr userDrawn="1"/>
        </p:nvSpPr>
        <p:spPr bwMode="auto">
          <a:xfrm>
            <a:off x="0" y="0"/>
            <a:ext cx="12193200" cy="50400"/>
          </a:xfrm>
          <a:prstGeom prst="rect">
            <a:avLst/>
          </a:prstGeom>
          <a:solidFill>
            <a:srgbClr val="008737"/>
          </a:solidFill>
          <a:ln w="9525" cap="flat" cmpd="sng" algn="ctr">
            <a:noFill/>
            <a:prstDash val="solid"/>
            <a:miter lim="800000"/>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432"/>
              </a:spcBef>
              <a:spcAft>
                <a:spcPct val="0"/>
              </a:spcAft>
              <a:buClrTx/>
              <a:buSzTx/>
              <a:buFontTx/>
              <a:buNone/>
              <a:tabLst/>
            </a:pPr>
            <a:endParaRPr kumimoji="0" lang="da-DK" sz="1600" b="0" i="0" u="none" strike="noStrike" cap="none" normalizeH="0" baseline="0" dirty="0" err="1">
              <a:ln>
                <a:noFill/>
              </a:ln>
              <a:solidFill>
                <a:srgbClr val="FFFFFF"/>
              </a:solidFill>
              <a:effectLst/>
              <a:latin typeface="+mn-lt"/>
              <a:ea typeface="ＭＳ Ｐゴシック" pitchFamily="-80" charset="-128"/>
            </a:endParaRPr>
          </a:p>
        </p:txBody>
      </p:sp>
    </p:spTree>
    <p:extLst>
      <p:ext uri="{BB962C8B-B14F-4D97-AF65-F5344CB8AC3E}">
        <p14:creationId xmlns:p14="http://schemas.microsoft.com/office/powerpoint/2010/main" val="1791704459"/>
      </p:ext>
    </p:extLst>
  </p:cSld>
  <p:clrMapOvr>
    <a:overrideClrMapping bg1="lt1" tx1="dk1" bg2="lt2" tx2="dk2" accent1="accent1" accent2="accent2" accent3="accent3" accent4="accent4" accent5="accent5" accent6="accent6" hlink="hlink" folHlink="folHlink"/>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a-DK"/>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4" name="Date Placeholder 3"/>
          <p:cNvSpPr>
            <a:spLocks noGrp="1"/>
          </p:cNvSpPr>
          <p:nvPr>
            <p:ph type="dt" sz="half" idx="10"/>
          </p:nvPr>
        </p:nvSpPr>
        <p:spPr/>
        <p:txBody>
          <a:bodyPr/>
          <a:lstStyle/>
          <a:p>
            <a:fld id="{929B5353-F02E-41FD-B32F-80196415F2BC}" type="datetimeFigureOut">
              <a:rPr lang="da-DK" smtClean="0"/>
              <a:t>07-07-2025</a:t>
            </a:fld>
            <a:endParaRPr lang="da-DK"/>
          </a:p>
        </p:txBody>
      </p:sp>
      <p:sp>
        <p:nvSpPr>
          <p:cNvPr id="5" name="Footer Placeholder 4"/>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E5E41B73-686A-4B3D-84DF-F1CD458B39A2}" type="slidenum">
              <a:rPr lang="da-DK" smtClean="0"/>
              <a:t>‹#›</a:t>
            </a:fld>
            <a:endParaRPr lang="da-DK"/>
          </a:p>
        </p:txBody>
      </p:sp>
    </p:spTree>
    <p:extLst>
      <p:ext uri="{BB962C8B-B14F-4D97-AF65-F5344CB8AC3E}">
        <p14:creationId xmlns:p14="http://schemas.microsoft.com/office/powerpoint/2010/main" val="361829354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Front A">
    <p:bg>
      <p:bgPr>
        <a:solidFill>
          <a:srgbClr val="008737"/>
        </a:solidFill>
        <a:effectLst/>
      </p:bgPr>
    </p:bg>
    <p:spTree>
      <p:nvGrpSpPr>
        <p:cNvPr id="1" name=""/>
        <p:cNvGrpSpPr/>
        <p:nvPr/>
      </p:nvGrpSpPr>
      <p:grpSpPr>
        <a:xfrm>
          <a:off x="0" y="0"/>
          <a:ext cx="0" cy="0"/>
          <a:chOff x="0" y="0"/>
          <a:chExt cx="0" cy="0"/>
        </a:xfrm>
      </p:grpSpPr>
      <p:sp>
        <p:nvSpPr>
          <p:cNvPr id="2" name="Background"/>
          <p:cNvSpPr/>
          <p:nvPr userDrawn="1"/>
        </p:nvSpPr>
        <p:spPr bwMode="auto">
          <a:xfrm>
            <a:off x="0" y="-14069"/>
            <a:ext cx="0" cy="0"/>
          </a:xfrm>
          <a:prstGeom prst="rect">
            <a:avLst/>
          </a:prstGeom>
          <a:solidFill>
            <a:srgbClr val="008737"/>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309" rtl="0" eaLnBrk="1" fontAlgn="base" latinLnBrk="0" hangingPunct="1">
              <a:lnSpc>
                <a:spcPct val="100000"/>
              </a:lnSpc>
              <a:spcBef>
                <a:spcPct val="50000"/>
              </a:spcBef>
              <a:spcAft>
                <a:spcPct val="0"/>
              </a:spcAft>
              <a:buClrTx/>
              <a:buSzTx/>
              <a:buFontTx/>
              <a:buNone/>
              <a:tabLst/>
            </a:pPr>
            <a:endParaRPr kumimoji="0" lang="da-DK" sz="1600" b="0" i="0" u="none" strike="noStrike" cap="none" normalizeH="0" baseline="0" dirty="0">
              <a:ln>
                <a:noFill/>
              </a:ln>
              <a:solidFill>
                <a:schemeClr val="tx1"/>
              </a:solidFill>
              <a:effectLst/>
              <a:latin typeface="Arial" panose="020B0604020202020204" pitchFamily="34" charset="0"/>
              <a:ea typeface="ＭＳ Ｐゴシック" pitchFamily="-80" charset="-128"/>
            </a:endParaRPr>
          </a:p>
        </p:txBody>
      </p:sp>
      <p:sp>
        <p:nvSpPr>
          <p:cNvPr id="11" name="Logo white">
            <a:extLst>
              <a:ext uri="{FF2B5EF4-FFF2-40B4-BE49-F238E27FC236}">
                <a16:creationId xmlns:a16="http://schemas.microsoft.com/office/drawing/2014/main" id="{275A6477-FE3A-4D40-B1FE-E46C11E344A5}"/>
              </a:ext>
            </a:extLst>
          </p:cNvPr>
          <p:cNvSpPr>
            <a:spLocks noChangeAspect="1"/>
          </p:cNvSpPr>
          <p:nvPr userDrawn="1">
            <p:custDataLst>
              <p:tags r:id="rId1"/>
            </p:custDataLst>
          </p:nvPr>
        </p:nvSpPr>
        <p:spPr bwMode="auto">
          <a:xfrm>
            <a:off x="252000" y="252000"/>
            <a:ext cx="419611" cy="612000"/>
          </a:xfrm>
          <a:custGeom>
            <a:avLst/>
            <a:gdLst>
              <a:gd name="connsiteX0" fmla="*/ 1050029 w 4933949"/>
              <a:gd name="connsiteY0" fmla="*/ 6094413 h 7196138"/>
              <a:gd name="connsiteX1" fmla="*/ 3883920 w 4933949"/>
              <a:gd name="connsiteY1" fmla="*/ 6094413 h 7196138"/>
              <a:gd name="connsiteX2" fmla="*/ 4933949 w 4933949"/>
              <a:gd name="connsiteY2" fmla="*/ 6645934 h 7196138"/>
              <a:gd name="connsiteX3" fmla="*/ 3883920 w 4933949"/>
              <a:gd name="connsiteY3" fmla="*/ 7196138 h 7196138"/>
              <a:gd name="connsiteX4" fmla="*/ 1050029 w 4933949"/>
              <a:gd name="connsiteY4" fmla="*/ 7196138 h 7196138"/>
              <a:gd name="connsiteX5" fmla="*/ 0 w 4933949"/>
              <a:gd name="connsiteY5" fmla="*/ 6645934 h 7196138"/>
              <a:gd name="connsiteX6" fmla="*/ 1050029 w 4933949"/>
              <a:gd name="connsiteY6" fmla="*/ 6094413 h 7196138"/>
              <a:gd name="connsiteX7" fmla="*/ 1050029 w 4933949"/>
              <a:gd name="connsiteY7" fmla="*/ 4730750 h 7196138"/>
              <a:gd name="connsiteX8" fmla="*/ 3883920 w 4933949"/>
              <a:gd name="connsiteY8" fmla="*/ 4730750 h 7196138"/>
              <a:gd name="connsiteX9" fmla="*/ 4933949 w 4933949"/>
              <a:gd name="connsiteY9" fmla="*/ 5283066 h 7196138"/>
              <a:gd name="connsiteX10" fmla="*/ 3883920 w 4933949"/>
              <a:gd name="connsiteY10" fmla="*/ 5834063 h 7196138"/>
              <a:gd name="connsiteX11" fmla="*/ 1050029 w 4933949"/>
              <a:gd name="connsiteY11" fmla="*/ 5834063 h 7196138"/>
              <a:gd name="connsiteX12" fmla="*/ 0 w 4933949"/>
              <a:gd name="connsiteY12" fmla="*/ 5283066 h 7196138"/>
              <a:gd name="connsiteX13" fmla="*/ 1050029 w 4933949"/>
              <a:gd name="connsiteY13" fmla="*/ 4730750 h 7196138"/>
              <a:gd name="connsiteX14" fmla="*/ 1050029 w 4933949"/>
              <a:gd name="connsiteY14" fmla="*/ 3368675 h 7196138"/>
              <a:gd name="connsiteX15" fmla="*/ 3883920 w 4933949"/>
              <a:gd name="connsiteY15" fmla="*/ 3368675 h 7196138"/>
              <a:gd name="connsiteX16" fmla="*/ 4933949 w 4933949"/>
              <a:gd name="connsiteY16" fmla="*/ 3920991 h 7196138"/>
              <a:gd name="connsiteX17" fmla="*/ 3883920 w 4933949"/>
              <a:gd name="connsiteY17" fmla="*/ 4471988 h 7196138"/>
              <a:gd name="connsiteX18" fmla="*/ 1050029 w 4933949"/>
              <a:gd name="connsiteY18" fmla="*/ 4471988 h 7196138"/>
              <a:gd name="connsiteX19" fmla="*/ 0 w 4933949"/>
              <a:gd name="connsiteY19" fmla="*/ 3920991 h 7196138"/>
              <a:gd name="connsiteX20" fmla="*/ 1050029 w 4933949"/>
              <a:gd name="connsiteY20" fmla="*/ 3368675 h 7196138"/>
              <a:gd name="connsiteX21" fmla="*/ 678543 w 4933949"/>
              <a:gd name="connsiteY21" fmla="*/ 305710 h 7196138"/>
              <a:gd name="connsiteX22" fmla="*/ 678543 w 4933949"/>
              <a:gd name="connsiteY22" fmla="*/ 2307316 h 7196138"/>
              <a:gd name="connsiteX23" fmla="*/ 909109 w 4933949"/>
              <a:gd name="connsiteY23" fmla="*/ 2307316 h 7196138"/>
              <a:gd name="connsiteX24" fmla="*/ 1119911 w 4933949"/>
              <a:gd name="connsiteY24" fmla="*/ 2234842 h 7196138"/>
              <a:gd name="connsiteX25" fmla="*/ 1198962 w 4933949"/>
              <a:gd name="connsiteY25" fmla="*/ 1615517 h 7196138"/>
              <a:gd name="connsiteX26" fmla="*/ 1198962 w 4933949"/>
              <a:gd name="connsiteY26" fmla="*/ 996191 h 7196138"/>
              <a:gd name="connsiteX27" fmla="*/ 1119911 w 4933949"/>
              <a:gd name="connsiteY27" fmla="*/ 378184 h 7196138"/>
              <a:gd name="connsiteX28" fmla="*/ 909109 w 4933949"/>
              <a:gd name="connsiteY28" fmla="*/ 305710 h 7196138"/>
              <a:gd name="connsiteX29" fmla="*/ 678543 w 4933949"/>
              <a:gd name="connsiteY29" fmla="*/ 305710 h 7196138"/>
              <a:gd name="connsiteX30" fmla="*/ 1842869 w 4933949"/>
              <a:gd name="connsiteY30" fmla="*/ 0 h 7196138"/>
              <a:gd name="connsiteX31" fmla="*/ 3073618 w 4933949"/>
              <a:gd name="connsiteY31" fmla="*/ 0 h 7196138"/>
              <a:gd name="connsiteX32" fmla="*/ 3114467 w 4933949"/>
              <a:gd name="connsiteY32" fmla="*/ 14495 h 7196138"/>
              <a:gd name="connsiteX33" fmla="*/ 3128962 w 4933949"/>
              <a:gd name="connsiteY33" fmla="*/ 54027 h 7196138"/>
              <a:gd name="connsiteX34" fmla="*/ 3128962 w 4933949"/>
              <a:gd name="connsiteY34" fmla="*/ 275402 h 7196138"/>
              <a:gd name="connsiteX35" fmla="*/ 3114467 w 4933949"/>
              <a:gd name="connsiteY35" fmla="*/ 314934 h 7196138"/>
              <a:gd name="connsiteX36" fmla="*/ 3073618 w 4933949"/>
              <a:gd name="connsiteY36" fmla="*/ 329429 h 7196138"/>
              <a:gd name="connsiteX37" fmla="*/ 2679620 w 4933949"/>
              <a:gd name="connsiteY37" fmla="*/ 329429 h 7196138"/>
              <a:gd name="connsiteX38" fmla="*/ 2679620 w 4933949"/>
              <a:gd name="connsiteY38" fmla="*/ 2558999 h 7196138"/>
              <a:gd name="connsiteX39" fmla="*/ 2665125 w 4933949"/>
              <a:gd name="connsiteY39" fmla="*/ 2598530 h 7196138"/>
              <a:gd name="connsiteX40" fmla="*/ 2625594 w 4933949"/>
              <a:gd name="connsiteY40" fmla="*/ 2613025 h 7196138"/>
              <a:gd name="connsiteX41" fmla="*/ 2290893 w 4933949"/>
              <a:gd name="connsiteY41" fmla="*/ 2613025 h 7196138"/>
              <a:gd name="connsiteX42" fmla="*/ 2250044 w 4933949"/>
              <a:gd name="connsiteY42" fmla="*/ 2598530 h 7196138"/>
              <a:gd name="connsiteX43" fmla="*/ 2235549 w 4933949"/>
              <a:gd name="connsiteY43" fmla="*/ 2558999 h 7196138"/>
              <a:gd name="connsiteX44" fmla="*/ 2235549 w 4933949"/>
              <a:gd name="connsiteY44" fmla="*/ 329429 h 7196138"/>
              <a:gd name="connsiteX45" fmla="*/ 1842869 w 4933949"/>
              <a:gd name="connsiteY45" fmla="*/ 329429 h 7196138"/>
              <a:gd name="connsiteX46" fmla="*/ 1802020 w 4933949"/>
              <a:gd name="connsiteY46" fmla="*/ 314934 h 7196138"/>
              <a:gd name="connsiteX47" fmla="*/ 1787525 w 4933949"/>
              <a:gd name="connsiteY47" fmla="*/ 275402 h 7196138"/>
              <a:gd name="connsiteX48" fmla="*/ 1787525 w 4933949"/>
              <a:gd name="connsiteY48" fmla="*/ 54027 h 7196138"/>
              <a:gd name="connsiteX49" fmla="*/ 1802020 w 4933949"/>
              <a:gd name="connsiteY49" fmla="*/ 14495 h 7196138"/>
              <a:gd name="connsiteX50" fmla="*/ 1842869 w 4933949"/>
              <a:gd name="connsiteY50" fmla="*/ 0 h 7196138"/>
              <a:gd name="connsiteX51" fmla="*/ 317544 w 4933949"/>
              <a:gd name="connsiteY51" fmla="*/ 0 h 7196138"/>
              <a:gd name="connsiteX52" fmla="*/ 972349 w 4933949"/>
              <a:gd name="connsiteY52" fmla="*/ 0 h 7196138"/>
              <a:gd name="connsiteX53" fmla="*/ 1476958 w 4933949"/>
              <a:gd name="connsiteY53" fmla="*/ 179209 h 7196138"/>
              <a:gd name="connsiteX54" fmla="*/ 1619250 w 4933949"/>
              <a:gd name="connsiteY54" fmla="*/ 1025181 h 7196138"/>
              <a:gd name="connsiteX55" fmla="*/ 1619250 w 4933949"/>
              <a:gd name="connsiteY55" fmla="*/ 1587845 h 7196138"/>
              <a:gd name="connsiteX56" fmla="*/ 1476958 w 4933949"/>
              <a:gd name="connsiteY56" fmla="*/ 2433816 h 7196138"/>
              <a:gd name="connsiteX57" fmla="*/ 972349 w 4933949"/>
              <a:gd name="connsiteY57" fmla="*/ 2613025 h 7196138"/>
              <a:gd name="connsiteX58" fmla="*/ 317544 w 4933949"/>
              <a:gd name="connsiteY58" fmla="*/ 2613025 h 7196138"/>
              <a:gd name="connsiteX59" fmla="*/ 278018 w 4933949"/>
              <a:gd name="connsiteY59" fmla="*/ 2598530 h 7196138"/>
              <a:gd name="connsiteX60" fmla="*/ 263525 w 4933949"/>
              <a:gd name="connsiteY60" fmla="*/ 2558999 h 7196138"/>
              <a:gd name="connsiteX61" fmla="*/ 263525 w 4933949"/>
              <a:gd name="connsiteY61" fmla="*/ 54027 h 7196138"/>
              <a:gd name="connsiteX62" fmla="*/ 278018 w 4933949"/>
              <a:gd name="connsiteY62" fmla="*/ 14495 h 7196138"/>
              <a:gd name="connsiteX63" fmla="*/ 317544 w 4933949"/>
              <a:gd name="connsiteY63" fmla="*/ 0 h 7196138"/>
              <a:gd name="connsiteX64" fmla="*/ 3359213 w 4933949"/>
              <a:gd name="connsiteY64" fmla="*/ 0 h 7196138"/>
              <a:gd name="connsiteX65" fmla="*/ 3664991 w 4933949"/>
              <a:gd name="connsiteY65" fmla="*/ 0 h 7196138"/>
              <a:gd name="connsiteX66" fmla="*/ 3705850 w 4933949"/>
              <a:gd name="connsiteY66" fmla="*/ 14497 h 7196138"/>
              <a:gd name="connsiteX67" fmla="*/ 3720348 w 4933949"/>
              <a:gd name="connsiteY67" fmla="*/ 54035 h 7196138"/>
              <a:gd name="connsiteX68" fmla="*/ 3720348 w 4933949"/>
              <a:gd name="connsiteY68" fmla="*/ 1903062 h 7196138"/>
              <a:gd name="connsiteX69" fmla="*/ 3798111 w 4933949"/>
              <a:gd name="connsiteY69" fmla="*/ 2279984 h 7196138"/>
              <a:gd name="connsiteX70" fmla="*/ 3976042 w 4933949"/>
              <a:gd name="connsiteY70" fmla="*/ 2349833 h 7196138"/>
              <a:gd name="connsiteX71" fmla="*/ 4163200 w 4933949"/>
              <a:gd name="connsiteY71" fmla="*/ 2279984 h 7196138"/>
              <a:gd name="connsiteX72" fmla="*/ 4240963 w 4933949"/>
              <a:gd name="connsiteY72" fmla="*/ 1903062 h 7196138"/>
              <a:gd name="connsiteX73" fmla="*/ 4240963 w 4933949"/>
              <a:gd name="connsiteY73" fmla="*/ 54035 h 7196138"/>
              <a:gd name="connsiteX74" fmla="*/ 4255461 w 4933949"/>
              <a:gd name="connsiteY74" fmla="*/ 14497 h 7196138"/>
              <a:gd name="connsiteX75" fmla="*/ 4295001 w 4933949"/>
              <a:gd name="connsiteY75" fmla="*/ 0 h 7196138"/>
              <a:gd name="connsiteX76" fmla="*/ 4602098 w 4933949"/>
              <a:gd name="connsiteY76" fmla="*/ 0 h 7196138"/>
              <a:gd name="connsiteX77" fmla="*/ 4641638 w 4933949"/>
              <a:gd name="connsiteY77" fmla="*/ 14497 h 7196138"/>
              <a:gd name="connsiteX78" fmla="*/ 4656136 w 4933949"/>
              <a:gd name="connsiteY78" fmla="*/ 54035 h 7196138"/>
              <a:gd name="connsiteX79" fmla="*/ 4656136 w 4933949"/>
              <a:gd name="connsiteY79" fmla="*/ 1904380 h 7196138"/>
              <a:gd name="connsiteX80" fmla="*/ 4507201 w 4933949"/>
              <a:gd name="connsiteY80" fmla="*/ 2459220 h 7196138"/>
              <a:gd name="connsiteX81" fmla="*/ 3981314 w 4933949"/>
              <a:gd name="connsiteY81" fmla="*/ 2646363 h 7196138"/>
              <a:gd name="connsiteX82" fmla="*/ 3447519 w 4933949"/>
              <a:gd name="connsiteY82" fmla="*/ 2459220 h 7196138"/>
              <a:gd name="connsiteX83" fmla="*/ 3305174 w 4933949"/>
              <a:gd name="connsiteY83" fmla="*/ 1904380 h 7196138"/>
              <a:gd name="connsiteX84" fmla="*/ 3305174 w 4933949"/>
              <a:gd name="connsiteY84" fmla="*/ 54035 h 7196138"/>
              <a:gd name="connsiteX85" fmla="*/ 3318354 w 4933949"/>
              <a:gd name="connsiteY85" fmla="*/ 14497 h 7196138"/>
              <a:gd name="connsiteX86" fmla="*/ 3359213 w 4933949"/>
              <a:gd name="connsiteY86" fmla="*/ 0 h 7196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933949" h="7196138">
                <a:moveTo>
                  <a:pt x="1050029" y="6094413"/>
                </a:moveTo>
                <a:cubicBezTo>
                  <a:pt x="2409664" y="6623557"/>
                  <a:pt x="2524285" y="6623557"/>
                  <a:pt x="3883920" y="6094413"/>
                </a:cubicBezTo>
                <a:cubicBezTo>
                  <a:pt x="3883920" y="6094413"/>
                  <a:pt x="3883920" y="6094413"/>
                  <a:pt x="4933949" y="6645934"/>
                </a:cubicBezTo>
                <a:cubicBezTo>
                  <a:pt x="4933949" y="6645934"/>
                  <a:pt x="4933949" y="6645934"/>
                  <a:pt x="3883920" y="7196138"/>
                </a:cubicBezTo>
                <a:cubicBezTo>
                  <a:pt x="2524285" y="6668311"/>
                  <a:pt x="2409664" y="6668311"/>
                  <a:pt x="1050029" y="7196138"/>
                </a:cubicBezTo>
                <a:cubicBezTo>
                  <a:pt x="1050029" y="7196138"/>
                  <a:pt x="1050029" y="7196138"/>
                  <a:pt x="0" y="6645934"/>
                </a:cubicBezTo>
                <a:cubicBezTo>
                  <a:pt x="0" y="6645934"/>
                  <a:pt x="0" y="6645934"/>
                  <a:pt x="1050029" y="6094413"/>
                </a:cubicBezTo>
                <a:close/>
                <a:moveTo>
                  <a:pt x="1050029" y="4730750"/>
                </a:moveTo>
                <a:cubicBezTo>
                  <a:pt x="2409664" y="5260657"/>
                  <a:pt x="2524285" y="5260657"/>
                  <a:pt x="3883920" y="4730750"/>
                </a:cubicBezTo>
                <a:cubicBezTo>
                  <a:pt x="3883920" y="4730750"/>
                  <a:pt x="3883920" y="4730750"/>
                  <a:pt x="4933949" y="5283066"/>
                </a:cubicBezTo>
                <a:cubicBezTo>
                  <a:pt x="4933949" y="5283066"/>
                  <a:pt x="4933949" y="5283066"/>
                  <a:pt x="3883920" y="5834063"/>
                </a:cubicBezTo>
                <a:cubicBezTo>
                  <a:pt x="2524285" y="5305475"/>
                  <a:pt x="2409664" y="5305475"/>
                  <a:pt x="1050029" y="5834063"/>
                </a:cubicBezTo>
                <a:cubicBezTo>
                  <a:pt x="1050029" y="5834063"/>
                  <a:pt x="1050029" y="5834063"/>
                  <a:pt x="0" y="5283066"/>
                </a:cubicBezTo>
                <a:cubicBezTo>
                  <a:pt x="0" y="5283066"/>
                  <a:pt x="0" y="5283066"/>
                  <a:pt x="1050029" y="4730750"/>
                </a:cubicBezTo>
                <a:close/>
                <a:moveTo>
                  <a:pt x="1050029" y="3368675"/>
                </a:moveTo>
                <a:cubicBezTo>
                  <a:pt x="2409664" y="3898582"/>
                  <a:pt x="2524285" y="3898582"/>
                  <a:pt x="3883920" y="3368675"/>
                </a:cubicBezTo>
                <a:cubicBezTo>
                  <a:pt x="3883920" y="3368675"/>
                  <a:pt x="3883920" y="3368675"/>
                  <a:pt x="4933949" y="3920991"/>
                </a:cubicBezTo>
                <a:cubicBezTo>
                  <a:pt x="4933949" y="3920991"/>
                  <a:pt x="4933949" y="3920991"/>
                  <a:pt x="3883920" y="4471988"/>
                </a:cubicBezTo>
                <a:cubicBezTo>
                  <a:pt x="2524285" y="3943400"/>
                  <a:pt x="2409664" y="3943400"/>
                  <a:pt x="1050029" y="4471988"/>
                </a:cubicBezTo>
                <a:cubicBezTo>
                  <a:pt x="1050029" y="4471988"/>
                  <a:pt x="1050029" y="4471988"/>
                  <a:pt x="0" y="3920991"/>
                </a:cubicBezTo>
                <a:cubicBezTo>
                  <a:pt x="0" y="3920991"/>
                  <a:pt x="0" y="3920991"/>
                  <a:pt x="1050029" y="3368675"/>
                </a:cubicBezTo>
                <a:close/>
                <a:moveTo>
                  <a:pt x="678543" y="305710"/>
                </a:moveTo>
                <a:lnTo>
                  <a:pt x="678543" y="2307316"/>
                </a:lnTo>
                <a:cubicBezTo>
                  <a:pt x="678543" y="2307316"/>
                  <a:pt x="678543" y="2307316"/>
                  <a:pt x="909109" y="2307316"/>
                </a:cubicBezTo>
                <a:cubicBezTo>
                  <a:pt x="1011875" y="2307316"/>
                  <a:pt x="1072481" y="2291503"/>
                  <a:pt x="1119911" y="2234842"/>
                </a:cubicBezTo>
                <a:cubicBezTo>
                  <a:pt x="1192375" y="2147873"/>
                  <a:pt x="1198962" y="1971299"/>
                  <a:pt x="1198962" y="1615517"/>
                </a:cubicBezTo>
                <a:cubicBezTo>
                  <a:pt x="1198962" y="1615517"/>
                  <a:pt x="1198962" y="1615517"/>
                  <a:pt x="1198962" y="996191"/>
                </a:cubicBezTo>
                <a:cubicBezTo>
                  <a:pt x="1198962" y="641727"/>
                  <a:pt x="1192375" y="465153"/>
                  <a:pt x="1119911" y="378184"/>
                </a:cubicBezTo>
                <a:cubicBezTo>
                  <a:pt x="1072481" y="321522"/>
                  <a:pt x="1011875" y="305710"/>
                  <a:pt x="909109" y="305710"/>
                </a:cubicBezTo>
                <a:cubicBezTo>
                  <a:pt x="909109" y="305710"/>
                  <a:pt x="909109" y="305710"/>
                  <a:pt x="678543" y="305710"/>
                </a:cubicBezTo>
                <a:close/>
                <a:moveTo>
                  <a:pt x="1842869" y="0"/>
                </a:moveTo>
                <a:cubicBezTo>
                  <a:pt x="1842869" y="0"/>
                  <a:pt x="1842869" y="0"/>
                  <a:pt x="3073618" y="0"/>
                </a:cubicBezTo>
                <a:cubicBezTo>
                  <a:pt x="3093384" y="0"/>
                  <a:pt x="3105243" y="5271"/>
                  <a:pt x="3114467" y="14495"/>
                </a:cubicBezTo>
                <a:cubicBezTo>
                  <a:pt x="3122374" y="22401"/>
                  <a:pt x="3128962" y="34261"/>
                  <a:pt x="3128962" y="54027"/>
                </a:cubicBezTo>
                <a:cubicBezTo>
                  <a:pt x="3128962" y="54027"/>
                  <a:pt x="3128962" y="54027"/>
                  <a:pt x="3128962" y="275402"/>
                </a:cubicBezTo>
                <a:cubicBezTo>
                  <a:pt x="3128962" y="295168"/>
                  <a:pt x="3122374" y="307028"/>
                  <a:pt x="3114467" y="314934"/>
                </a:cubicBezTo>
                <a:cubicBezTo>
                  <a:pt x="3105243" y="324158"/>
                  <a:pt x="3093384" y="329429"/>
                  <a:pt x="3073618" y="329429"/>
                </a:cubicBezTo>
                <a:cubicBezTo>
                  <a:pt x="3073618" y="329429"/>
                  <a:pt x="3073618" y="329429"/>
                  <a:pt x="2679620" y="329429"/>
                </a:cubicBezTo>
                <a:cubicBezTo>
                  <a:pt x="2679620" y="329429"/>
                  <a:pt x="2679620" y="329429"/>
                  <a:pt x="2679620" y="2558999"/>
                </a:cubicBezTo>
                <a:cubicBezTo>
                  <a:pt x="2679620" y="2578765"/>
                  <a:pt x="2674349" y="2590624"/>
                  <a:pt x="2665125" y="2598530"/>
                </a:cubicBezTo>
                <a:cubicBezTo>
                  <a:pt x="2657219" y="2607755"/>
                  <a:pt x="2645360" y="2613025"/>
                  <a:pt x="2625594" y="2613025"/>
                </a:cubicBezTo>
                <a:cubicBezTo>
                  <a:pt x="2625594" y="2613025"/>
                  <a:pt x="2625594" y="2613025"/>
                  <a:pt x="2290893" y="2613025"/>
                </a:cubicBezTo>
                <a:cubicBezTo>
                  <a:pt x="2271128" y="2613025"/>
                  <a:pt x="2259268" y="2607755"/>
                  <a:pt x="2250044" y="2598530"/>
                </a:cubicBezTo>
                <a:cubicBezTo>
                  <a:pt x="2240820" y="2590624"/>
                  <a:pt x="2235549" y="2578765"/>
                  <a:pt x="2235549" y="2558999"/>
                </a:cubicBezTo>
                <a:cubicBezTo>
                  <a:pt x="2235549" y="2558999"/>
                  <a:pt x="2235549" y="2558999"/>
                  <a:pt x="2235549" y="329429"/>
                </a:cubicBezTo>
                <a:cubicBezTo>
                  <a:pt x="2235549" y="329429"/>
                  <a:pt x="2235549" y="329429"/>
                  <a:pt x="1842869" y="329429"/>
                </a:cubicBezTo>
                <a:cubicBezTo>
                  <a:pt x="1823104" y="329429"/>
                  <a:pt x="1811244" y="324158"/>
                  <a:pt x="1802020" y="314934"/>
                </a:cubicBezTo>
                <a:cubicBezTo>
                  <a:pt x="1792796" y="307028"/>
                  <a:pt x="1787525" y="295168"/>
                  <a:pt x="1787525" y="275402"/>
                </a:cubicBezTo>
                <a:cubicBezTo>
                  <a:pt x="1787525" y="275402"/>
                  <a:pt x="1787525" y="275402"/>
                  <a:pt x="1787525" y="54027"/>
                </a:cubicBezTo>
                <a:cubicBezTo>
                  <a:pt x="1787525" y="34261"/>
                  <a:pt x="1792796" y="22401"/>
                  <a:pt x="1802020" y="14495"/>
                </a:cubicBezTo>
                <a:cubicBezTo>
                  <a:pt x="1811244" y="5271"/>
                  <a:pt x="1823104" y="0"/>
                  <a:pt x="1842869" y="0"/>
                </a:cubicBezTo>
                <a:close/>
                <a:moveTo>
                  <a:pt x="317544" y="0"/>
                </a:moveTo>
                <a:cubicBezTo>
                  <a:pt x="317544" y="0"/>
                  <a:pt x="317544" y="0"/>
                  <a:pt x="972349" y="0"/>
                </a:cubicBezTo>
                <a:cubicBezTo>
                  <a:pt x="1226630" y="0"/>
                  <a:pt x="1382097" y="57980"/>
                  <a:pt x="1476958" y="179209"/>
                </a:cubicBezTo>
                <a:cubicBezTo>
                  <a:pt x="1615298" y="345241"/>
                  <a:pt x="1619250" y="614055"/>
                  <a:pt x="1619250" y="1025181"/>
                </a:cubicBezTo>
                <a:cubicBezTo>
                  <a:pt x="1619250" y="1025181"/>
                  <a:pt x="1619250" y="1025181"/>
                  <a:pt x="1619250" y="1587845"/>
                </a:cubicBezTo>
                <a:cubicBezTo>
                  <a:pt x="1619250" y="1998971"/>
                  <a:pt x="1615298" y="2267784"/>
                  <a:pt x="1476958" y="2433816"/>
                </a:cubicBezTo>
                <a:cubicBezTo>
                  <a:pt x="1382097" y="2555046"/>
                  <a:pt x="1226630" y="2613025"/>
                  <a:pt x="972349" y="2613025"/>
                </a:cubicBezTo>
                <a:cubicBezTo>
                  <a:pt x="972349" y="2613025"/>
                  <a:pt x="972349" y="2613025"/>
                  <a:pt x="317544" y="2613025"/>
                </a:cubicBezTo>
                <a:cubicBezTo>
                  <a:pt x="297781" y="2613025"/>
                  <a:pt x="285923" y="2607755"/>
                  <a:pt x="278018" y="2598530"/>
                </a:cubicBezTo>
                <a:cubicBezTo>
                  <a:pt x="268795" y="2590624"/>
                  <a:pt x="263525" y="2578765"/>
                  <a:pt x="263525" y="2558999"/>
                </a:cubicBezTo>
                <a:cubicBezTo>
                  <a:pt x="263525" y="2558999"/>
                  <a:pt x="263525" y="2558999"/>
                  <a:pt x="263525" y="54027"/>
                </a:cubicBezTo>
                <a:cubicBezTo>
                  <a:pt x="263525" y="34261"/>
                  <a:pt x="268795" y="22401"/>
                  <a:pt x="278018" y="14495"/>
                </a:cubicBezTo>
                <a:cubicBezTo>
                  <a:pt x="285923" y="5271"/>
                  <a:pt x="297781" y="0"/>
                  <a:pt x="317544" y="0"/>
                </a:cubicBezTo>
                <a:close/>
                <a:moveTo>
                  <a:pt x="3359213" y="0"/>
                </a:moveTo>
                <a:cubicBezTo>
                  <a:pt x="3359213" y="0"/>
                  <a:pt x="3359213" y="0"/>
                  <a:pt x="3664991" y="0"/>
                </a:cubicBezTo>
                <a:cubicBezTo>
                  <a:pt x="3684762" y="0"/>
                  <a:pt x="3696624" y="5272"/>
                  <a:pt x="3705850" y="14497"/>
                </a:cubicBezTo>
                <a:cubicBezTo>
                  <a:pt x="3715076" y="22405"/>
                  <a:pt x="3720348" y="34266"/>
                  <a:pt x="3720348" y="54035"/>
                </a:cubicBezTo>
                <a:cubicBezTo>
                  <a:pt x="3720348" y="54035"/>
                  <a:pt x="3720348" y="54035"/>
                  <a:pt x="3720348" y="1903062"/>
                </a:cubicBezTo>
                <a:cubicBezTo>
                  <a:pt x="3720348" y="2103384"/>
                  <a:pt x="3738800" y="2214089"/>
                  <a:pt x="3798111" y="2279984"/>
                </a:cubicBezTo>
                <a:cubicBezTo>
                  <a:pt x="3841605" y="2328747"/>
                  <a:pt x="3899597" y="2349833"/>
                  <a:pt x="3976042" y="2349833"/>
                </a:cubicBezTo>
                <a:cubicBezTo>
                  <a:pt x="4060395" y="2349833"/>
                  <a:pt x="4121023" y="2326111"/>
                  <a:pt x="4163200" y="2279984"/>
                </a:cubicBezTo>
                <a:cubicBezTo>
                  <a:pt x="4226464" y="2211453"/>
                  <a:pt x="4240963" y="2096795"/>
                  <a:pt x="4240963" y="1903062"/>
                </a:cubicBezTo>
                <a:cubicBezTo>
                  <a:pt x="4240963" y="1903062"/>
                  <a:pt x="4240963" y="1903062"/>
                  <a:pt x="4240963" y="54035"/>
                </a:cubicBezTo>
                <a:cubicBezTo>
                  <a:pt x="4240963" y="34266"/>
                  <a:pt x="4246235" y="22405"/>
                  <a:pt x="4255461" y="14497"/>
                </a:cubicBezTo>
                <a:cubicBezTo>
                  <a:pt x="4263369" y="5272"/>
                  <a:pt x="4276549" y="0"/>
                  <a:pt x="4295001" y="0"/>
                </a:cubicBezTo>
                <a:cubicBezTo>
                  <a:pt x="4295001" y="0"/>
                  <a:pt x="4295001" y="0"/>
                  <a:pt x="4602098" y="0"/>
                </a:cubicBezTo>
                <a:cubicBezTo>
                  <a:pt x="4621868" y="0"/>
                  <a:pt x="4633730" y="5272"/>
                  <a:pt x="4641638" y="14497"/>
                </a:cubicBezTo>
                <a:cubicBezTo>
                  <a:pt x="4650864" y="22405"/>
                  <a:pt x="4656136" y="34266"/>
                  <a:pt x="4656136" y="54035"/>
                </a:cubicBezTo>
                <a:cubicBezTo>
                  <a:pt x="4656136" y="54035"/>
                  <a:pt x="4656136" y="54035"/>
                  <a:pt x="4656136" y="1904380"/>
                </a:cubicBezTo>
                <a:cubicBezTo>
                  <a:pt x="4656136" y="2153465"/>
                  <a:pt x="4627140" y="2319521"/>
                  <a:pt x="4507201" y="2459220"/>
                </a:cubicBezTo>
                <a:cubicBezTo>
                  <a:pt x="4405714" y="2577832"/>
                  <a:pt x="4239645" y="2646363"/>
                  <a:pt x="3981314" y="2646363"/>
                </a:cubicBezTo>
                <a:cubicBezTo>
                  <a:pt x="3726938" y="2646363"/>
                  <a:pt x="3559550" y="2581786"/>
                  <a:pt x="3447519" y="2459220"/>
                </a:cubicBezTo>
                <a:cubicBezTo>
                  <a:pt x="3340760" y="2341926"/>
                  <a:pt x="3305174" y="2173233"/>
                  <a:pt x="3305174" y="1904380"/>
                </a:cubicBezTo>
                <a:cubicBezTo>
                  <a:pt x="3305174" y="1904380"/>
                  <a:pt x="3305174" y="1904380"/>
                  <a:pt x="3305174" y="54035"/>
                </a:cubicBezTo>
                <a:cubicBezTo>
                  <a:pt x="3305174" y="34266"/>
                  <a:pt x="3310446" y="22405"/>
                  <a:pt x="3318354" y="14497"/>
                </a:cubicBezTo>
                <a:cubicBezTo>
                  <a:pt x="3327580" y="5272"/>
                  <a:pt x="3339442" y="0"/>
                  <a:pt x="3359213" y="0"/>
                </a:cubicBezTo>
                <a:close/>
              </a:path>
            </a:pathLst>
          </a:custGeom>
          <a:solidFill>
            <a:srgbClr val="FFFFFF"/>
          </a:solidFill>
          <a:ln>
            <a:noFill/>
          </a:ln>
        </p:spPr>
        <p:txBody>
          <a:bodyPr vert="horz" wrap="square" lIns="91428" tIns="45714" rIns="91428" bIns="45714" numCol="1" anchor="t" anchorCtr="0" compatLnSpc="1">
            <a:prstTxWarp prst="textNoShape">
              <a:avLst/>
            </a:prstTxWarp>
            <a:noAutofit/>
          </a:bodyPr>
          <a:lstStyle/>
          <a:p>
            <a:endParaRPr lang="da-DK" sz="1800"/>
          </a:p>
        </p:txBody>
      </p:sp>
      <p:sp>
        <p:nvSpPr>
          <p:cNvPr id="114690" name="Rectangle 2"/>
          <p:cNvSpPr>
            <a:spLocks noGrp="1" noChangeArrowheads="1"/>
          </p:cNvSpPr>
          <p:nvPr>
            <p:ph type="ctrTitle"/>
          </p:nvPr>
        </p:nvSpPr>
        <p:spPr>
          <a:xfrm>
            <a:off x="249860" y="3545117"/>
            <a:ext cx="10840028" cy="2706458"/>
          </a:xfrm>
        </p:spPr>
        <p:txBody>
          <a:bodyPr anchor="t" anchorCtr="0"/>
          <a:lstStyle>
            <a:lvl1pPr>
              <a:lnSpc>
                <a:spcPct val="93000"/>
              </a:lnSpc>
              <a:defRPr sz="7999">
                <a:solidFill>
                  <a:schemeClr val="bg1"/>
                </a:solidFill>
              </a:defRPr>
            </a:lvl1pPr>
          </a:lstStyle>
          <a:p>
            <a:pPr lvl="0"/>
            <a:r>
              <a:rPr lang="da-DK" noProof="0"/>
              <a:t>Click to edit Master title style</a:t>
            </a:r>
            <a:endParaRPr lang="da-DK" noProof="0" dirty="0"/>
          </a:p>
        </p:txBody>
      </p:sp>
      <p:sp>
        <p:nvSpPr>
          <p:cNvPr id="114691" name="Rectangle 3"/>
          <p:cNvSpPr>
            <a:spLocks noGrp="1" noChangeArrowheads="1"/>
          </p:cNvSpPr>
          <p:nvPr>
            <p:ph type="subTitle" idx="1"/>
          </p:nvPr>
        </p:nvSpPr>
        <p:spPr>
          <a:xfrm>
            <a:off x="247072" y="1704975"/>
            <a:ext cx="10840028" cy="1660654"/>
          </a:xfrm>
        </p:spPr>
        <p:txBody>
          <a:bodyPr anchor="b" anchorCtr="0"/>
          <a:lstStyle>
            <a:lvl1pPr marL="0" indent="0">
              <a:lnSpc>
                <a:spcPct val="110000"/>
              </a:lnSpc>
              <a:spcBef>
                <a:spcPts val="0"/>
              </a:spcBef>
              <a:buFontTx/>
              <a:buNone/>
              <a:defRPr sz="3000">
                <a:solidFill>
                  <a:schemeClr val="bg1"/>
                </a:solidFill>
              </a:defRPr>
            </a:lvl1pPr>
          </a:lstStyle>
          <a:p>
            <a:pPr lvl="0"/>
            <a:r>
              <a:rPr lang="da-DK" noProof="0" dirty="0"/>
              <a:t>Click to edit Master subtitle style</a:t>
            </a:r>
            <a:endParaRPr lang="da-DK"/>
          </a:p>
        </p:txBody>
      </p:sp>
      <p:sp>
        <p:nvSpPr>
          <p:cNvPr id="3" name="Footer Placeholder 2">
            <a:extLst>
              <a:ext uri="{FF2B5EF4-FFF2-40B4-BE49-F238E27FC236}">
                <a16:creationId xmlns:a16="http://schemas.microsoft.com/office/drawing/2014/main" id="{F2117C6C-7BC3-4888-BC29-FAB17565D119}"/>
              </a:ext>
            </a:extLst>
          </p:cNvPr>
          <p:cNvSpPr>
            <a:spLocks noGrp="1"/>
          </p:cNvSpPr>
          <p:nvPr>
            <p:ph type="ftr" sz="quarter" idx="16"/>
          </p:nvPr>
        </p:nvSpPr>
        <p:spPr/>
        <p:txBody>
          <a:bodyPr/>
          <a:lstStyle>
            <a:lvl1pPr>
              <a:defRPr>
                <a:noFill/>
              </a:defRPr>
            </a:lvl1pPr>
          </a:lstStyle>
          <a:p>
            <a:endParaRPr lang="da-DK" dirty="0"/>
          </a:p>
        </p:txBody>
      </p:sp>
      <p:sp>
        <p:nvSpPr>
          <p:cNvPr id="4" name="Slide Number Placeholder 3">
            <a:extLst>
              <a:ext uri="{FF2B5EF4-FFF2-40B4-BE49-F238E27FC236}">
                <a16:creationId xmlns:a16="http://schemas.microsoft.com/office/drawing/2014/main" id="{E77E4668-D07F-4B96-9755-175402734855}"/>
              </a:ext>
            </a:extLst>
          </p:cNvPr>
          <p:cNvSpPr>
            <a:spLocks noGrp="1"/>
          </p:cNvSpPr>
          <p:nvPr>
            <p:ph type="sldNum" sz="quarter" idx="17"/>
          </p:nvPr>
        </p:nvSpPr>
        <p:spPr/>
        <p:txBody>
          <a:bodyPr/>
          <a:lstStyle>
            <a:lvl1pPr>
              <a:defRPr>
                <a:solidFill>
                  <a:schemeClr val="bg1"/>
                </a:solidFill>
              </a:defRPr>
            </a:lvl1pPr>
          </a:lstStyle>
          <a:p>
            <a:fld id="{103EA872-A674-449B-A120-B97244F8E91D}" type="slidenum">
              <a:rPr lang="da-DK" smtClean="0"/>
              <a:pPr/>
              <a:t>‹#›</a:t>
            </a:fld>
            <a:endParaRPr lang="da-DK" dirty="0"/>
          </a:p>
        </p:txBody>
      </p:sp>
    </p:spTree>
    <p:extLst>
      <p:ext uri="{BB962C8B-B14F-4D97-AF65-F5344CB8AC3E}">
        <p14:creationId xmlns:p14="http://schemas.microsoft.com/office/powerpoint/2010/main" val="8443588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56">
          <p15:clr>
            <a:srgbClr val="F26B43"/>
          </p15:clr>
        </p15:guide>
        <p15:guide id="2" pos="6984">
          <p15:clr>
            <a:srgbClr val="F26B43"/>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Front B">
    <p:bg>
      <p:bgRef idx="1001">
        <a:schemeClr val="bg1"/>
      </p:bgRef>
    </p:bg>
    <p:spTree>
      <p:nvGrpSpPr>
        <p:cNvPr id="1" name=""/>
        <p:cNvGrpSpPr/>
        <p:nvPr/>
      </p:nvGrpSpPr>
      <p:grpSpPr>
        <a:xfrm>
          <a:off x="0" y="0"/>
          <a:ext cx="0" cy="0"/>
          <a:chOff x="0" y="0"/>
          <a:chExt cx="0" cy="0"/>
        </a:xfrm>
      </p:grpSpPr>
      <p:sp>
        <p:nvSpPr>
          <p:cNvPr id="114690" name="Rectangle 2"/>
          <p:cNvSpPr>
            <a:spLocks noGrp="1" noChangeArrowheads="1"/>
          </p:cNvSpPr>
          <p:nvPr>
            <p:ph type="ctrTitle"/>
          </p:nvPr>
        </p:nvSpPr>
        <p:spPr>
          <a:xfrm>
            <a:off x="249860" y="3545117"/>
            <a:ext cx="10840028" cy="2706458"/>
          </a:xfrm>
        </p:spPr>
        <p:txBody>
          <a:bodyPr anchor="t" anchorCtr="0"/>
          <a:lstStyle>
            <a:lvl1pPr>
              <a:lnSpc>
                <a:spcPct val="93000"/>
              </a:lnSpc>
              <a:defRPr sz="7999">
                <a:solidFill>
                  <a:schemeClr val="tx1"/>
                </a:solidFill>
              </a:defRPr>
            </a:lvl1pPr>
          </a:lstStyle>
          <a:p>
            <a:pPr lvl="0"/>
            <a:r>
              <a:rPr lang="da-DK" noProof="0"/>
              <a:t>Click to edit Master title style</a:t>
            </a:r>
            <a:endParaRPr lang="da-DK" noProof="0" dirty="0"/>
          </a:p>
        </p:txBody>
      </p:sp>
      <p:sp>
        <p:nvSpPr>
          <p:cNvPr id="114691" name="Rectangle 3"/>
          <p:cNvSpPr>
            <a:spLocks noGrp="1" noChangeArrowheads="1"/>
          </p:cNvSpPr>
          <p:nvPr>
            <p:ph type="subTitle" idx="1"/>
          </p:nvPr>
        </p:nvSpPr>
        <p:spPr>
          <a:xfrm>
            <a:off x="247072" y="1704975"/>
            <a:ext cx="10840028" cy="1660654"/>
          </a:xfrm>
        </p:spPr>
        <p:txBody>
          <a:bodyPr anchor="b" anchorCtr="0"/>
          <a:lstStyle>
            <a:lvl1pPr marL="0" indent="0">
              <a:lnSpc>
                <a:spcPct val="110000"/>
              </a:lnSpc>
              <a:spcBef>
                <a:spcPts val="0"/>
              </a:spcBef>
              <a:buFontTx/>
              <a:buNone/>
              <a:defRPr sz="3000">
                <a:solidFill>
                  <a:schemeClr val="tx1"/>
                </a:solidFill>
              </a:defRPr>
            </a:lvl1pPr>
          </a:lstStyle>
          <a:p>
            <a:pPr lvl="0"/>
            <a:r>
              <a:rPr lang="da-DK" noProof="0"/>
              <a:t>Click to edit Master subtitle style</a:t>
            </a:r>
            <a:endParaRPr lang="da-DK" noProof="0" dirty="0"/>
          </a:p>
        </p:txBody>
      </p:sp>
      <p:sp>
        <p:nvSpPr>
          <p:cNvPr id="3" name="Footer Placeholder 2">
            <a:extLst>
              <a:ext uri="{FF2B5EF4-FFF2-40B4-BE49-F238E27FC236}">
                <a16:creationId xmlns:a16="http://schemas.microsoft.com/office/drawing/2014/main" id="{71346B4F-F02C-40EC-9B70-932B18214C6A}"/>
              </a:ext>
            </a:extLst>
          </p:cNvPr>
          <p:cNvSpPr>
            <a:spLocks noGrp="1"/>
          </p:cNvSpPr>
          <p:nvPr>
            <p:ph type="ftr" sz="quarter" idx="16"/>
          </p:nvPr>
        </p:nvSpPr>
        <p:spPr/>
        <p:txBody>
          <a:bodyPr/>
          <a:lstStyle/>
          <a:p>
            <a:endParaRPr lang="da-DK" dirty="0"/>
          </a:p>
        </p:txBody>
      </p:sp>
      <p:sp>
        <p:nvSpPr>
          <p:cNvPr id="4" name="Slide Number Placeholder 3">
            <a:extLst>
              <a:ext uri="{FF2B5EF4-FFF2-40B4-BE49-F238E27FC236}">
                <a16:creationId xmlns:a16="http://schemas.microsoft.com/office/drawing/2014/main" id="{FE67EB69-BB5A-407E-BF0A-1CB9B24506D8}"/>
              </a:ext>
            </a:extLst>
          </p:cNvPr>
          <p:cNvSpPr>
            <a:spLocks noGrp="1"/>
          </p:cNvSpPr>
          <p:nvPr>
            <p:ph type="sldNum" sz="quarter" idx="17"/>
          </p:nvPr>
        </p:nvSpPr>
        <p:spPr/>
        <p:txBody>
          <a:bodyPr/>
          <a:lstStyle>
            <a:lvl1pPr>
              <a:defRPr>
                <a:solidFill>
                  <a:schemeClr val="bg1"/>
                </a:solidFill>
              </a:defRPr>
            </a:lvl1pPr>
          </a:lstStyle>
          <a:p>
            <a:fld id="{103EA872-A674-449B-A120-B97244F8E91D}" type="slidenum">
              <a:rPr lang="da-DK" smtClean="0"/>
              <a:pPr/>
              <a:t>‹#›</a:t>
            </a:fld>
            <a:endParaRPr lang="da-DK" dirty="0"/>
          </a:p>
        </p:txBody>
      </p:sp>
    </p:spTree>
    <p:extLst>
      <p:ext uri="{BB962C8B-B14F-4D97-AF65-F5344CB8AC3E}">
        <p14:creationId xmlns:p14="http://schemas.microsoft.com/office/powerpoint/2010/main" val="341908053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56">
          <p15:clr>
            <a:srgbClr val="F26B43"/>
          </p15:clr>
        </p15:guide>
        <p15:guide id="2" pos="6984">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ogo og footer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3AE75ABF-082F-4A38-B952-09157E37A81A}"/>
              </a:ext>
            </a:extLst>
          </p:cNvPr>
          <p:cNvSpPr>
            <a:spLocks noGrp="1"/>
          </p:cNvSpPr>
          <p:nvPr>
            <p:ph type="ftr" sz="quarter" idx="10"/>
          </p:nvPr>
        </p:nvSpPr>
        <p:spPr/>
        <p:txBody>
          <a:bodyPr/>
          <a:lstStyle/>
          <a:p>
            <a:endParaRPr lang="da-DK" dirty="0"/>
          </a:p>
        </p:txBody>
      </p:sp>
      <p:sp>
        <p:nvSpPr>
          <p:cNvPr id="5" name="Slide Number Placeholder 4">
            <a:extLst>
              <a:ext uri="{FF2B5EF4-FFF2-40B4-BE49-F238E27FC236}">
                <a16:creationId xmlns:a16="http://schemas.microsoft.com/office/drawing/2014/main" id="{D0A39F3A-7714-4FD6-9132-D60FFA220D98}"/>
              </a:ext>
            </a:extLst>
          </p:cNvPr>
          <p:cNvSpPr>
            <a:spLocks noGrp="1"/>
          </p:cNvSpPr>
          <p:nvPr>
            <p:ph type="sldNum" sz="quarter" idx="11"/>
          </p:nvPr>
        </p:nvSpPr>
        <p:spPr/>
        <p:txBody>
          <a:bodyPr/>
          <a:lstStyle/>
          <a:p>
            <a:fld id="{103EA872-A674-449B-A120-B97244F8E91D}" type="slidenum">
              <a:rPr lang="da-DK" smtClean="0"/>
              <a:pPr/>
              <a:t>‹#›</a:t>
            </a:fld>
            <a:endParaRPr lang="da-DK" dirty="0"/>
          </a:p>
        </p:txBody>
      </p:sp>
    </p:spTree>
    <p:extLst>
      <p:ext uri="{BB962C8B-B14F-4D97-AF65-F5344CB8AC3E}">
        <p14:creationId xmlns:p14="http://schemas.microsoft.com/office/powerpoint/2010/main" val="266926470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48A0E3C-0CE1-4BBF-A912-5A81BF3B7BCA}"/>
              </a:ext>
            </a:extLst>
          </p:cNvPr>
          <p:cNvSpPr>
            <a:spLocks noGrp="1"/>
          </p:cNvSpPr>
          <p:nvPr>
            <p:ph type="title"/>
          </p:nvPr>
        </p:nvSpPr>
        <p:spPr/>
        <p:txBody>
          <a:bodyPr/>
          <a:lstStyle/>
          <a:p>
            <a:r>
              <a:rPr lang="da-DK" dirty="0"/>
              <a:t>Click to edit Master title style</a:t>
            </a:r>
            <a:endParaRPr lang="da-DK"/>
          </a:p>
        </p:txBody>
      </p:sp>
      <p:sp>
        <p:nvSpPr>
          <p:cNvPr id="3" name="Content Placeholder 2"/>
          <p:cNvSpPr>
            <a:spLocks noGrp="1"/>
          </p:cNvSpPr>
          <p:nvPr>
            <p:ph idx="1"/>
          </p:nvPr>
        </p:nvSpPr>
        <p:spPr/>
        <p:txBody>
          <a:bodyPr/>
          <a:lstStyle/>
          <a:p>
            <a:pPr lvl="0"/>
            <a:r>
              <a:rPr lang="da-DK"/>
              <a:t>Edit Master text styles</a:t>
            </a:r>
          </a:p>
          <a:p>
            <a:pPr lvl="1"/>
            <a:r>
              <a:rPr lang="da-DK"/>
              <a:t>Second level</a:t>
            </a:r>
          </a:p>
          <a:p>
            <a:pPr lvl="2"/>
            <a:r>
              <a:rPr lang="da-DK"/>
              <a:t>Third level</a:t>
            </a:r>
          </a:p>
          <a:p>
            <a:pPr lvl="3"/>
            <a:r>
              <a:rPr lang="da-DK"/>
              <a:t>Fourth level</a:t>
            </a:r>
          </a:p>
          <a:p>
            <a:pPr lvl="4"/>
            <a:r>
              <a:rPr lang="da-DK"/>
              <a:t>Fifth level</a:t>
            </a:r>
            <a:endParaRPr lang="da-DK" dirty="0"/>
          </a:p>
        </p:txBody>
      </p:sp>
      <p:sp>
        <p:nvSpPr>
          <p:cNvPr id="2" name="Footer Placeholder 1">
            <a:extLst>
              <a:ext uri="{FF2B5EF4-FFF2-40B4-BE49-F238E27FC236}">
                <a16:creationId xmlns:a16="http://schemas.microsoft.com/office/drawing/2014/main" id="{1FCA8860-CDAD-4F91-9292-2B11655C191E}"/>
              </a:ext>
            </a:extLst>
          </p:cNvPr>
          <p:cNvSpPr>
            <a:spLocks noGrp="1"/>
          </p:cNvSpPr>
          <p:nvPr>
            <p:ph type="ftr" sz="quarter" idx="10"/>
          </p:nvPr>
        </p:nvSpPr>
        <p:spPr/>
        <p:txBody>
          <a:bodyPr/>
          <a:lstStyle/>
          <a:p>
            <a:endParaRPr lang="da-DK" dirty="0"/>
          </a:p>
        </p:txBody>
      </p:sp>
      <p:sp>
        <p:nvSpPr>
          <p:cNvPr id="6" name="Slide Number Placeholder 5">
            <a:extLst>
              <a:ext uri="{FF2B5EF4-FFF2-40B4-BE49-F238E27FC236}">
                <a16:creationId xmlns:a16="http://schemas.microsoft.com/office/drawing/2014/main" id="{88C7A21B-9B48-4777-BF0D-9FB95719C2E7}"/>
              </a:ext>
            </a:extLst>
          </p:cNvPr>
          <p:cNvSpPr>
            <a:spLocks noGrp="1"/>
          </p:cNvSpPr>
          <p:nvPr>
            <p:ph type="sldNum" sz="quarter" idx="11"/>
          </p:nvPr>
        </p:nvSpPr>
        <p:spPr/>
        <p:txBody>
          <a:bodyPr/>
          <a:lstStyle/>
          <a:p>
            <a:fld id="{103EA872-A674-449B-A120-B97244F8E91D}" type="slidenum">
              <a:rPr lang="da-DK" smtClean="0"/>
              <a:pPr/>
              <a:t>‹#›</a:t>
            </a:fld>
            <a:endParaRPr lang="da-DK" dirty="0"/>
          </a:p>
        </p:txBody>
      </p:sp>
    </p:spTree>
    <p:extLst>
      <p:ext uri="{BB962C8B-B14F-4D97-AF65-F5344CB8AC3E}">
        <p14:creationId xmlns:p14="http://schemas.microsoft.com/office/powerpoint/2010/main" val="3757024257"/>
      </p:ext>
    </p:extLst>
  </p:cSld>
  <p:clrMapOvr>
    <a:masterClrMapping/>
  </p:clrMapOvr>
  <p:extLst>
    <p:ext uri="{DCECCB84-F9BA-43D5-87BE-67443E8EF086}">
      <p15:sldGuideLst xmlns:p15="http://schemas.microsoft.com/office/powerpoint/2012/main">
        <p15:guide id="1" pos="6984">
          <p15:clr>
            <a:srgbClr val="F26B43"/>
          </p15:clr>
        </p15:guide>
        <p15:guide id="2" pos="1117">
          <p15:clr>
            <a:srgbClr val="F26B43"/>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EB1D5E1-0C4E-4A74-BE37-26307F7E2821}"/>
              </a:ext>
            </a:extLst>
          </p:cNvPr>
          <p:cNvSpPr>
            <a:spLocks noGrp="1"/>
          </p:cNvSpPr>
          <p:nvPr>
            <p:ph type="title"/>
          </p:nvPr>
        </p:nvSpPr>
        <p:spPr>
          <a:xfrm>
            <a:off x="1774726" y="426127"/>
            <a:ext cx="9312374" cy="972716"/>
          </a:xfrm>
        </p:spPr>
        <p:txBody>
          <a:bodyPr/>
          <a:lstStyle/>
          <a:p>
            <a:r>
              <a:rPr lang="da-DK"/>
              <a:t>Click to edit Master title style</a:t>
            </a:r>
            <a:endParaRPr lang="da-DK" dirty="0"/>
          </a:p>
        </p:txBody>
      </p:sp>
      <p:sp>
        <p:nvSpPr>
          <p:cNvPr id="3" name="Content Placeholder 2"/>
          <p:cNvSpPr>
            <a:spLocks noGrp="1"/>
          </p:cNvSpPr>
          <p:nvPr>
            <p:ph sz="half" idx="1"/>
          </p:nvPr>
        </p:nvSpPr>
        <p:spPr>
          <a:xfrm>
            <a:off x="1774801" y="1706399"/>
            <a:ext cx="4410177" cy="454680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a-DK"/>
              <a:t>Edit Master text styles</a:t>
            </a:r>
          </a:p>
          <a:p>
            <a:pPr lvl="1"/>
            <a:r>
              <a:rPr lang="da-DK"/>
              <a:t>Second level</a:t>
            </a:r>
          </a:p>
          <a:p>
            <a:pPr lvl="2"/>
            <a:r>
              <a:rPr lang="da-DK"/>
              <a:t>Third level</a:t>
            </a:r>
          </a:p>
          <a:p>
            <a:pPr lvl="3"/>
            <a:r>
              <a:rPr lang="da-DK"/>
              <a:t>Fourth level</a:t>
            </a:r>
          </a:p>
          <a:p>
            <a:pPr lvl="4"/>
            <a:r>
              <a:rPr lang="da-DK"/>
              <a:t>Fifth level</a:t>
            </a:r>
            <a:endParaRPr lang="da-DK" dirty="0"/>
          </a:p>
        </p:txBody>
      </p:sp>
      <p:sp>
        <p:nvSpPr>
          <p:cNvPr id="4" name="Content Placeholder 3"/>
          <p:cNvSpPr>
            <a:spLocks noGrp="1"/>
          </p:cNvSpPr>
          <p:nvPr>
            <p:ph sz="half" idx="2"/>
          </p:nvPr>
        </p:nvSpPr>
        <p:spPr>
          <a:xfrm>
            <a:off x="6678001" y="1706399"/>
            <a:ext cx="4409100" cy="454680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a-DK"/>
              <a:t>Edit Master text styles</a:t>
            </a:r>
          </a:p>
          <a:p>
            <a:pPr lvl="1"/>
            <a:r>
              <a:rPr lang="da-DK"/>
              <a:t>Second level</a:t>
            </a:r>
          </a:p>
          <a:p>
            <a:pPr lvl="2"/>
            <a:r>
              <a:rPr lang="da-DK"/>
              <a:t>Third level</a:t>
            </a:r>
          </a:p>
          <a:p>
            <a:pPr lvl="3"/>
            <a:r>
              <a:rPr lang="da-DK"/>
              <a:t>Fourth level</a:t>
            </a:r>
          </a:p>
          <a:p>
            <a:pPr lvl="4"/>
            <a:r>
              <a:rPr lang="da-DK"/>
              <a:t>Fifth level</a:t>
            </a:r>
            <a:endParaRPr lang="da-DK" dirty="0"/>
          </a:p>
        </p:txBody>
      </p:sp>
      <p:sp>
        <p:nvSpPr>
          <p:cNvPr id="7" name="Footer Placeholder 6">
            <a:extLst>
              <a:ext uri="{FF2B5EF4-FFF2-40B4-BE49-F238E27FC236}">
                <a16:creationId xmlns:a16="http://schemas.microsoft.com/office/drawing/2014/main" id="{02499420-B0E8-4C8A-8C00-E21262271ADD}"/>
              </a:ext>
            </a:extLst>
          </p:cNvPr>
          <p:cNvSpPr>
            <a:spLocks noGrp="1"/>
          </p:cNvSpPr>
          <p:nvPr>
            <p:ph type="ftr" sz="quarter" idx="10"/>
          </p:nvPr>
        </p:nvSpPr>
        <p:spPr/>
        <p:txBody>
          <a:bodyPr/>
          <a:lstStyle/>
          <a:p>
            <a:endParaRPr lang="da-DK" dirty="0"/>
          </a:p>
        </p:txBody>
      </p:sp>
      <p:sp>
        <p:nvSpPr>
          <p:cNvPr id="8" name="Slide Number Placeholder 7">
            <a:extLst>
              <a:ext uri="{FF2B5EF4-FFF2-40B4-BE49-F238E27FC236}">
                <a16:creationId xmlns:a16="http://schemas.microsoft.com/office/drawing/2014/main" id="{E3EE7F0E-E606-41AC-BBBF-B5AECB1112EB}"/>
              </a:ext>
            </a:extLst>
          </p:cNvPr>
          <p:cNvSpPr>
            <a:spLocks noGrp="1"/>
          </p:cNvSpPr>
          <p:nvPr>
            <p:ph type="sldNum" sz="quarter" idx="11"/>
          </p:nvPr>
        </p:nvSpPr>
        <p:spPr/>
        <p:txBody>
          <a:bodyPr/>
          <a:lstStyle/>
          <a:p>
            <a:fld id="{103EA872-A674-449B-A120-B97244F8E91D}" type="slidenum">
              <a:rPr lang="da-DK" smtClean="0"/>
              <a:pPr/>
              <a:t>‹#›</a:t>
            </a:fld>
            <a:endParaRPr lang="da-DK" dirty="0"/>
          </a:p>
        </p:txBody>
      </p:sp>
    </p:spTree>
    <p:extLst>
      <p:ext uri="{BB962C8B-B14F-4D97-AF65-F5344CB8AC3E}">
        <p14:creationId xmlns:p14="http://schemas.microsoft.com/office/powerpoint/2010/main" val="3739163039"/>
      </p:ext>
    </p:extLst>
  </p:cSld>
  <p:clrMapOvr>
    <a:masterClrMapping/>
  </p:clrMapOvr>
  <p:extLst>
    <p:ext uri="{DCECCB84-F9BA-43D5-87BE-67443E8EF086}">
      <p15:sldGuideLst xmlns:p15="http://schemas.microsoft.com/office/powerpoint/2012/main">
        <p15:guide id="1" pos="1118">
          <p15:clr>
            <a:srgbClr val="F26B43"/>
          </p15:clr>
        </p15:guide>
        <p15:guide id="2" pos="3896">
          <p15:clr>
            <a:srgbClr val="F26B43"/>
          </p15:clr>
        </p15:guide>
        <p15:guide id="3" pos="4205">
          <p15:clr>
            <a:srgbClr val="F26B43"/>
          </p15:clr>
        </p15:guide>
        <p15:guide id="4" pos="6984">
          <p15:clr>
            <a:srgbClr val="F26B43"/>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ext and two pictures">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90A2595F-A737-4D92-946C-EC0BBF885334}"/>
              </a:ext>
            </a:extLst>
          </p:cNvPr>
          <p:cNvSpPr>
            <a:spLocks noGrp="1"/>
          </p:cNvSpPr>
          <p:nvPr>
            <p:ph type="title"/>
          </p:nvPr>
        </p:nvSpPr>
        <p:spPr>
          <a:xfrm>
            <a:off x="1774726" y="426127"/>
            <a:ext cx="6048672" cy="972716"/>
          </a:xfrm>
        </p:spPr>
        <p:txBody>
          <a:bodyPr/>
          <a:lstStyle/>
          <a:p>
            <a:r>
              <a:rPr lang="da-DK"/>
              <a:t>Click to edit Master title style</a:t>
            </a:r>
            <a:endParaRPr lang="da-DK" dirty="0"/>
          </a:p>
        </p:txBody>
      </p:sp>
      <p:sp>
        <p:nvSpPr>
          <p:cNvPr id="3" name="Content Placeholder 2"/>
          <p:cNvSpPr>
            <a:spLocks noGrp="1"/>
          </p:cNvSpPr>
          <p:nvPr>
            <p:ph idx="1"/>
          </p:nvPr>
        </p:nvSpPr>
        <p:spPr>
          <a:xfrm>
            <a:off x="1774726" y="1706328"/>
            <a:ext cx="6048672" cy="4545578"/>
          </a:xfrm>
        </p:spPr>
        <p:txBody>
          <a:bodyPr/>
          <a:lstStyle/>
          <a:p>
            <a:pPr lvl="0"/>
            <a:r>
              <a:rPr lang="da-DK"/>
              <a:t>Edit Master text styles</a:t>
            </a:r>
          </a:p>
          <a:p>
            <a:pPr lvl="1"/>
            <a:r>
              <a:rPr lang="da-DK"/>
              <a:t>Second level</a:t>
            </a:r>
          </a:p>
          <a:p>
            <a:pPr lvl="2"/>
            <a:r>
              <a:rPr lang="da-DK"/>
              <a:t>Third level</a:t>
            </a:r>
          </a:p>
          <a:p>
            <a:pPr lvl="3"/>
            <a:r>
              <a:rPr lang="da-DK"/>
              <a:t>Fourth level</a:t>
            </a:r>
          </a:p>
          <a:p>
            <a:pPr lvl="4"/>
            <a:r>
              <a:rPr lang="da-DK"/>
              <a:t>Fifth level</a:t>
            </a:r>
            <a:endParaRPr lang="da-DK" dirty="0"/>
          </a:p>
        </p:txBody>
      </p:sp>
      <p:sp>
        <p:nvSpPr>
          <p:cNvPr id="10" name="Picture Placeholder 9">
            <a:extLst>
              <a:ext uri="{FF2B5EF4-FFF2-40B4-BE49-F238E27FC236}">
                <a16:creationId xmlns:a16="http://schemas.microsoft.com/office/drawing/2014/main" id="{565D29D0-EA4F-4318-8A82-6C2B200A712B}"/>
              </a:ext>
            </a:extLst>
          </p:cNvPr>
          <p:cNvSpPr>
            <a:spLocks noGrp="1"/>
          </p:cNvSpPr>
          <p:nvPr>
            <p:ph type="pic" sz="quarter" idx="13" hasCustomPrompt="1"/>
          </p:nvPr>
        </p:nvSpPr>
        <p:spPr>
          <a:xfrm>
            <a:off x="8331213" y="849734"/>
            <a:ext cx="3859200" cy="2505600"/>
          </a:xfrm>
        </p:spPr>
        <p:txBody>
          <a:bodyPr/>
          <a:lstStyle>
            <a:lvl1pPr marL="0" indent="0" algn="ctr">
              <a:buNone/>
              <a:defRPr sz="1200"/>
            </a:lvl1pPr>
          </a:lstStyle>
          <a:p>
            <a:r>
              <a:rPr lang="da-DK" dirty="0"/>
              <a:t>Click the placeholder and paste image via Skyfish icon</a:t>
            </a:r>
            <a:endParaRPr lang="da-DK"/>
          </a:p>
        </p:txBody>
      </p:sp>
      <p:sp>
        <p:nvSpPr>
          <p:cNvPr id="12" name="Picture Placeholder 11">
            <a:extLst>
              <a:ext uri="{FF2B5EF4-FFF2-40B4-BE49-F238E27FC236}">
                <a16:creationId xmlns:a16="http://schemas.microsoft.com/office/drawing/2014/main" id="{25B8511D-E10E-40C3-82A6-3DCDC97CF6C2}"/>
              </a:ext>
            </a:extLst>
          </p:cNvPr>
          <p:cNvSpPr>
            <a:spLocks noGrp="1"/>
          </p:cNvSpPr>
          <p:nvPr>
            <p:ph type="pic" sz="quarter" idx="14" hasCustomPrompt="1"/>
          </p:nvPr>
        </p:nvSpPr>
        <p:spPr>
          <a:xfrm>
            <a:off x="8331213" y="3563718"/>
            <a:ext cx="3859200" cy="2505600"/>
          </a:xfrm>
        </p:spPr>
        <p:txBody>
          <a:bodyPr/>
          <a:lstStyle>
            <a:lvl1pPr marL="0" indent="0" algn="ctr">
              <a:buNone/>
              <a:defRPr sz="1200"/>
            </a:lvl1pPr>
          </a:lstStyle>
          <a:p>
            <a:r>
              <a:rPr lang="da-DK" dirty="0"/>
              <a:t>Click the placeholder and paste image via Skyfish icon</a:t>
            </a:r>
            <a:endParaRPr lang="da-DK"/>
          </a:p>
          <a:p>
            <a:endParaRPr lang="da-DK" dirty="0"/>
          </a:p>
        </p:txBody>
      </p:sp>
      <p:sp>
        <p:nvSpPr>
          <p:cNvPr id="2" name="Footer Placeholder 1">
            <a:extLst>
              <a:ext uri="{FF2B5EF4-FFF2-40B4-BE49-F238E27FC236}">
                <a16:creationId xmlns:a16="http://schemas.microsoft.com/office/drawing/2014/main" id="{D2986237-C7E2-4498-82A4-361A340A6504}"/>
              </a:ext>
            </a:extLst>
          </p:cNvPr>
          <p:cNvSpPr>
            <a:spLocks noGrp="1"/>
          </p:cNvSpPr>
          <p:nvPr>
            <p:ph type="ftr" sz="quarter" idx="15"/>
          </p:nvPr>
        </p:nvSpPr>
        <p:spPr/>
        <p:txBody>
          <a:bodyPr/>
          <a:lstStyle/>
          <a:p>
            <a:endParaRPr lang="da-DK" dirty="0"/>
          </a:p>
        </p:txBody>
      </p:sp>
      <p:sp>
        <p:nvSpPr>
          <p:cNvPr id="6" name="Slide Number Placeholder 5">
            <a:extLst>
              <a:ext uri="{FF2B5EF4-FFF2-40B4-BE49-F238E27FC236}">
                <a16:creationId xmlns:a16="http://schemas.microsoft.com/office/drawing/2014/main" id="{21664EEF-2B63-484E-803A-4FCD66F243A5}"/>
              </a:ext>
            </a:extLst>
          </p:cNvPr>
          <p:cNvSpPr>
            <a:spLocks noGrp="1"/>
          </p:cNvSpPr>
          <p:nvPr>
            <p:ph type="sldNum" sz="quarter" idx="16"/>
          </p:nvPr>
        </p:nvSpPr>
        <p:spPr/>
        <p:txBody>
          <a:bodyPr/>
          <a:lstStyle/>
          <a:p>
            <a:fld id="{103EA872-A674-449B-A120-B97244F8E91D}" type="slidenum">
              <a:rPr lang="da-DK" smtClean="0"/>
              <a:pPr/>
              <a:t>‹#›</a:t>
            </a:fld>
            <a:endParaRPr lang="da-DK" dirty="0"/>
          </a:p>
        </p:txBody>
      </p:sp>
    </p:spTree>
    <p:extLst>
      <p:ext uri="{BB962C8B-B14F-4D97-AF65-F5344CB8AC3E}">
        <p14:creationId xmlns:p14="http://schemas.microsoft.com/office/powerpoint/2010/main" val="2290264960"/>
      </p:ext>
    </p:extLst>
  </p:cSld>
  <p:clrMapOvr>
    <a:masterClrMapping/>
  </p:clrMapOvr>
  <p:extLst>
    <p:ext uri="{DCECCB84-F9BA-43D5-87BE-67443E8EF086}">
      <p15:sldGuideLst xmlns:p15="http://schemas.microsoft.com/office/powerpoint/2012/main">
        <p15:guide id="1" pos="4927">
          <p15:clr>
            <a:srgbClr val="F26B43"/>
          </p15:clr>
        </p15:guide>
        <p15:guide id="2" pos="5247">
          <p15:clr>
            <a:srgbClr val="F26B43"/>
          </p15:clr>
        </p15:guide>
        <p15:guide id="3" pos="1117">
          <p15:clr>
            <a:srgbClr val="F26B43"/>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pictures and text">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92213382-11A1-48CE-B0A0-D8A7D26861FB}"/>
              </a:ext>
            </a:extLst>
          </p:cNvPr>
          <p:cNvSpPr>
            <a:spLocks noGrp="1"/>
          </p:cNvSpPr>
          <p:nvPr>
            <p:ph type="title"/>
          </p:nvPr>
        </p:nvSpPr>
        <p:spPr>
          <a:xfrm>
            <a:off x="4221360" y="426127"/>
            <a:ext cx="6865740" cy="972716"/>
          </a:xfrm>
        </p:spPr>
        <p:txBody>
          <a:bodyPr/>
          <a:lstStyle/>
          <a:p>
            <a:r>
              <a:rPr lang="da-DK" dirty="0"/>
              <a:t>Click to edit Master title style</a:t>
            </a:r>
            <a:endParaRPr lang="da-DK"/>
          </a:p>
        </p:txBody>
      </p:sp>
      <p:sp>
        <p:nvSpPr>
          <p:cNvPr id="3" name="Content Placeholder 2"/>
          <p:cNvSpPr>
            <a:spLocks noGrp="1"/>
          </p:cNvSpPr>
          <p:nvPr>
            <p:ph idx="1"/>
          </p:nvPr>
        </p:nvSpPr>
        <p:spPr>
          <a:xfrm>
            <a:off x="4221360" y="1706328"/>
            <a:ext cx="6865740" cy="4545578"/>
          </a:xfrm>
        </p:spPr>
        <p:txBody>
          <a:bodyPr/>
          <a:lstStyle/>
          <a:p>
            <a:pPr lvl="0"/>
            <a:r>
              <a:rPr lang="da-DK"/>
              <a:t>Edit Master text styles</a:t>
            </a:r>
          </a:p>
          <a:p>
            <a:pPr lvl="1"/>
            <a:r>
              <a:rPr lang="da-DK"/>
              <a:t>Second level</a:t>
            </a:r>
          </a:p>
          <a:p>
            <a:pPr lvl="2"/>
            <a:r>
              <a:rPr lang="da-DK"/>
              <a:t>Third level</a:t>
            </a:r>
          </a:p>
          <a:p>
            <a:pPr lvl="3"/>
            <a:r>
              <a:rPr lang="da-DK"/>
              <a:t>Fourth level</a:t>
            </a:r>
          </a:p>
          <a:p>
            <a:pPr lvl="4"/>
            <a:r>
              <a:rPr lang="da-DK"/>
              <a:t>Fifth level</a:t>
            </a:r>
            <a:endParaRPr lang="da-DK" dirty="0"/>
          </a:p>
        </p:txBody>
      </p:sp>
      <p:sp>
        <p:nvSpPr>
          <p:cNvPr id="10" name="Picture Placeholder 9">
            <a:extLst>
              <a:ext uri="{FF2B5EF4-FFF2-40B4-BE49-F238E27FC236}">
                <a16:creationId xmlns:a16="http://schemas.microsoft.com/office/drawing/2014/main" id="{565D29D0-EA4F-4318-8A82-6C2B200A712B}"/>
              </a:ext>
            </a:extLst>
          </p:cNvPr>
          <p:cNvSpPr>
            <a:spLocks noGrp="1"/>
          </p:cNvSpPr>
          <p:nvPr>
            <p:ph type="pic" sz="quarter" idx="13" hasCustomPrompt="1"/>
          </p:nvPr>
        </p:nvSpPr>
        <p:spPr>
          <a:xfrm>
            <a:off x="0" y="1314523"/>
            <a:ext cx="3708000" cy="2455200"/>
          </a:xfrm>
        </p:spPr>
        <p:txBody>
          <a:bodyPr/>
          <a:lstStyle>
            <a:lvl1pPr marL="0" indent="0" algn="ctr">
              <a:buNone/>
              <a:defRPr sz="1200"/>
            </a:lvl1pPr>
          </a:lstStyle>
          <a:p>
            <a:r>
              <a:rPr lang="da-DK" dirty="0"/>
              <a:t>Click the placeholder and paste image via Skyfish icon</a:t>
            </a:r>
            <a:endParaRPr lang="da-DK"/>
          </a:p>
        </p:txBody>
      </p:sp>
      <p:sp>
        <p:nvSpPr>
          <p:cNvPr id="12" name="Picture Placeholder 11">
            <a:extLst>
              <a:ext uri="{FF2B5EF4-FFF2-40B4-BE49-F238E27FC236}">
                <a16:creationId xmlns:a16="http://schemas.microsoft.com/office/drawing/2014/main" id="{25B8511D-E10E-40C3-82A6-3DCDC97CF6C2}"/>
              </a:ext>
            </a:extLst>
          </p:cNvPr>
          <p:cNvSpPr>
            <a:spLocks noGrp="1"/>
          </p:cNvSpPr>
          <p:nvPr>
            <p:ph type="pic" sz="quarter" idx="14" hasCustomPrompt="1"/>
          </p:nvPr>
        </p:nvSpPr>
        <p:spPr>
          <a:xfrm>
            <a:off x="0" y="3968153"/>
            <a:ext cx="3708000" cy="2455200"/>
          </a:xfrm>
        </p:spPr>
        <p:txBody>
          <a:bodyPr/>
          <a:lstStyle>
            <a:lvl1pPr marL="0" indent="0" algn="ctr">
              <a:buNone/>
              <a:defRPr sz="1200"/>
            </a:lvl1pPr>
          </a:lstStyle>
          <a:p>
            <a:r>
              <a:rPr lang="da-DK" dirty="0"/>
              <a:t>Click the placeholder and paste image via Skyfish icon</a:t>
            </a:r>
            <a:endParaRPr lang="da-DK"/>
          </a:p>
          <a:p>
            <a:endParaRPr lang="da-DK" dirty="0"/>
          </a:p>
        </p:txBody>
      </p:sp>
      <p:sp>
        <p:nvSpPr>
          <p:cNvPr id="2" name="Footer Placeholder 1">
            <a:extLst>
              <a:ext uri="{FF2B5EF4-FFF2-40B4-BE49-F238E27FC236}">
                <a16:creationId xmlns:a16="http://schemas.microsoft.com/office/drawing/2014/main" id="{AE26B732-1A52-4AA9-89FC-8FC5439E40DC}"/>
              </a:ext>
            </a:extLst>
          </p:cNvPr>
          <p:cNvSpPr>
            <a:spLocks noGrp="1"/>
          </p:cNvSpPr>
          <p:nvPr>
            <p:ph type="ftr" sz="quarter" idx="15"/>
          </p:nvPr>
        </p:nvSpPr>
        <p:spPr/>
        <p:txBody>
          <a:bodyPr/>
          <a:lstStyle/>
          <a:p>
            <a:endParaRPr lang="da-DK" dirty="0"/>
          </a:p>
        </p:txBody>
      </p:sp>
      <p:sp>
        <p:nvSpPr>
          <p:cNvPr id="6" name="Slide Number Placeholder 5">
            <a:extLst>
              <a:ext uri="{FF2B5EF4-FFF2-40B4-BE49-F238E27FC236}">
                <a16:creationId xmlns:a16="http://schemas.microsoft.com/office/drawing/2014/main" id="{3B25D0DC-E43F-43DA-AA0F-C0C54C8939F7}"/>
              </a:ext>
            </a:extLst>
          </p:cNvPr>
          <p:cNvSpPr>
            <a:spLocks noGrp="1"/>
          </p:cNvSpPr>
          <p:nvPr>
            <p:ph type="sldNum" sz="quarter" idx="16"/>
          </p:nvPr>
        </p:nvSpPr>
        <p:spPr/>
        <p:txBody>
          <a:bodyPr/>
          <a:lstStyle/>
          <a:p>
            <a:fld id="{103EA872-A674-449B-A120-B97244F8E91D}" type="slidenum">
              <a:rPr lang="da-DK" smtClean="0"/>
              <a:pPr/>
              <a:t>‹#›</a:t>
            </a:fld>
            <a:endParaRPr lang="da-DK" dirty="0"/>
          </a:p>
        </p:txBody>
      </p:sp>
    </p:spTree>
    <p:extLst>
      <p:ext uri="{BB962C8B-B14F-4D97-AF65-F5344CB8AC3E}">
        <p14:creationId xmlns:p14="http://schemas.microsoft.com/office/powerpoint/2010/main" val="212534521"/>
      </p:ext>
    </p:extLst>
  </p:cSld>
  <p:clrMapOvr>
    <a:masterClrMapping/>
  </p:clrMapOvr>
  <p:extLst>
    <p:ext uri="{DCECCB84-F9BA-43D5-87BE-67443E8EF086}">
      <p15:sldGuideLst xmlns:p15="http://schemas.microsoft.com/office/powerpoint/2012/main">
        <p15:guide id="1" pos="6984">
          <p15:clr>
            <a:srgbClr val="F26B43"/>
          </p15:clr>
        </p15:guide>
        <p15:guide id="2" pos="2660">
          <p15:clr>
            <a:srgbClr val="F26B43"/>
          </p15:clr>
        </p15:guide>
        <p15:guide id="3" pos="2335">
          <p15:clr>
            <a:srgbClr val="F26B43"/>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hree columns">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8953C3-F3F7-4638-96F8-7CF20CB55E0C}"/>
              </a:ext>
            </a:extLst>
          </p:cNvPr>
          <p:cNvSpPr>
            <a:spLocks noGrp="1"/>
          </p:cNvSpPr>
          <p:nvPr>
            <p:ph type="title" hasCustomPrompt="1"/>
          </p:nvPr>
        </p:nvSpPr>
        <p:spPr>
          <a:xfrm>
            <a:off x="247650" y="980729"/>
            <a:ext cx="3740400" cy="418115"/>
          </a:xfrm>
        </p:spPr>
        <p:txBody>
          <a:bodyPr/>
          <a:lstStyle>
            <a:lvl1pPr>
              <a:defRPr sz="2400"/>
            </a:lvl1pPr>
          </a:lstStyle>
          <a:p>
            <a:r>
              <a:rPr lang="da-DK" dirty="0"/>
              <a:t>Click to add title one line</a:t>
            </a:r>
          </a:p>
        </p:txBody>
      </p:sp>
      <p:sp>
        <p:nvSpPr>
          <p:cNvPr id="15" name="Content Placeholder 2">
            <a:extLst>
              <a:ext uri="{FF2B5EF4-FFF2-40B4-BE49-F238E27FC236}">
                <a16:creationId xmlns:a16="http://schemas.microsoft.com/office/drawing/2014/main" id="{CC0DB591-4602-46B3-B1C3-1E64148AB9B7}"/>
              </a:ext>
            </a:extLst>
          </p:cNvPr>
          <p:cNvSpPr>
            <a:spLocks noGrp="1"/>
          </p:cNvSpPr>
          <p:nvPr>
            <p:ph idx="1"/>
          </p:nvPr>
        </p:nvSpPr>
        <p:spPr>
          <a:xfrm>
            <a:off x="247650" y="4407152"/>
            <a:ext cx="3740400" cy="1844425"/>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da-DK" dirty="0"/>
              <a:t>Edit Master text styles</a:t>
            </a:r>
            <a:endParaRPr lang="da-DK"/>
          </a:p>
          <a:p>
            <a:pPr lvl="1"/>
            <a:r>
              <a:rPr lang="da-DK" dirty="0"/>
              <a:t>Second level</a:t>
            </a:r>
            <a:endParaRPr lang="da-DK"/>
          </a:p>
          <a:p>
            <a:pPr lvl="2"/>
            <a:r>
              <a:rPr lang="da-DK" dirty="0"/>
              <a:t>Third level</a:t>
            </a:r>
            <a:endParaRPr lang="da-DK"/>
          </a:p>
          <a:p>
            <a:pPr lvl="3"/>
            <a:r>
              <a:rPr lang="da-DK" dirty="0"/>
              <a:t>Fourth level</a:t>
            </a:r>
            <a:endParaRPr lang="da-DK"/>
          </a:p>
          <a:p>
            <a:pPr lvl="4"/>
            <a:r>
              <a:rPr lang="da-DK" dirty="0"/>
              <a:t>Fifth level</a:t>
            </a:r>
            <a:endParaRPr lang="da-DK"/>
          </a:p>
        </p:txBody>
      </p:sp>
      <p:sp>
        <p:nvSpPr>
          <p:cNvPr id="19" name="Text Placeholder 18">
            <a:extLst>
              <a:ext uri="{FF2B5EF4-FFF2-40B4-BE49-F238E27FC236}">
                <a16:creationId xmlns:a16="http://schemas.microsoft.com/office/drawing/2014/main" id="{68416079-1CFC-426F-A6ED-5AB355FC545F}"/>
              </a:ext>
            </a:extLst>
          </p:cNvPr>
          <p:cNvSpPr>
            <a:spLocks noGrp="1"/>
          </p:cNvSpPr>
          <p:nvPr>
            <p:ph type="body" sz="quarter" idx="21" hasCustomPrompt="1"/>
          </p:nvPr>
        </p:nvSpPr>
        <p:spPr>
          <a:xfrm>
            <a:off x="4222751" y="979202"/>
            <a:ext cx="3740400" cy="417767"/>
          </a:xfrm>
        </p:spPr>
        <p:txBody>
          <a:bodyPr anchor="b" anchorCtr="0"/>
          <a:lstStyle>
            <a:lvl1pPr marL="0" indent="0">
              <a:buNone/>
              <a:defRPr sz="2400" b="1"/>
            </a:lvl1pPr>
            <a:lvl2pPr marL="0" indent="0">
              <a:buNone/>
              <a:defRPr sz="2400" b="1"/>
            </a:lvl2pPr>
            <a:lvl3pPr marL="0" indent="0">
              <a:buNone/>
              <a:defRPr sz="2400" b="1"/>
            </a:lvl3pPr>
            <a:lvl4pPr marL="0" indent="0">
              <a:buNone/>
              <a:defRPr sz="2400" b="1"/>
            </a:lvl4pPr>
            <a:lvl5pPr marL="0" indent="0">
              <a:buNone/>
              <a:defRPr sz="2400" b="1"/>
            </a:lvl5pPr>
          </a:lstStyle>
          <a:p>
            <a:pPr lvl="0"/>
            <a:r>
              <a:rPr lang="da-DK" dirty="0"/>
              <a:t>Click to add title one line</a:t>
            </a:r>
            <a:endParaRPr lang="da-DK"/>
          </a:p>
        </p:txBody>
      </p:sp>
      <p:sp>
        <p:nvSpPr>
          <p:cNvPr id="21" name="Content Placeholder 20">
            <a:extLst>
              <a:ext uri="{FF2B5EF4-FFF2-40B4-BE49-F238E27FC236}">
                <a16:creationId xmlns:a16="http://schemas.microsoft.com/office/drawing/2014/main" id="{D358873C-68BF-4E89-B536-B3248F2B25FE}"/>
              </a:ext>
            </a:extLst>
          </p:cNvPr>
          <p:cNvSpPr>
            <a:spLocks noGrp="1"/>
          </p:cNvSpPr>
          <p:nvPr>
            <p:ph sz="quarter" idx="22"/>
          </p:nvPr>
        </p:nvSpPr>
        <p:spPr>
          <a:xfrm>
            <a:off x="4222750" y="4406901"/>
            <a:ext cx="3740401" cy="1844675"/>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da-DK" dirty="0"/>
              <a:t>Edit Master text styles</a:t>
            </a:r>
            <a:endParaRPr lang="da-DK"/>
          </a:p>
          <a:p>
            <a:pPr lvl="1"/>
            <a:r>
              <a:rPr lang="da-DK" dirty="0"/>
              <a:t>Second level</a:t>
            </a:r>
            <a:endParaRPr lang="da-DK"/>
          </a:p>
          <a:p>
            <a:pPr lvl="2"/>
            <a:r>
              <a:rPr lang="da-DK" dirty="0"/>
              <a:t>Third level</a:t>
            </a:r>
            <a:endParaRPr lang="da-DK"/>
          </a:p>
          <a:p>
            <a:pPr lvl="3"/>
            <a:r>
              <a:rPr lang="da-DK" dirty="0"/>
              <a:t>Fourth level</a:t>
            </a:r>
            <a:endParaRPr lang="da-DK"/>
          </a:p>
          <a:p>
            <a:pPr lvl="4"/>
            <a:r>
              <a:rPr lang="da-DK" dirty="0"/>
              <a:t>Fifth level</a:t>
            </a:r>
            <a:endParaRPr lang="da-DK"/>
          </a:p>
          <a:p>
            <a:pPr lvl="5"/>
            <a:endParaRPr lang="da-DK" dirty="0"/>
          </a:p>
        </p:txBody>
      </p:sp>
      <p:sp>
        <p:nvSpPr>
          <p:cNvPr id="23" name="Text Placeholder 22">
            <a:extLst>
              <a:ext uri="{FF2B5EF4-FFF2-40B4-BE49-F238E27FC236}">
                <a16:creationId xmlns:a16="http://schemas.microsoft.com/office/drawing/2014/main" id="{69A0E900-1FE2-4CC1-B435-93F3A1189356}"/>
              </a:ext>
            </a:extLst>
          </p:cNvPr>
          <p:cNvSpPr>
            <a:spLocks noGrp="1"/>
          </p:cNvSpPr>
          <p:nvPr>
            <p:ph type="body" sz="quarter" idx="23" hasCustomPrompt="1"/>
          </p:nvPr>
        </p:nvSpPr>
        <p:spPr>
          <a:xfrm>
            <a:off x="8197850" y="979202"/>
            <a:ext cx="3740400" cy="417767"/>
          </a:xfrm>
        </p:spPr>
        <p:txBody>
          <a:bodyPr anchor="b" anchorCtr="0"/>
          <a:lstStyle>
            <a:lvl1pPr marL="0" indent="0">
              <a:buNone/>
              <a:defRPr sz="2400" b="1"/>
            </a:lvl1pPr>
            <a:lvl2pPr marL="0" indent="0">
              <a:buNone/>
              <a:defRPr sz="2400" b="1"/>
            </a:lvl2pPr>
            <a:lvl3pPr marL="0" indent="0">
              <a:buNone/>
              <a:defRPr sz="2400" b="1"/>
            </a:lvl3pPr>
            <a:lvl4pPr marL="0" indent="0">
              <a:buNone/>
              <a:defRPr sz="2400" b="1"/>
            </a:lvl4pPr>
            <a:lvl5pPr marL="0" indent="0">
              <a:buNone/>
              <a:defRPr sz="2400" b="1"/>
            </a:lvl5pPr>
          </a:lstStyle>
          <a:p>
            <a:pPr lvl="0"/>
            <a:r>
              <a:rPr lang="da-DK" dirty="0"/>
              <a:t>Click to add title one line</a:t>
            </a:r>
            <a:endParaRPr lang="da-DK"/>
          </a:p>
        </p:txBody>
      </p:sp>
      <p:sp>
        <p:nvSpPr>
          <p:cNvPr id="25" name="Content Placeholder 24">
            <a:extLst>
              <a:ext uri="{FF2B5EF4-FFF2-40B4-BE49-F238E27FC236}">
                <a16:creationId xmlns:a16="http://schemas.microsoft.com/office/drawing/2014/main" id="{E094886A-F110-4851-B1DA-8DFC40D509F8}"/>
              </a:ext>
            </a:extLst>
          </p:cNvPr>
          <p:cNvSpPr>
            <a:spLocks noGrp="1"/>
          </p:cNvSpPr>
          <p:nvPr>
            <p:ph sz="quarter" idx="24"/>
          </p:nvPr>
        </p:nvSpPr>
        <p:spPr>
          <a:xfrm>
            <a:off x="8197850" y="4406901"/>
            <a:ext cx="3740400" cy="1844675"/>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da-DK" dirty="0"/>
              <a:t>Edit Master text styles</a:t>
            </a:r>
            <a:endParaRPr lang="da-DK"/>
          </a:p>
          <a:p>
            <a:pPr lvl="1"/>
            <a:r>
              <a:rPr lang="da-DK" dirty="0"/>
              <a:t>Second level</a:t>
            </a:r>
            <a:endParaRPr lang="da-DK"/>
          </a:p>
          <a:p>
            <a:pPr lvl="2"/>
            <a:r>
              <a:rPr lang="da-DK" dirty="0"/>
              <a:t>Third level</a:t>
            </a:r>
            <a:endParaRPr lang="da-DK"/>
          </a:p>
          <a:p>
            <a:pPr lvl="3"/>
            <a:r>
              <a:rPr lang="da-DK" dirty="0"/>
              <a:t>Fourth level</a:t>
            </a:r>
            <a:endParaRPr lang="da-DK"/>
          </a:p>
          <a:p>
            <a:pPr lvl="4"/>
            <a:r>
              <a:rPr lang="da-DK" dirty="0"/>
              <a:t>Fifth level</a:t>
            </a:r>
            <a:endParaRPr lang="da-DK"/>
          </a:p>
          <a:p>
            <a:pPr lvl="5"/>
            <a:endParaRPr lang="da-DK" dirty="0"/>
          </a:p>
        </p:txBody>
      </p:sp>
      <p:sp>
        <p:nvSpPr>
          <p:cNvPr id="9" name="Picture Placeholder 8">
            <a:extLst>
              <a:ext uri="{FF2B5EF4-FFF2-40B4-BE49-F238E27FC236}">
                <a16:creationId xmlns:a16="http://schemas.microsoft.com/office/drawing/2014/main" id="{91B02311-54A6-4455-B615-BBCA0DA742E4}"/>
              </a:ext>
            </a:extLst>
          </p:cNvPr>
          <p:cNvSpPr>
            <a:spLocks noGrp="1"/>
          </p:cNvSpPr>
          <p:nvPr>
            <p:ph type="pic" sz="quarter" idx="18" hasCustomPrompt="1"/>
          </p:nvPr>
        </p:nvSpPr>
        <p:spPr>
          <a:xfrm>
            <a:off x="247650" y="1546282"/>
            <a:ext cx="3740400" cy="2664000"/>
          </a:xfrm>
        </p:spPr>
        <p:txBody>
          <a:bodyPr/>
          <a:lstStyle>
            <a:lvl1pPr marL="0" indent="0" algn="ctr">
              <a:buNone/>
              <a:defRPr sz="1200"/>
            </a:lvl1pPr>
          </a:lstStyle>
          <a:p>
            <a:r>
              <a:rPr lang="da-DK" dirty="0"/>
              <a:t>Click the placeholder and paste image via Skyfish icon</a:t>
            </a:r>
            <a:endParaRPr lang="da-DK"/>
          </a:p>
        </p:txBody>
      </p:sp>
      <p:sp>
        <p:nvSpPr>
          <p:cNvPr id="13" name="Picture Placeholder 8">
            <a:extLst>
              <a:ext uri="{FF2B5EF4-FFF2-40B4-BE49-F238E27FC236}">
                <a16:creationId xmlns:a16="http://schemas.microsoft.com/office/drawing/2014/main" id="{710A5827-3485-49A0-81F0-FF89EE34B804}"/>
              </a:ext>
            </a:extLst>
          </p:cNvPr>
          <p:cNvSpPr>
            <a:spLocks noGrp="1"/>
          </p:cNvSpPr>
          <p:nvPr>
            <p:ph type="pic" sz="quarter" idx="19" hasCustomPrompt="1"/>
          </p:nvPr>
        </p:nvSpPr>
        <p:spPr>
          <a:xfrm>
            <a:off x="4223150" y="1548581"/>
            <a:ext cx="3740400" cy="2664000"/>
          </a:xfrm>
        </p:spPr>
        <p:txBody>
          <a:bodyPr/>
          <a:lstStyle>
            <a:lvl1pPr marL="0" indent="0" algn="ctr">
              <a:buNone/>
              <a:defRPr sz="1200"/>
            </a:lvl1pPr>
          </a:lstStyle>
          <a:p>
            <a:r>
              <a:rPr lang="da-DK" dirty="0"/>
              <a:t>Click the placeholder and paste image via Skyfish icon</a:t>
            </a:r>
            <a:endParaRPr lang="da-DK"/>
          </a:p>
        </p:txBody>
      </p:sp>
      <p:sp>
        <p:nvSpPr>
          <p:cNvPr id="14" name="Picture Placeholder 8">
            <a:extLst>
              <a:ext uri="{FF2B5EF4-FFF2-40B4-BE49-F238E27FC236}">
                <a16:creationId xmlns:a16="http://schemas.microsoft.com/office/drawing/2014/main" id="{E27B0558-FCB8-4A55-9BA9-182DFF0387F4}"/>
              </a:ext>
            </a:extLst>
          </p:cNvPr>
          <p:cNvSpPr>
            <a:spLocks noGrp="1"/>
          </p:cNvSpPr>
          <p:nvPr>
            <p:ph type="pic" sz="quarter" idx="20" hasCustomPrompt="1"/>
          </p:nvPr>
        </p:nvSpPr>
        <p:spPr>
          <a:xfrm>
            <a:off x="8198648" y="1546282"/>
            <a:ext cx="3740400" cy="2664000"/>
          </a:xfrm>
        </p:spPr>
        <p:txBody>
          <a:bodyPr/>
          <a:lstStyle>
            <a:lvl1pPr marL="0" indent="0" algn="ctr">
              <a:buNone/>
              <a:defRPr sz="1200"/>
            </a:lvl1pPr>
          </a:lstStyle>
          <a:p>
            <a:r>
              <a:rPr lang="da-DK" dirty="0"/>
              <a:t>Click the placeholder and paste image via Skyfish icon</a:t>
            </a:r>
            <a:endParaRPr lang="da-DK"/>
          </a:p>
        </p:txBody>
      </p:sp>
      <p:sp>
        <p:nvSpPr>
          <p:cNvPr id="3" name="Footer Placeholder 2">
            <a:extLst>
              <a:ext uri="{FF2B5EF4-FFF2-40B4-BE49-F238E27FC236}">
                <a16:creationId xmlns:a16="http://schemas.microsoft.com/office/drawing/2014/main" id="{71346B4F-F02C-40EC-9B70-932B18214C6A}"/>
              </a:ext>
            </a:extLst>
          </p:cNvPr>
          <p:cNvSpPr>
            <a:spLocks noGrp="1"/>
          </p:cNvSpPr>
          <p:nvPr>
            <p:ph type="ftr" sz="quarter" idx="16"/>
          </p:nvPr>
        </p:nvSpPr>
        <p:spPr/>
        <p:txBody>
          <a:bodyPr/>
          <a:lstStyle/>
          <a:p>
            <a:endParaRPr lang="da-DK" dirty="0"/>
          </a:p>
        </p:txBody>
      </p:sp>
      <p:sp>
        <p:nvSpPr>
          <p:cNvPr id="4" name="Slide Number Placeholder 3">
            <a:extLst>
              <a:ext uri="{FF2B5EF4-FFF2-40B4-BE49-F238E27FC236}">
                <a16:creationId xmlns:a16="http://schemas.microsoft.com/office/drawing/2014/main" id="{FE67EB69-BB5A-407E-BF0A-1CB9B24506D8}"/>
              </a:ext>
            </a:extLst>
          </p:cNvPr>
          <p:cNvSpPr>
            <a:spLocks noGrp="1"/>
          </p:cNvSpPr>
          <p:nvPr>
            <p:ph type="sldNum" sz="quarter" idx="17"/>
          </p:nvPr>
        </p:nvSpPr>
        <p:spPr/>
        <p:txBody>
          <a:bodyPr/>
          <a:lstStyle>
            <a:lvl1pPr>
              <a:defRPr>
                <a:solidFill>
                  <a:schemeClr val="bg1"/>
                </a:solidFill>
              </a:defRPr>
            </a:lvl1pPr>
          </a:lstStyle>
          <a:p>
            <a:fld id="{103EA872-A674-449B-A120-B97244F8E91D}" type="slidenum">
              <a:rPr lang="da-DK" smtClean="0"/>
              <a:pPr/>
              <a:t>‹#›</a:t>
            </a:fld>
            <a:endParaRPr lang="da-DK" dirty="0"/>
          </a:p>
        </p:txBody>
      </p:sp>
    </p:spTree>
    <p:extLst>
      <p:ext uri="{BB962C8B-B14F-4D97-AF65-F5344CB8AC3E}">
        <p14:creationId xmlns:p14="http://schemas.microsoft.com/office/powerpoint/2010/main" val="378082415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56">
          <p15:clr>
            <a:srgbClr val="F26B43"/>
          </p15:clr>
        </p15:guide>
        <p15:guide id="2" pos="7522">
          <p15:clr>
            <a:srgbClr val="F26B43"/>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297DEAA-3B7B-49C7-8C28-3F21F36A93D7}"/>
              </a:ext>
            </a:extLst>
          </p:cNvPr>
          <p:cNvSpPr>
            <a:spLocks noGrp="1"/>
          </p:cNvSpPr>
          <p:nvPr>
            <p:ph type="title"/>
          </p:nvPr>
        </p:nvSpPr>
        <p:spPr/>
        <p:txBody>
          <a:bodyPr/>
          <a:lstStyle/>
          <a:p>
            <a:r>
              <a:rPr lang="da-DK"/>
              <a:t>Click to edit Master title style</a:t>
            </a:r>
            <a:endParaRPr lang="da-DK" dirty="0"/>
          </a:p>
        </p:txBody>
      </p:sp>
      <p:sp>
        <p:nvSpPr>
          <p:cNvPr id="2" name="Footer Placeholder 1">
            <a:extLst>
              <a:ext uri="{FF2B5EF4-FFF2-40B4-BE49-F238E27FC236}">
                <a16:creationId xmlns:a16="http://schemas.microsoft.com/office/drawing/2014/main" id="{51F74546-9D06-4CF7-806D-E04B043BF5A5}"/>
              </a:ext>
            </a:extLst>
          </p:cNvPr>
          <p:cNvSpPr>
            <a:spLocks noGrp="1"/>
          </p:cNvSpPr>
          <p:nvPr>
            <p:ph type="ftr" sz="quarter" idx="10"/>
          </p:nvPr>
        </p:nvSpPr>
        <p:spPr/>
        <p:txBody>
          <a:bodyPr/>
          <a:lstStyle/>
          <a:p>
            <a:endParaRPr lang="da-DK" dirty="0"/>
          </a:p>
        </p:txBody>
      </p:sp>
      <p:sp>
        <p:nvSpPr>
          <p:cNvPr id="6" name="Slide Number Placeholder 5">
            <a:extLst>
              <a:ext uri="{FF2B5EF4-FFF2-40B4-BE49-F238E27FC236}">
                <a16:creationId xmlns:a16="http://schemas.microsoft.com/office/drawing/2014/main" id="{42F53AB3-8AAF-469F-AD3F-AE5E1A39D7C8}"/>
              </a:ext>
            </a:extLst>
          </p:cNvPr>
          <p:cNvSpPr>
            <a:spLocks noGrp="1"/>
          </p:cNvSpPr>
          <p:nvPr>
            <p:ph type="sldNum" sz="quarter" idx="11"/>
          </p:nvPr>
        </p:nvSpPr>
        <p:spPr/>
        <p:txBody>
          <a:bodyPr/>
          <a:lstStyle/>
          <a:p>
            <a:fld id="{103EA872-A674-449B-A120-B97244F8E91D}" type="slidenum">
              <a:rPr lang="da-DK" smtClean="0"/>
              <a:pPr/>
              <a:t>‹#›</a:t>
            </a:fld>
            <a:endParaRPr lang="da-DK" dirty="0"/>
          </a:p>
        </p:txBody>
      </p:sp>
    </p:spTree>
    <p:extLst>
      <p:ext uri="{BB962C8B-B14F-4D97-AF65-F5344CB8AC3E}">
        <p14:creationId xmlns:p14="http://schemas.microsoft.com/office/powerpoint/2010/main" val="3674810080"/>
      </p:ext>
    </p:extLst>
  </p:cSld>
  <p:clrMapOvr>
    <a:masterClrMapping/>
  </p:clrMapOvr>
  <p:extLst>
    <p:ext uri="{DCECCB84-F9BA-43D5-87BE-67443E8EF086}">
      <p15:sldGuideLst xmlns:p15="http://schemas.microsoft.com/office/powerpoint/2012/main">
        <p15:guide id="1" pos="1117">
          <p15:clr>
            <a:srgbClr val="F26B43"/>
          </p15:clr>
        </p15:guide>
        <p15:guide id="2" pos="6984">
          <p15:clr>
            <a:srgbClr val="F26B43"/>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Logo og footer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3AE75ABF-082F-4A38-B952-09157E37A81A}"/>
              </a:ext>
            </a:extLst>
          </p:cNvPr>
          <p:cNvSpPr>
            <a:spLocks noGrp="1"/>
          </p:cNvSpPr>
          <p:nvPr>
            <p:ph type="ftr" sz="quarter" idx="10"/>
          </p:nvPr>
        </p:nvSpPr>
        <p:spPr/>
        <p:txBody>
          <a:bodyPr/>
          <a:lstStyle/>
          <a:p>
            <a:endParaRPr lang="da-DK" dirty="0"/>
          </a:p>
        </p:txBody>
      </p:sp>
      <p:sp>
        <p:nvSpPr>
          <p:cNvPr id="5" name="Slide Number Placeholder 4">
            <a:extLst>
              <a:ext uri="{FF2B5EF4-FFF2-40B4-BE49-F238E27FC236}">
                <a16:creationId xmlns:a16="http://schemas.microsoft.com/office/drawing/2014/main" id="{D0A39F3A-7714-4FD6-9132-D60FFA220D98}"/>
              </a:ext>
            </a:extLst>
          </p:cNvPr>
          <p:cNvSpPr>
            <a:spLocks noGrp="1"/>
          </p:cNvSpPr>
          <p:nvPr>
            <p:ph type="sldNum" sz="quarter" idx="11"/>
          </p:nvPr>
        </p:nvSpPr>
        <p:spPr/>
        <p:txBody>
          <a:bodyPr/>
          <a:lstStyle/>
          <a:p>
            <a:fld id="{103EA872-A674-449B-A120-B97244F8E91D}" type="slidenum">
              <a:rPr lang="da-DK" smtClean="0"/>
              <a:pPr/>
              <a:t>‹#›</a:t>
            </a:fld>
            <a:endParaRPr lang="da-DK" dirty="0"/>
          </a:p>
        </p:txBody>
      </p:sp>
    </p:spTree>
    <p:extLst>
      <p:ext uri="{BB962C8B-B14F-4D97-AF65-F5344CB8AC3E}">
        <p14:creationId xmlns:p14="http://schemas.microsoft.com/office/powerpoint/2010/main" val="394864724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Front/Pause A ">
    <p:spTree>
      <p:nvGrpSpPr>
        <p:cNvPr id="1" name=""/>
        <p:cNvGrpSpPr/>
        <p:nvPr/>
      </p:nvGrpSpPr>
      <p:grpSpPr>
        <a:xfrm>
          <a:off x="0" y="0"/>
          <a:ext cx="0" cy="0"/>
          <a:chOff x="0" y="0"/>
          <a:chExt cx="0" cy="0"/>
        </a:xfrm>
      </p:grpSpPr>
      <p:sp>
        <p:nvSpPr>
          <p:cNvPr id="9" name="Background">
            <a:extLst>
              <a:ext uri="{FF2B5EF4-FFF2-40B4-BE49-F238E27FC236}">
                <a16:creationId xmlns:a16="http://schemas.microsoft.com/office/drawing/2014/main" id="{AF9D3C51-A276-4E1F-B6B6-FD6A4E17EE28}"/>
              </a:ext>
            </a:extLst>
          </p:cNvPr>
          <p:cNvSpPr/>
          <p:nvPr userDrawn="1"/>
        </p:nvSpPr>
        <p:spPr bwMode="auto">
          <a:xfrm>
            <a:off x="0" y="-3600"/>
            <a:ext cx="12193200" cy="6861600"/>
          </a:xfrm>
          <a:prstGeom prst="rect">
            <a:avLst/>
          </a:prstGeom>
          <a:solidFill>
            <a:srgbClr val="008737"/>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309" rtl="0" eaLnBrk="1" fontAlgn="base" latinLnBrk="0" hangingPunct="1">
              <a:lnSpc>
                <a:spcPct val="100000"/>
              </a:lnSpc>
              <a:spcBef>
                <a:spcPct val="50000"/>
              </a:spcBef>
              <a:spcAft>
                <a:spcPct val="0"/>
              </a:spcAft>
              <a:buClrTx/>
              <a:buSzTx/>
              <a:buFontTx/>
              <a:buNone/>
              <a:tabLst/>
            </a:pPr>
            <a:endParaRPr kumimoji="0" lang="da-DK" sz="1600" b="0" i="0" u="none" strike="noStrike" cap="none" normalizeH="0" baseline="0" dirty="0">
              <a:ln>
                <a:noFill/>
              </a:ln>
              <a:solidFill>
                <a:schemeClr val="tx1"/>
              </a:solidFill>
              <a:effectLst/>
              <a:latin typeface="Arial" panose="020B0604020202020204" pitchFamily="34" charset="0"/>
              <a:ea typeface="ＭＳ Ｐゴシック" pitchFamily="-80" charset="-128"/>
            </a:endParaRPr>
          </a:p>
        </p:txBody>
      </p:sp>
      <p:sp>
        <p:nvSpPr>
          <p:cNvPr id="4" name="Date Placeholder 2">
            <a:extLst>
              <a:ext uri="{FF2B5EF4-FFF2-40B4-BE49-F238E27FC236}">
                <a16:creationId xmlns:a16="http://schemas.microsoft.com/office/drawing/2014/main" id="{C9776080-6230-4AB8-AB28-4D6744DD01F9}"/>
              </a:ext>
            </a:extLst>
          </p:cNvPr>
          <p:cNvSpPr>
            <a:spLocks noGrp="1"/>
          </p:cNvSpPr>
          <p:nvPr>
            <p:ph type="dt" sz="half" idx="10"/>
          </p:nvPr>
        </p:nvSpPr>
        <p:spPr>
          <a:xfrm>
            <a:off x="0" y="6912000"/>
            <a:ext cx="0" cy="0"/>
          </a:xfrm>
          <a:prstGeom prst="rect">
            <a:avLst/>
          </a:prstGeom>
        </p:spPr>
        <p:txBody>
          <a:bodyPr/>
          <a:lstStyle>
            <a:lvl1pPr>
              <a:defRPr>
                <a:noFill/>
              </a:defRPr>
            </a:lvl1pPr>
          </a:lstStyle>
          <a:p>
            <a:endParaRPr lang="da-DK" dirty="0"/>
          </a:p>
        </p:txBody>
      </p:sp>
      <p:sp>
        <p:nvSpPr>
          <p:cNvPr id="5" name="Footer Placeholder 3">
            <a:extLst>
              <a:ext uri="{FF2B5EF4-FFF2-40B4-BE49-F238E27FC236}">
                <a16:creationId xmlns:a16="http://schemas.microsoft.com/office/drawing/2014/main" id="{2B7FFAE6-D148-4A15-9DFC-7D71B82020C9}"/>
              </a:ext>
            </a:extLst>
          </p:cNvPr>
          <p:cNvSpPr>
            <a:spLocks noGrp="1"/>
          </p:cNvSpPr>
          <p:nvPr>
            <p:ph type="ftr" sz="quarter" idx="11"/>
          </p:nvPr>
        </p:nvSpPr>
        <p:spPr>
          <a:xfrm>
            <a:off x="0" y="6912000"/>
            <a:ext cx="0" cy="0"/>
          </a:xfrm>
        </p:spPr>
        <p:txBody>
          <a:bodyPr/>
          <a:lstStyle>
            <a:lvl1pPr>
              <a:defRPr>
                <a:noFill/>
              </a:defRPr>
            </a:lvl1pPr>
          </a:lstStyle>
          <a:p>
            <a:endParaRPr lang="da-DK" dirty="0"/>
          </a:p>
        </p:txBody>
      </p:sp>
      <p:sp>
        <p:nvSpPr>
          <p:cNvPr id="6" name="Slide Number Placeholder 4">
            <a:extLst>
              <a:ext uri="{FF2B5EF4-FFF2-40B4-BE49-F238E27FC236}">
                <a16:creationId xmlns:a16="http://schemas.microsoft.com/office/drawing/2014/main" id="{3125B57E-AFC7-4517-B327-461DB01D2867}"/>
              </a:ext>
            </a:extLst>
          </p:cNvPr>
          <p:cNvSpPr>
            <a:spLocks noGrp="1"/>
          </p:cNvSpPr>
          <p:nvPr>
            <p:ph type="sldNum" sz="quarter" idx="12"/>
          </p:nvPr>
        </p:nvSpPr>
        <p:spPr>
          <a:xfrm flipV="1">
            <a:off x="0" y="6912000"/>
            <a:ext cx="0" cy="0"/>
          </a:xfrm>
        </p:spPr>
        <p:txBody>
          <a:bodyPr/>
          <a:lstStyle>
            <a:lvl1pPr>
              <a:defRPr>
                <a:noFill/>
              </a:defRPr>
            </a:lvl1pPr>
          </a:lstStyle>
          <a:p>
            <a:fld id="{24C8C45C-947F-4981-8B3F-4F32E973C901}" type="slidenum">
              <a:rPr lang="da-DK" smtClean="0"/>
              <a:pPr/>
              <a:t>‹#›</a:t>
            </a:fld>
            <a:endParaRPr lang="da-DK" dirty="0"/>
          </a:p>
        </p:txBody>
      </p:sp>
      <p:sp>
        <p:nvSpPr>
          <p:cNvPr id="10" name="Logo color">
            <a:extLst>
              <a:ext uri="{FF2B5EF4-FFF2-40B4-BE49-F238E27FC236}">
                <a16:creationId xmlns:a16="http://schemas.microsoft.com/office/drawing/2014/main" id="{B0EE486B-843B-49D6-90AE-5093AB56E30F}"/>
              </a:ext>
            </a:extLst>
          </p:cNvPr>
          <p:cNvSpPr>
            <a:spLocks noChangeAspect="1"/>
          </p:cNvSpPr>
          <p:nvPr userDrawn="1">
            <p:custDataLst>
              <p:tags r:id="rId1"/>
            </p:custDataLst>
          </p:nvPr>
        </p:nvSpPr>
        <p:spPr bwMode="auto">
          <a:xfrm>
            <a:off x="4870540" y="1651373"/>
            <a:ext cx="2388323" cy="3483354"/>
          </a:xfrm>
          <a:custGeom>
            <a:avLst/>
            <a:gdLst>
              <a:gd name="connsiteX0" fmla="*/ 1050029 w 4933949"/>
              <a:gd name="connsiteY0" fmla="*/ 6094413 h 7196138"/>
              <a:gd name="connsiteX1" fmla="*/ 3883920 w 4933949"/>
              <a:gd name="connsiteY1" fmla="*/ 6094413 h 7196138"/>
              <a:gd name="connsiteX2" fmla="*/ 4933949 w 4933949"/>
              <a:gd name="connsiteY2" fmla="*/ 6645934 h 7196138"/>
              <a:gd name="connsiteX3" fmla="*/ 3883920 w 4933949"/>
              <a:gd name="connsiteY3" fmla="*/ 7196138 h 7196138"/>
              <a:gd name="connsiteX4" fmla="*/ 1050029 w 4933949"/>
              <a:gd name="connsiteY4" fmla="*/ 7196138 h 7196138"/>
              <a:gd name="connsiteX5" fmla="*/ 0 w 4933949"/>
              <a:gd name="connsiteY5" fmla="*/ 6645934 h 7196138"/>
              <a:gd name="connsiteX6" fmla="*/ 1050029 w 4933949"/>
              <a:gd name="connsiteY6" fmla="*/ 6094413 h 7196138"/>
              <a:gd name="connsiteX7" fmla="*/ 1050029 w 4933949"/>
              <a:gd name="connsiteY7" fmla="*/ 4730750 h 7196138"/>
              <a:gd name="connsiteX8" fmla="*/ 3883920 w 4933949"/>
              <a:gd name="connsiteY8" fmla="*/ 4730750 h 7196138"/>
              <a:gd name="connsiteX9" fmla="*/ 4933949 w 4933949"/>
              <a:gd name="connsiteY9" fmla="*/ 5283066 h 7196138"/>
              <a:gd name="connsiteX10" fmla="*/ 3883920 w 4933949"/>
              <a:gd name="connsiteY10" fmla="*/ 5834063 h 7196138"/>
              <a:gd name="connsiteX11" fmla="*/ 1050029 w 4933949"/>
              <a:gd name="connsiteY11" fmla="*/ 5834063 h 7196138"/>
              <a:gd name="connsiteX12" fmla="*/ 0 w 4933949"/>
              <a:gd name="connsiteY12" fmla="*/ 5283066 h 7196138"/>
              <a:gd name="connsiteX13" fmla="*/ 1050029 w 4933949"/>
              <a:gd name="connsiteY13" fmla="*/ 4730750 h 7196138"/>
              <a:gd name="connsiteX14" fmla="*/ 1050029 w 4933949"/>
              <a:gd name="connsiteY14" fmla="*/ 3368675 h 7196138"/>
              <a:gd name="connsiteX15" fmla="*/ 3883920 w 4933949"/>
              <a:gd name="connsiteY15" fmla="*/ 3368675 h 7196138"/>
              <a:gd name="connsiteX16" fmla="*/ 4933949 w 4933949"/>
              <a:gd name="connsiteY16" fmla="*/ 3920991 h 7196138"/>
              <a:gd name="connsiteX17" fmla="*/ 3883920 w 4933949"/>
              <a:gd name="connsiteY17" fmla="*/ 4471988 h 7196138"/>
              <a:gd name="connsiteX18" fmla="*/ 1050029 w 4933949"/>
              <a:gd name="connsiteY18" fmla="*/ 4471988 h 7196138"/>
              <a:gd name="connsiteX19" fmla="*/ 0 w 4933949"/>
              <a:gd name="connsiteY19" fmla="*/ 3920991 h 7196138"/>
              <a:gd name="connsiteX20" fmla="*/ 1050029 w 4933949"/>
              <a:gd name="connsiteY20" fmla="*/ 3368675 h 7196138"/>
              <a:gd name="connsiteX21" fmla="*/ 678543 w 4933949"/>
              <a:gd name="connsiteY21" fmla="*/ 305710 h 7196138"/>
              <a:gd name="connsiteX22" fmla="*/ 678543 w 4933949"/>
              <a:gd name="connsiteY22" fmla="*/ 2307316 h 7196138"/>
              <a:gd name="connsiteX23" fmla="*/ 909109 w 4933949"/>
              <a:gd name="connsiteY23" fmla="*/ 2307316 h 7196138"/>
              <a:gd name="connsiteX24" fmla="*/ 1119911 w 4933949"/>
              <a:gd name="connsiteY24" fmla="*/ 2234842 h 7196138"/>
              <a:gd name="connsiteX25" fmla="*/ 1198962 w 4933949"/>
              <a:gd name="connsiteY25" fmla="*/ 1615517 h 7196138"/>
              <a:gd name="connsiteX26" fmla="*/ 1198962 w 4933949"/>
              <a:gd name="connsiteY26" fmla="*/ 996191 h 7196138"/>
              <a:gd name="connsiteX27" fmla="*/ 1119911 w 4933949"/>
              <a:gd name="connsiteY27" fmla="*/ 378184 h 7196138"/>
              <a:gd name="connsiteX28" fmla="*/ 909109 w 4933949"/>
              <a:gd name="connsiteY28" fmla="*/ 305710 h 7196138"/>
              <a:gd name="connsiteX29" fmla="*/ 678543 w 4933949"/>
              <a:gd name="connsiteY29" fmla="*/ 305710 h 7196138"/>
              <a:gd name="connsiteX30" fmla="*/ 1842869 w 4933949"/>
              <a:gd name="connsiteY30" fmla="*/ 0 h 7196138"/>
              <a:gd name="connsiteX31" fmla="*/ 3073618 w 4933949"/>
              <a:gd name="connsiteY31" fmla="*/ 0 h 7196138"/>
              <a:gd name="connsiteX32" fmla="*/ 3114467 w 4933949"/>
              <a:gd name="connsiteY32" fmla="*/ 14495 h 7196138"/>
              <a:gd name="connsiteX33" fmla="*/ 3128962 w 4933949"/>
              <a:gd name="connsiteY33" fmla="*/ 54027 h 7196138"/>
              <a:gd name="connsiteX34" fmla="*/ 3128962 w 4933949"/>
              <a:gd name="connsiteY34" fmla="*/ 275402 h 7196138"/>
              <a:gd name="connsiteX35" fmla="*/ 3114467 w 4933949"/>
              <a:gd name="connsiteY35" fmla="*/ 314934 h 7196138"/>
              <a:gd name="connsiteX36" fmla="*/ 3073618 w 4933949"/>
              <a:gd name="connsiteY36" fmla="*/ 329429 h 7196138"/>
              <a:gd name="connsiteX37" fmla="*/ 2679620 w 4933949"/>
              <a:gd name="connsiteY37" fmla="*/ 329429 h 7196138"/>
              <a:gd name="connsiteX38" fmla="*/ 2679620 w 4933949"/>
              <a:gd name="connsiteY38" fmla="*/ 2558999 h 7196138"/>
              <a:gd name="connsiteX39" fmla="*/ 2665125 w 4933949"/>
              <a:gd name="connsiteY39" fmla="*/ 2598530 h 7196138"/>
              <a:gd name="connsiteX40" fmla="*/ 2625594 w 4933949"/>
              <a:gd name="connsiteY40" fmla="*/ 2613025 h 7196138"/>
              <a:gd name="connsiteX41" fmla="*/ 2290893 w 4933949"/>
              <a:gd name="connsiteY41" fmla="*/ 2613025 h 7196138"/>
              <a:gd name="connsiteX42" fmla="*/ 2250044 w 4933949"/>
              <a:gd name="connsiteY42" fmla="*/ 2598530 h 7196138"/>
              <a:gd name="connsiteX43" fmla="*/ 2235549 w 4933949"/>
              <a:gd name="connsiteY43" fmla="*/ 2558999 h 7196138"/>
              <a:gd name="connsiteX44" fmla="*/ 2235549 w 4933949"/>
              <a:gd name="connsiteY44" fmla="*/ 329429 h 7196138"/>
              <a:gd name="connsiteX45" fmla="*/ 1842869 w 4933949"/>
              <a:gd name="connsiteY45" fmla="*/ 329429 h 7196138"/>
              <a:gd name="connsiteX46" fmla="*/ 1802020 w 4933949"/>
              <a:gd name="connsiteY46" fmla="*/ 314934 h 7196138"/>
              <a:gd name="connsiteX47" fmla="*/ 1787525 w 4933949"/>
              <a:gd name="connsiteY47" fmla="*/ 275402 h 7196138"/>
              <a:gd name="connsiteX48" fmla="*/ 1787525 w 4933949"/>
              <a:gd name="connsiteY48" fmla="*/ 54027 h 7196138"/>
              <a:gd name="connsiteX49" fmla="*/ 1802020 w 4933949"/>
              <a:gd name="connsiteY49" fmla="*/ 14495 h 7196138"/>
              <a:gd name="connsiteX50" fmla="*/ 1842869 w 4933949"/>
              <a:gd name="connsiteY50" fmla="*/ 0 h 7196138"/>
              <a:gd name="connsiteX51" fmla="*/ 317544 w 4933949"/>
              <a:gd name="connsiteY51" fmla="*/ 0 h 7196138"/>
              <a:gd name="connsiteX52" fmla="*/ 972349 w 4933949"/>
              <a:gd name="connsiteY52" fmla="*/ 0 h 7196138"/>
              <a:gd name="connsiteX53" fmla="*/ 1476958 w 4933949"/>
              <a:gd name="connsiteY53" fmla="*/ 179209 h 7196138"/>
              <a:gd name="connsiteX54" fmla="*/ 1619250 w 4933949"/>
              <a:gd name="connsiteY54" fmla="*/ 1025181 h 7196138"/>
              <a:gd name="connsiteX55" fmla="*/ 1619250 w 4933949"/>
              <a:gd name="connsiteY55" fmla="*/ 1587845 h 7196138"/>
              <a:gd name="connsiteX56" fmla="*/ 1476958 w 4933949"/>
              <a:gd name="connsiteY56" fmla="*/ 2433816 h 7196138"/>
              <a:gd name="connsiteX57" fmla="*/ 972349 w 4933949"/>
              <a:gd name="connsiteY57" fmla="*/ 2613025 h 7196138"/>
              <a:gd name="connsiteX58" fmla="*/ 317544 w 4933949"/>
              <a:gd name="connsiteY58" fmla="*/ 2613025 h 7196138"/>
              <a:gd name="connsiteX59" fmla="*/ 278018 w 4933949"/>
              <a:gd name="connsiteY59" fmla="*/ 2598530 h 7196138"/>
              <a:gd name="connsiteX60" fmla="*/ 263525 w 4933949"/>
              <a:gd name="connsiteY60" fmla="*/ 2558999 h 7196138"/>
              <a:gd name="connsiteX61" fmla="*/ 263525 w 4933949"/>
              <a:gd name="connsiteY61" fmla="*/ 54027 h 7196138"/>
              <a:gd name="connsiteX62" fmla="*/ 278018 w 4933949"/>
              <a:gd name="connsiteY62" fmla="*/ 14495 h 7196138"/>
              <a:gd name="connsiteX63" fmla="*/ 317544 w 4933949"/>
              <a:gd name="connsiteY63" fmla="*/ 0 h 7196138"/>
              <a:gd name="connsiteX64" fmla="*/ 3359213 w 4933949"/>
              <a:gd name="connsiteY64" fmla="*/ 0 h 7196138"/>
              <a:gd name="connsiteX65" fmla="*/ 3664991 w 4933949"/>
              <a:gd name="connsiteY65" fmla="*/ 0 h 7196138"/>
              <a:gd name="connsiteX66" fmla="*/ 3705850 w 4933949"/>
              <a:gd name="connsiteY66" fmla="*/ 14497 h 7196138"/>
              <a:gd name="connsiteX67" fmla="*/ 3720348 w 4933949"/>
              <a:gd name="connsiteY67" fmla="*/ 54035 h 7196138"/>
              <a:gd name="connsiteX68" fmla="*/ 3720348 w 4933949"/>
              <a:gd name="connsiteY68" fmla="*/ 1903062 h 7196138"/>
              <a:gd name="connsiteX69" fmla="*/ 3798111 w 4933949"/>
              <a:gd name="connsiteY69" fmla="*/ 2279984 h 7196138"/>
              <a:gd name="connsiteX70" fmla="*/ 3976042 w 4933949"/>
              <a:gd name="connsiteY70" fmla="*/ 2349833 h 7196138"/>
              <a:gd name="connsiteX71" fmla="*/ 4163200 w 4933949"/>
              <a:gd name="connsiteY71" fmla="*/ 2279984 h 7196138"/>
              <a:gd name="connsiteX72" fmla="*/ 4240963 w 4933949"/>
              <a:gd name="connsiteY72" fmla="*/ 1903062 h 7196138"/>
              <a:gd name="connsiteX73" fmla="*/ 4240963 w 4933949"/>
              <a:gd name="connsiteY73" fmla="*/ 54035 h 7196138"/>
              <a:gd name="connsiteX74" fmla="*/ 4255461 w 4933949"/>
              <a:gd name="connsiteY74" fmla="*/ 14497 h 7196138"/>
              <a:gd name="connsiteX75" fmla="*/ 4295001 w 4933949"/>
              <a:gd name="connsiteY75" fmla="*/ 0 h 7196138"/>
              <a:gd name="connsiteX76" fmla="*/ 4602098 w 4933949"/>
              <a:gd name="connsiteY76" fmla="*/ 0 h 7196138"/>
              <a:gd name="connsiteX77" fmla="*/ 4641638 w 4933949"/>
              <a:gd name="connsiteY77" fmla="*/ 14497 h 7196138"/>
              <a:gd name="connsiteX78" fmla="*/ 4656136 w 4933949"/>
              <a:gd name="connsiteY78" fmla="*/ 54035 h 7196138"/>
              <a:gd name="connsiteX79" fmla="*/ 4656136 w 4933949"/>
              <a:gd name="connsiteY79" fmla="*/ 1904380 h 7196138"/>
              <a:gd name="connsiteX80" fmla="*/ 4507201 w 4933949"/>
              <a:gd name="connsiteY80" fmla="*/ 2459220 h 7196138"/>
              <a:gd name="connsiteX81" fmla="*/ 3981314 w 4933949"/>
              <a:gd name="connsiteY81" fmla="*/ 2646363 h 7196138"/>
              <a:gd name="connsiteX82" fmla="*/ 3447519 w 4933949"/>
              <a:gd name="connsiteY82" fmla="*/ 2459220 h 7196138"/>
              <a:gd name="connsiteX83" fmla="*/ 3305174 w 4933949"/>
              <a:gd name="connsiteY83" fmla="*/ 1904380 h 7196138"/>
              <a:gd name="connsiteX84" fmla="*/ 3305174 w 4933949"/>
              <a:gd name="connsiteY84" fmla="*/ 54035 h 7196138"/>
              <a:gd name="connsiteX85" fmla="*/ 3318354 w 4933949"/>
              <a:gd name="connsiteY85" fmla="*/ 14497 h 7196138"/>
              <a:gd name="connsiteX86" fmla="*/ 3359213 w 4933949"/>
              <a:gd name="connsiteY86" fmla="*/ 0 h 7196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933949" h="7196138">
                <a:moveTo>
                  <a:pt x="1050029" y="6094413"/>
                </a:moveTo>
                <a:cubicBezTo>
                  <a:pt x="2409664" y="6623557"/>
                  <a:pt x="2524285" y="6623557"/>
                  <a:pt x="3883920" y="6094413"/>
                </a:cubicBezTo>
                <a:cubicBezTo>
                  <a:pt x="3883920" y="6094413"/>
                  <a:pt x="3883920" y="6094413"/>
                  <a:pt x="4933949" y="6645934"/>
                </a:cubicBezTo>
                <a:cubicBezTo>
                  <a:pt x="4933949" y="6645934"/>
                  <a:pt x="4933949" y="6645934"/>
                  <a:pt x="3883920" y="7196138"/>
                </a:cubicBezTo>
                <a:cubicBezTo>
                  <a:pt x="2524285" y="6668311"/>
                  <a:pt x="2409664" y="6668311"/>
                  <a:pt x="1050029" y="7196138"/>
                </a:cubicBezTo>
                <a:cubicBezTo>
                  <a:pt x="1050029" y="7196138"/>
                  <a:pt x="1050029" y="7196138"/>
                  <a:pt x="0" y="6645934"/>
                </a:cubicBezTo>
                <a:cubicBezTo>
                  <a:pt x="0" y="6645934"/>
                  <a:pt x="0" y="6645934"/>
                  <a:pt x="1050029" y="6094413"/>
                </a:cubicBezTo>
                <a:close/>
                <a:moveTo>
                  <a:pt x="1050029" y="4730750"/>
                </a:moveTo>
                <a:cubicBezTo>
                  <a:pt x="2409664" y="5260657"/>
                  <a:pt x="2524285" y="5260657"/>
                  <a:pt x="3883920" y="4730750"/>
                </a:cubicBezTo>
                <a:cubicBezTo>
                  <a:pt x="3883920" y="4730750"/>
                  <a:pt x="3883920" y="4730750"/>
                  <a:pt x="4933949" y="5283066"/>
                </a:cubicBezTo>
                <a:cubicBezTo>
                  <a:pt x="4933949" y="5283066"/>
                  <a:pt x="4933949" y="5283066"/>
                  <a:pt x="3883920" y="5834063"/>
                </a:cubicBezTo>
                <a:cubicBezTo>
                  <a:pt x="2524285" y="5305475"/>
                  <a:pt x="2409664" y="5305475"/>
                  <a:pt x="1050029" y="5834063"/>
                </a:cubicBezTo>
                <a:cubicBezTo>
                  <a:pt x="1050029" y="5834063"/>
                  <a:pt x="1050029" y="5834063"/>
                  <a:pt x="0" y="5283066"/>
                </a:cubicBezTo>
                <a:cubicBezTo>
                  <a:pt x="0" y="5283066"/>
                  <a:pt x="0" y="5283066"/>
                  <a:pt x="1050029" y="4730750"/>
                </a:cubicBezTo>
                <a:close/>
                <a:moveTo>
                  <a:pt x="1050029" y="3368675"/>
                </a:moveTo>
                <a:cubicBezTo>
                  <a:pt x="2409664" y="3898582"/>
                  <a:pt x="2524285" y="3898582"/>
                  <a:pt x="3883920" y="3368675"/>
                </a:cubicBezTo>
                <a:cubicBezTo>
                  <a:pt x="3883920" y="3368675"/>
                  <a:pt x="3883920" y="3368675"/>
                  <a:pt x="4933949" y="3920991"/>
                </a:cubicBezTo>
                <a:cubicBezTo>
                  <a:pt x="4933949" y="3920991"/>
                  <a:pt x="4933949" y="3920991"/>
                  <a:pt x="3883920" y="4471988"/>
                </a:cubicBezTo>
                <a:cubicBezTo>
                  <a:pt x="2524285" y="3943400"/>
                  <a:pt x="2409664" y="3943400"/>
                  <a:pt x="1050029" y="4471988"/>
                </a:cubicBezTo>
                <a:cubicBezTo>
                  <a:pt x="1050029" y="4471988"/>
                  <a:pt x="1050029" y="4471988"/>
                  <a:pt x="0" y="3920991"/>
                </a:cubicBezTo>
                <a:cubicBezTo>
                  <a:pt x="0" y="3920991"/>
                  <a:pt x="0" y="3920991"/>
                  <a:pt x="1050029" y="3368675"/>
                </a:cubicBezTo>
                <a:close/>
                <a:moveTo>
                  <a:pt x="678543" y="305710"/>
                </a:moveTo>
                <a:lnTo>
                  <a:pt x="678543" y="2307316"/>
                </a:lnTo>
                <a:cubicBezTo>
                  <a:pt x="678543" y="2307316"/>
                  <a:pt x="678543" y="2307316"/>
                  <a:pt x="909109" y="2307316"/>
                </a:cubicBezTo>
                <a:cubicBezTo>
                  <a:pt x="1011875" y="2307316"/>
                  <a:pt x="1072481" y="2291503"/>
                  <a:pt x="1119911" y="2234842"/>
                </a:cubicBezTo>
                <a:cubicBezTo>
                  <a:pt x="1192375" y="2147873"/>
                  <a:pt x="1198962" y="1971299"/>
                  <a:pt x="1198962" y="1615517"/>
                </a:cubicBezTo>
                <a:cubicBezTo>
                  <a:pt x="1198962" y="1615517"/>
                  <a:pt x="1198962" y="1615517"/>
                  <a:pt x="1198962" y="996191"/>
                </a:cubicBezTo>
                <a:cubicBezTo>
                  <a:pt x="1198962" y="641727"/>
                  <a:pt x="1192375" y="465153"/>
                  <a:pt x="1119911" y="378184"/>
                </a:cubicBezTo>
                <a:cubicBezTo>
                  <a:pt x="1072481" y="321522"/>
                  <a:pt x="1011875" y="305710"/>
                  <a:pt x="909109" y="305710"/>
                </a:cubicBezTo>
                <a:cubicBezTo>
                  <a:pt x="909109" y="305710"/>
                  <a:pt x="909109" y="305710"/>
                  <a:pt x="678543" y="305710"/>
                </a:cubicBezTo>
                <a:close/>
                <a:moveTo>
                  <a:pt x="1842869" y="0"/>
                </a:moveTo>
                <a:cubicBezTo>
                  <a:pt x="1842869" y="0"/>
                  <a:pt x="1842869" y="0"/>
                  <a:pt x="3073618" y="0"/>
                </a:cubicBezTo>
                <a:cubicBezTo>
                  <a:pt x="3093384" y="0"/>
                  <a:pt x="3105243" y="5271"/>
                  <a:pt x="3114467" y="14495"/>
                </a:cubicBezTo>
                <a:cubicBezTo>
                  <a:pt x="3122374" y="22401"/>
                  <a:pt x="3128962" y="34261"/>
                  <a:pt x="3128962" y="54027"/>
                </a:cubicBezTo>
                <a:cubicBezTo>
                  <a:pt x="3128962" y="54027"/>
                  <a:pt x="3128962" y="54027"/>
                  <a:pt x="3128962" y="275402"/>
                </a:cubicBezTo>
                <a:cubicBezTo>
                  <a:pt x="3128962" y="295168"/>
                  <a:pt x="3122374" y="307028"/>
                  <a:pt x="3114467" y="314934"/>
                </a:cubicBezTo>
                <a:cubicBezTo>
                  <a:pt x="3105243" y="324158"/>
                  <a:pt x="3093384" y="329429"/>
                  <a:pt x="3073618" y="329429"/>
                </a:cubicBezTo>
                <a:cubicBezTo>
                  <a:pt x="3073618" y="329429"/>
                  <a:pt x="3073618" y="329429"/>
                  <a:pt x="2679620" y="329429"/>
                </a:cubicBezTo>
                <a:cubicBezTo>
                  <a:pt x="2679620" y="329429"/>
                  <a:pt x="2679620" y="329429"/>
                  <a:pt x="2679620" y="2558999"/>
                </a:cubicBezTo>
                <a:cubicBezTo>
                  <a:pt x="2679620" y="2578765"/>
                  <a:pt x="2674349" y="2590624"/>
                  <a:pt x="2665125" y="2598530"/>
                </a:cubicBezTo>
                <a:cubicBezTo>
                  <a:pt x="2657219" y="2607755"/>
                  <a:pt x="2645360" y="2613025"/>
                  <a:pt x="2625594" y="2613025"/>
                </a:cubicBezTo>
                <a:cubicBezTo>
                  <a:pt x="2625594" y="2613025"/>
                  <a:pt x="2625594" y="2613025"/>
                  <a:pt x="2290893" y="2613025"/>
                </a:cubicBezTo>
                <a:cubicBezTo>
                  <a:pt x="2271128" y="2613025"/>
                  <a:pt x="2259268" y="2607755"/>
                  <a:pt x="2250044" y="2598530"/>
                </a:cubicBezTo>
                <a:cubicBezTo>
                  <a:pt x="2240820" y="2590624"/>
                  <a:pt x="2235549" y="2578765"/>
                  <a:pt x="2235549" y="2558999"/>
                </a:cubicBezTo>
                <a:cubicBezTo>
                  <a:pt x="2235549" y="2558999"/>
                  <a:pt x="2235549" y="2558999"/>
                  <a:pt x="2235549" y="329429"/>
                </a:cubicBezTo>
                <a:cubicBezTo>
                  <a:pt x="2235549" y="329429"/>
                  <a:pt x="2235549" y="329429"/>
                  <a:pt x="1842869" y="329429"/>
                </a:cubicBezTo>
                <a:cubicBezTo>
                  <a:pt x="1823104" y="329429"/>
                  <a:pt x="1811244" y="324158"/>
                  <a:pt x="1802020" y="314934"/>
                </a:cubicBezTo>
                <a:cubicBezTo>
                  <a:pt x="1792796" y="307028"/>
                  <a:pt x="1787525" y="295168"/>
                  <a:pt x="1787525" y="275402"/>
                </a:cubicBezTo>
                <a:cubicBezTo>
                  <a:pt x="1787525" y="275402"/>
                  <a:pt x="1787525" y="275402"/>
                  <a:pt x="1787525" y="54027"/>
                </a:cubicBezTo>
                <a:cubicBezTo>
                  <a:pt x="1787525" y="34261"/>
                  <a:pt x="1792796" y="22401"/>
                  <a:pt x="1802020" y="14495"/>
                </a:cubicBezTo>
                <a:cubicBezTo>
                  <a:pt x="1811244" y="5271"/>
                  <a:pt x="1823104" y="0"/>
                  <a:pt x="1842869" y="0"/>
                </a:cubicBezTo>
                <a:close/>
                <a:moveTo>
                  <a:pt x="317544" y="0"/>
                </a:moveTo>
                <a:cubicBezTo>
                  <a:pt x="317544" y="0"/>
                  <a:pt x="317544" y="0"/>
                  <a:pt x="972349" y="0"/>
                </a:cubicBezTo>
                <a:cubicBezTo>
                  <a:pt x="1226630" y="0"/>
                  <a:pt x="1382097" y="57980"/>
                  <a:pt x="1476958" y="179209"/>
                </a:cubicBezTo>
                <a:cubicBezTo>
                  <a:pt x="1615298" y="345241"/>
                  <a:pt x="1619250" y="614055"/>
                  <a:pt x="1619250" y="1025181"/>
                </a:cubicBezTo>
                <a:cubicBezTo>
                  <a:pt x="1619250" y="1025181"/>
                  <a:pt x="1619250" y="1025181"/>
                  <a:pt x="1619250" y="1587845"/>
                </a:cubicBezTo>
                <a:cubicBezTo>
                  <a:pt x="1619250" y="1998971"/>
                  <a:pt x="1615298" y="2267784"/>
                  <a:pt x="1476958" y="2433816"/>
                </a:cubicBezTo>
                <a:cubicBezTo>
                  <a:pt x="1382097" y="2555046"/>
                  <a:pt x="1226630" y="2613025"/>
                  <a:pt x="972349" y="2613025"/>
                </a:cubicBezTo>
                <a:cubicBezTo>
                  <a:pt x="972349" y="2613025"/>
                  <a:pt x="972349" y="2613025"/>
                  <a:pt x="317544" y="2613025"/>
                </a:cubicBezTo>
                <a:cubicBezTo>
                  <a:pt x="297781" y="2613025"/>
                  <a:pt x="285923" y="2607755"/>
                  <a:pt x="278018" y="2598530"/>
                </a:cubicBezTo>
                <a:cubicBezTo>
                  <a:pt x="268795" y="2590624"/>
                  <a:pt x="263525" y="2578765"/>
                  <a:pt x="263525" y="2558999"/>
                </a:cubicBezTo>
                <a:cubicBezTo>
                  <a:pt x="263525" y="2558999"/>
                  <a:pt x="263525" y="2558999"/>
                  <a:pt x="263525" y="54027"/>
                </a:cubicBezTo>
                <a:cubicBezTo>
                  <a:pt x="263525" y="34261"/>
                  <a:pt x="268795" y="22401"/>
                  <a:pt x="278018" y="14495"/>
                </a:cubicBezTo>
                <a:cubicBezTo>
                  <a:pt x="285923" y="5271"/>
                  <a:pt x="297781" y="0"/>
                  <a:pt x="317544" y="0"/>
                </a:cubicBezTo>
                <a:close/>
                <a:moveTo>
                  <a:pt x="3359213" y="0"/>
                </a:moveTo>
                <a:cubicBezTo>
                  <a:pt x="3359213" y="0"/>
                  <a:pt x="3359213" y="0"/>
                  <a:pt x="3664991" y="0"/>
                </a:cubicBezTo>
                <a:cubicBezTo>
                  <a:pt x="3684762" y="0"/>
                  <a:pt x="3696624" y="5272"/>
                  <a:pt x="3705850" y="14497"/>
                </a:cubicBezTo>
                <a:cubicBezTo>
                  <a:pt x="3715076" y="22405"/>
                  <a:pt x="3720348" y="34266"/>
                  <a:pt x="3720348" y="54035"/>
                </a:cubicBezTo>
                <a:cubicBezTo>
                  <a:pt x="3720348" y="54035"/>
                  <a:pt x="3720348" y="54035"/>
                  <a:pt x="3720348" y="1903062"/>
                </a:cubicBezTo>
                <a:cubicBezTo>
                  <a:pt x="3720348" y="2103384"/>
                  <a:pt x="3738800" y="2214089"/>
                  <a:pt x="3798111" y="2279984"/>
                </a:cubicBezTo>
                <a:cubicBezTo>
                  <a:pt x="3841605" y="2328747"/>
                  <a:pt x="3899597" y="2349833"/>
                  <a:pt x="3976042" y="2349833"/>
                </a:cubicBezTo>
                <a:cubicBezTo>
                  <a:pt x="4060395" y="2349833"/>
                  <a:pt x="4121023" y="2326111"/>
                  <a:pt x="4163200" y="2279984"/>
                </a:cubicBezTo>
                <a:cubicBezTo>
                  <a:pt x="4226464" y="2211453"/>
                  <a:pt x="4240963" y="2096795"/>
                  <a:pt x="4240963" y="1903062"/>
                </a:cubicBezTo>
                <a:cubicBezTo>
                  <a:pt x="4240963" y="1903062"/>
                  <a:pt x="4240963" y="1903062"/>
                  <a:pt x="4240963" y="54035"/>
                </a:cubicBezTo>
                <a:cubicBezTo>
                  <a:pt x="4240963" y="34266"/>
                  <a:pt x="4246235" y="22405"/>
                  <a:pt x="4255461" y="14497"/>
                </a:cubicBezTo>
                <a:cubicBezTo>
                  <a:pt x="4263369" y="5272"/>
                  <a:pt x="4276549" y="0"/>
                  <a:pt x="4295001" y="0"/>
                </a:cubicBezTo>
                <a:cubicBezTo>
                  <a:pt x="4295001" y="0"/>
                  <a:pt x="4295001" y="0"/>
                  <a:pt x="4602098" y="0"/>
                </a:cubicBezTo>
                <a:cubicBezTo>
                  <a:pt x="4621868" y="0"/>
                  <a:pt x="4633730" y="5272"/>
                  <a:pt x="4641638" y="14497"/>
                </a:cubicBezTo>
                <a:cubicBezTo>
                  <a:pt x="4650864" y="22405"/>
                  <a:pt x="4656136" y="34266"/>
                  <a:pt x="4656136" y="54035"/>
                </a:cubicBezTo>
                <a:cubicBezTo>
                  <a:pt x="4656136" y="54035"/>
                  <a:pt x="4656136" y="54035"/>
                  <a:pt x="4656136" y="1904380"/>
                </a:cubicBezTo>
                <a:cubicBezTo>
                  <a:pt x="4656136" y="2153465"/>
                  <a:pt x="4627140" y="2319521"/>
                  <a:pt x="4507201" y="2459220"/>
                </a:cubicBezTo>
                <a:cubicBezTo>
                  <a:pt x="4405714" y="2577832"/>
                  <a:pt x="4239645" y="2646363"/>
                  <a:pt x="3981314" y="2646363"/>
                </a:cubicBezTo>
                <a:cubicBezTo>
                  <a:pt x="3726938" y="2646363"/>
                  <a:pt x="3559550" y="2581786"/>
                  <a:pt x="3447519" y="2459220"/>
                </a:cubicBezTo>
                <a:cubicBezTo>
                  <a:pt x="3340760" y="2341926"/>
                  <a:pt x="3305174" y="2173233"/>
                  <a:pt x="3305174" y="1904380"/>
                </a:cubicBezTo>
                <a:cubicBezTo>
                  <a:pt x="3305174" y="1904380"/>
                  <a:pt x="3305174" y="1904380"/>
                  <a:pt x="3305174" y="54035"/>
                </a:cubicBezTo>
                <a:cubicBezTo>
                  <a:pt x="3305174" y="34266"/>
                  <a:pt x="3310446" y="22405"/>
                  <a:pt x="3318354" y="14497"/>
                </a:cubicBezTo>
                <a:cubicBezTo>
                  <a:pt x="3327580" y="5272"/>
                  <a:pt x="3339442" y="0"/>
                  <a:pt x="3359213" y="0"/>
                </a:cubicBezTo>
                <a:close/>
              </a:path>
            </a:pathLst>
          </a:custGeom>
          <a:solidFill>
            <a:srgbClr val="FFFFFF"/>
          </a:solidFill>
          <a:ln>
            <a:noFill/>
          </a:ln>
        </p:spPr>
        <p:txBody>
          <a:bodyPr vert="horz" wrap="square" lIns="91428" tIns="45714" rIns="91428" bIns="45714" numCol="1" anchor="t" anchorCtr="0" compatLnSpc="1">
            <a:prstTxWarp prst="textNoShape">
              <a:avLst/>
            </a:prstTxWarp>
            <a:noAutofit/>
          </a:bodyPr>
          <a:lstStyle/>
          <a:p>
            <a:endParaRPr lang="da-DK" sz="1800"/>
          </a:p>
        </p:txBody>
      </p:sp>
    </p:spTree>
    <p:extLst>
      <p:ext uri="{BB962C8B-B14F-4D97-AF65-F5344CB8AC3E}">
        <p14:creationId xmlns:p14="http://schemas.microsoft.com/office/powerpoint/2010/main" val="250551670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Front/Pause B">
    <p:bg>
      <p:bgRef idx="1001">
        <a:schemeClr val="bg1"/>
      </p:bgRef>
    </p:bg>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A3420087-96DF-432F-B192-585D42BF6A4E}"/>
              </a:ext>
            </a:extLst>
          </p:cNvPr>
          <p:cNvSpPr/>
          <p:nvPr userDrawn="1"/>
        </p:nvSpPr>
        <p:spPr bwMode="auto">
          <a:xfrm>
            <a:off x="0" y="0"/>
            <a:ext cx="12193200" cy="6861600"/>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309" rtl="0" eaLnBrk="1" fontAlgn="base" latinLnBrk="0" hangingPunct="1">
              <a:lnSpc>
                <a:spcPct val="100000"/>
              </a:lnSpc>
              <a:spcBef>
                <a:spcPct val="50000"/>
              </a:spcBef>
              <a:spcAft>
                <a:spcPct val="0"/>
              </a:spcAft>
              <a:buClrTx/>
              <a:buSzTx/>
              <a:buFontTx/>
              <a:buNone/>
              <a:tabLst/>
            </a:pPr>
            <a:endParaRPr kumimoji="0" lang="da-DK" sz="1600" b="0" i="0" u="none" strike="noStrike" cap="none" normalizeH="0" baseline="0" dirty="0">
              <a:ln>
                <a:noFill/>
              </a:ln>
              <a:solidFill>
                <a:schemeClr val="tx1"/>
              </a:solidFill>
              <a:effectLst/>
              <a:latin typeface="Arial" panose="020B0604020202020204" pitchFamily="34" charset="0"/>
              <a:ea typeface="ＭＳ Ｐゴシック" pitchFamily="-80" charset="-128"/>
            </a:endParaRPr>
          </a:p>
        </p:txBody>
      </p:sp>
      <p:sp>
        <p:nvSpPr>
          <p:cNvPr id="13" name="Logo color">
            <a:extLst>
              <a:ext uri="{FF2B5EF4-FFF2-40B4-BE49-F238E27FC236}">
                <a16:creationId xmlns:a16="http://schemas.microsoft.com/office/drawing/2014/main" id="{09BBEE10-6A59-474F-B766-7643F97F869F}"/>
              </a:ext>
            </a:extLst>
          </p:cNvPr>
          <p:cNvSpPr>
            <a:spLocks noChangeAspect="1"/>
          </p:cNvSpPr>
          <p:nvPr userDrawn="1">
            <p:custDataLst>
              <p:tags r:id="rId1"/>
            </p:custDataLst>
          </p:nvPr>
        </p:nvSpPr>
        <p:spPr bwMode="auto">
          <a:xfrm>
            <a:off x="4870540" y="1651373"/>
            <a:ext cx="2388323" cy="3483354"/>
          </a:xfrm>
          <a:custGeom>
            <a:avLst/>
            <a:gdLst>
              <a:gd name="connsiteX0" fmla="*/ 1050029 w 4933949"/>
              <a:gd name="connsiteY0" fmla="*/ 6094413 h 7196138"/>
              <a:gd name="connsiteX1" fmla="*/ 3883920 w 4933949"/>
              <a:gd name="connsiteY1" fmla="*/ 6094413 h 7196138"/>
              <a:gd name="connsiteX2" fmla="*/ 4933949 w 4933949"/>
              <a:gd name="connsiteY2" fmla="*/ 6645934 h 7196138"/>
              <a:gd name="connsiteX3" fmla="*/ 3883920 w 4933949"/>
              <a:gd name="connsiteY3" fmla="*/ 7196138 h 7196138"/>
              <a:gd name="connsiteX4" fmla="*/ 1050029 w 4933949"/>
              <a:gd name="connsiteY4" fmla="*/ 7196138 h 7196138"/>
              <a:gd name="connsiteX5" fmla="*/ 0 w 4933949"/>
              <a:gd name="connsiteY5" fmla="*/ 6645934 h 7196138"/>
              <a:gd name="connsiteX6" fmla="*/ 1050029 w 4933949"/>
              <a:gd name="connsiteY6" fmla="*/ 6094413 h 7196138"/>
              <a:gd name="connsiteX7" fmla="*/ 1050029 w 4933949"/>
              <a:gd name="connsiteY7" fmla="*/ 4730750 h 7196138"/>
              <a:gd name="connsiteX8" fmla="*/ 3883920 w 4933949"/>
              <a:gd name="connsiteY8" fmla="*/ 4730750 h 7196138"/>
              <a:gd name="connsiteX9" fmla="*/ 4933949 w 4933949"/>
              <a:gd name="connsiteY9" fmla="*/ 5283066 h 7196138"/>
              <a:gd name="connsiteX10" fmla="*/ 3883920 w 4933949"/>
              <a:gd name="connsiteY10" fmla="*/ 5834063 h 7196138"/>
              <a:gd name="connsiteX11" fmla="*/ 1050029 w 4933949"/>
              <a:gd name="connsiteY11" fmla="*/ 5834063 h 7196138"/>
              <a:gd name="connsiteX12" fmla="*/ 0 w 4933949"/>
              <a:gd name="connsiteY12" fmla="*/ 5283066 h 7196138"/>
              <a:gd name="connsiteX13" fmla="*/ 1050029 w 4933949"/>
              <a:gd name="connsiteY13" fmla="*/ 4730750 h 7196138"/>
              <a:gd name="connsiteX14" fmla="*/ 1050029 w 4933949"/>
              <a:gd name="connsiteY14" fmla="*/ 3368675 h 7196138"/>
              <a:gd name="connsiteX15" fmla="*/ 3883920 w 4933949"/>
              <a:gd name="connsiteY15" fmla="*/ 3368675 h 7196138"/>
              <a:gd name="connsiteX16" fmla="*/ 4933949 w 4933949"/>
              <a:gd name="connsiteY16" fmla="*/ 3920991 h 7196138"/>
              <a:gd name="connsiteX17" fmla="*/ 3883920 w 4933949"/>
              <a:gd name="connsiteY17" fmla="*/ 4471988 h 7196138"/>
              <a:gd name="connsiteX18" fmla="*/ 1050029 w 4933949"/>
              <a:gd name="connsiteY18" fmla="*/ 4471988 h 7196138"/>
              <a:gd name="connsiteX19" fmla="*/ 0 w 4933949"/>
              <a:gd name="connsiteY19" fmla="*/ 3920991 h 7196138"/>
              <a:gd name="connsiteX20" fmla="*/ 1050029 w 4933949"/>
              <a:gd name="connsiteY20" fmla="*/ 3368675 h 7196138"/>
              <a:gd name="connsiteX21" fmla="*/ 678543 w 4933949"/>
              <a:gd name="connsiteY21" fmla="*/ 305710 h 7196138"/>
              <a:gd name="connsiteX22" fmla="*/ 678543 w 4933949"/>
              <a:gd name="connsiteY22" fmla="*/ 2307316 h 7196138"/>
              <a:gd name="connsiteX23" fmla="*/ 909109 w 4933949"/>
              <a:gd name="connsiteY23" fmla="*/ 2307316 h 7196138"/>
              <a:gd name="connsiteX24" fmla="*/ 1119911 w 4933949"/>
              <a:gd name="connsiteY24" fmla="*/ 2234842 h 7196138"/>
              <a:gd name="connsiteX25" fmla="*/ 1198962 w 4933949"/>
              <a:gd name="connsiteY25" fmla="*/ 1615517 h 7196138"/>
              <a:gd name="connsiteX26" fmla="*/ 1198962 w 4933949"/>
              <a:gd name="connsiteY26" fmla="*/ 996191 h 7196138"/>
              <a:gd name="connsiteX27" fmla="*/ 1119911 w 4933949"/>
              <a:gd name="connsiteY27" fmla="*/ 378184 h 7196138"/>
              <a:gd name="connsiteX28" fmla="*/ 909109 w 4933949"/>
              <a:gd name="connsiteY28" fmla="*/ 305710 h 7196138"/>
              <a:gd name="connsiteX29" fmla="*/ 678543 w 4933949"/>
              <a:gd name="connsiteY29" fmla="*/ 305710 h 7196138"/>
              <a:gd name="connsiteX30" fmla="*/ 1842869 w 4933949"/>
              <a:gd name="connsiteY30" fmla="*/ 0 h 7196138"/>
              <a:gd name="connsiteX31" fmla="*/ 3073618 w 4933949"/>
              <a:gd name="connsiteY31" fmla="*/ 0 h 7196138"/>
              <a:gd name="connsiteX32" fmla="*/ 3114467 w 4933949"/>
              <a:gd name="connsiteY32" fmla="*/ 14495 h 7196138"/>
              <a:gd name="connsiteX33" fmla="*/ 3128962 w 4933949"/>
              <a:gd name="connsiteY33" fmla="*/ 54027 h 7196138"/>
              <a:gd name="connsiteX34" fmla="*/ 3128962 w 4933949"/>
              <a:gd name="connsiteY34" fmla="*/ 275402 h 7196138"/>
              <a:gd name="connsiteX35" fmla="*/ 3114467 w 4933949"/>
              <a:gd name="connsiteY35" fmla="*/ 314934 h 7196138"/>
              <a:gd name="connsiteX36" fmla="*/ 3073618 w 4933949"/>
              <a:gd name="connsiteY36" fmla="*/ 329429 h 7196138"/>
              <a:gd name="connsiteX37" fmla="*/ 2679620 w 4933949"/>
              <a:gd name="connsiteY37" fmla="*/ 329429 h 7196138"/>
              <a:gd name="connsiteX38" fmla="*/ 2679620 w 4933949"/>
              <a:gd name="connsiteY38" fmla="*/ 2558999 h 7196138"/>
              <a:gd name="connsiteX39" fmla="*/ 2665125 w 4933949"/>
              <a:gd name="connsiteY39" fmla="*/ 2598530 h 7196138"/>
              <a:gd name="connsiteX40" fmla="*/ 2625594 w 4933949"/>
              <a:gd name="connsiteY40" fmla="*/ 2613025 h 7196138"/>
              <a:gd name="connsiteX41" fmla="*/ 2290893 w 4933949"/>
              <a:gd name="connsiteY41" fmla="*/ 2613025 h 7196138"/>
              <a:gd name="connsiteX42" fmla="*/ 2250044 w 4933949"/>
              <a:gd name="connsiteY42" fmla="*/ 2598530 h 7196138"/>
              <a:gd name="connsiteX43" fmla="*/ 2235549 w 4933949"/>
              <a:gd name="connsiteY43" fmla="*/ 2558999 h 7196138"/>
              <a:gd name="connsiteX44" fmla="*/ 2235549 w 4933949"/>
              <a:gd name="connsiteY44" fmla="*/ 329429 h 7196138"/>
              <a:gd name="connsiteX45" fmla="*/ 1842869 w 4933949"/>
              <a:gd name="connsiteY45" fmla="*/ 329429 h 7196138"/>
              <a:gd name="connsiteX46" fmla="*/ 1802020 w 4933949"/>
              <a:gd name="connsiteY46" fmla="*/ 314934 h 7196138"/>
              <a:gd name="connsiteX47" fmla="*/ 1787525 w 4933949"/>
              <a:gd name="connsiteY47" fmla="*/ 275402 h 7196138"/>
              <a:gd name="connsiteX48" fmla="*/ 1787525 w 4933949"/>
              <a:gd name="connsiteY48" fmla="*/ 54027 h 7196138"/>
              <a:gd name="connsiteX49" fmla="*/ 1802020 w 4933949"/>
              <a:gd name="connsiteY49" fmla="*/ 14495 h 7196138"/>
              <a:gd name="connsiteX50" fmla="*/ 1842869 w 4933949"/>
              <a:gd name="connsiteY50" fmla="*/ 0 h 7196138"/>
              <a:gd name="connsiteX51" fmla="*/ 317544 w 4933949"/>
              <a:gd name="connsiteY51" fmla="*/ 0 h 7196138"/>
              <a:gd name="connsiteX52" fmla="*/ 972349 w 4933949"/>
              <a:gd name="connsiteY52" fmla="*/ 0 h 7196138"/>
              <a:gd name="connsiteX53" fmla="*/ 1476958 w 4933949"/>
              <a:gd name="connsiteY53" fmla="*/ 179209 h 7196138"/>
              <a:gd name="connsiteX54" fmla="*/ 1619250 w 4933949"/>
              <a:gd name="connsiteY54" fmla="*/ 1025181 h 7196138"/>
              <a:gd name="connsiteX55" fmla="*/ 1619250 w 4933949"/>
              <a:gd name="connsiteY55" fmla="*/ 1587845 h 7196138"/>
              <a:gd name="connsiteX56" fmla="*/ 1476958 w 4933949"/>
              <a:gd name="connsiteY56" fmla="*/ 2433816 h 7196138"/>
              <a:gd name="connsiteX57" fmla="*/ 972349 w 4933949"/>
              <a:gd name="connsiteY57" fmla="*/ 2613025 h 7196138"/>
              <a:gd name="connsiteX58" fmla="*/ 317544 w 4933949"/>
              <a:gd name="connsiteY58" fmla="*/ 2613025 h 7196138"/>
              <a:gd name="connsiteX59" fmla="*/ 278018 w 4933949"/>
              <a:gd name="connsiteY59" fmla="*/ 2598530 h 7196138"/>
              <a:gd name="connsiteX60" fmla="*/ 263525 w 4933949"/>
              <a:gd name="connsiteY60" fmla="*/ 2558999 h 7196138"/>
              <a:gd name="connsiteX61" fmla="*/ 263525 w 4933949"/>
              <a:gd name="connsiteY61" fmla="*/ 54027 h 7196138"/>
              <a:gd name="connsiteX62" fmla="*/ 278018 w 4933949"/>
              <a:gd name="connsiteY62" fmla="*/ 14495 h 7196138"/>
              <a:gd name="connsiteX63" fmla="*/ 317544 w 4933949"/>
              <a:gd name="connsiteY63" fmla="*/ 0 h 7196138"/>
              <a:gd name="connsiteX64" fmla="*/ 3359213 w 4933949"/>
              <a:gd name="connsiteY64" fmla="*/ 0 h 7196138"/>
              <a:gd name="connsiteX65" fmla="*/ 3664991 w 4933949"/>
              <a:gd name="connsiteY65" fmla="*/ 0 h 7196138"/>
              <a:gd name="connsiteX66" fmla="*/ 3705850 w 4933949"/>
              <a:gd name="connsiteY66" fmla="*/ 14497 h 7196138"/>
              <a:gd name="connsiteX67" fmla="*/ 3720348 w 4933949"/>
              <a:gd name="connsiteY67" fmla="*/ 54035 h 7196138"/>
              <a:gd name="connsiteX68" fmla="*/ 3720348 w 4933949"/>
              <a:gd name="connsiteY68" fmla="*/ 1903062 h 7196138"/>
              <a:gd name="connsiteX69" fmla="*/ 3798111 w 4933949"/>
              <a:gd name="connsiteY69" fmla="*/ 2279984 h 7196138"/>
              <a:gd name="connsiteX70" fmla="*/ 3976042 w 4933949"/>
              <a:gd name="connsiteY70" fmla="*/ 2349833 h 7196138"/>
              <a:gd name="connsiteX71" fmla="*/ 4163200 w 4933949"/>
              <a:gd name="connsiteY71" fmla="*/ 2279984 h 7196138"/>
              <a:gd name="connsiteX72" fmla="*/ 4240963 w 4933949"/>
              <a:gd name="connsiteY72" fmla="*/ 1903062 h 7196138"/>
              <a:gd name="connsiteX73" fmla="*/ 4240963 w 4933949"/>
              <a:gd name="connsiteY73" fmla="*/ 54035 h 7196138"/>
              <a:gd name="connsiteX74" fmla="*/ 4255461 w 4933949"/>
              <a:gd name="connsiteY74" fmla="*/ 14497 h 7196138"/>
              <a:gd name="connsiteX75" fmla="*/ 4295001 w 4933949"/>
              <a:gd name="connsiteY75" fmla="*/ 0 h 7196138"/>
              <a:gd name="connsiteX76" fmla="*/ 4602098 w 4933949"/>
              <a:gd name="connsiteY76" fmla="*/ 0 h 7196138"/>
              <a:gd name="connsiteX77" fmla="*/ 4641638 w 4933949"/>
              <a:gd name="connsiteY77" fmla="*/ 14497 h 7196138"/>
              <a:gd name="connsiteX78" fmla="*/ 4656136 w 4933949"/>
              <a:gd name="connsiteY78" fmla="*/ 54035 h 7196138"/>
              <a:gd name="connsiteX79" fmla="*/ 4656136 w 4933949"/>
              <a:gd name="connsiteY79" fmla="*/ 1904380 h 7196138"/>
              <a:gd name="connsiteX80" fmla="*/ 4507201 w 4933949"/>
              <a:gd name="connsiteY80" fmla="*/ 2459220 h 7196138"/>
              <a:gd name="connsiteX81" fmla="*/ 3981314 w 4933949"/>
              <a:gd name="connsiteY81" fmla="*/ 2646363 h 7196138"/>
              <a:gd name="connsiteX82" fmla="*/ 3447519 w 4933949"/>
              <a:gd name="connsiteY82" fmla="*/ 2459220 h 7196138"/>
              <a:gd name="connsiteX83" fmla="*/ 3305174 w 4933949"/>
              <a:gd name="connsiteY83" fmla="*/ 1904380 h 7196138"/>
              <a:gd name="connsiteX84" fmla="*/ 3305174 w 4933949"/>
              <a:gd name="connsiteY84" fmla="*/ 54035 h 7196138"/>
              <a:gd name="connsiteX85" fmla="*/ 3318354 w 4933949"/>
              <a:gd name="connsiteY85" fmla="*/ 14497 h 7196138"/>
              <a:gd name="connsiteX86" fmla="*/ 3359213 w 4933949"/>
              <a:gd name="connsiteY86" fmla="*/ 0 h 7196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933949" h="7196138">
                <a:moveTo>
                  <a:pt x="1050029" y="6094413"/>
                </a:moveTo>
                <a:cubicBezTo>
                  <a:pt x="2409664" y="6623557"/>
                  <a:pt x="2524285" y="6623557"/>
                  <a:pt x="3883920" y="6094413"/>
                </a:cubicBezTo>
                <a:cubicBezTo>
                  <a:pt x="3883920" y="6094413"/>
                  <a:pt x="3883920" y="6094413"/>
                  <a:pt x="4933949" y="6645934"/>
                </a:cubicBezTo>
                <a:cubicBezTo>
                  <a:pt x="4933949" y="6645934"/>
                  <a:pt x="4933949" y="6645934"/>
                  <a:pt x="3883920" y="7196138"/>
                </a:cubicBezTo>
                <a:cubicBezTo>
                  <a:pt x="2524285" y="6668311"/>
                  <a:pt x="2409664" y="6668311"/>
                  <a:pt x="1050029" y="7196138"/>
                </a:cubicBezTo>
                <a:cubicBezTo>
                  <a:pt x="1050029" y="7196138"/>
                  <a:pt x="1050029" y="7196138"/>
                  <a:pt x="0" y="6645934"/>
                </a:cubicBezTo>
                <a:cubicBezTo>
                  <a:pt x="0" y="6645934"/>
                  <a:pt x="0" y="6645934"/>
                  <a:pt x="1050029" y="6094413"/>
                </a:cubicBezTo>
                <a:close/>
                <a:moveTo>
                  <a:pt x="1050029" y="4730750"/>
                </a:moveTo>
                <a:cubicBezTo>
                  <a:pt x="2409664" y="5260657"/>
                  <a:pt x="2524285" y="5260657"/>
                  <a:pt x="3883920" y="4730750"/>
                </a:cubicBezTo>
                <a:cubicBezTo>
                  <a:pt x="3883920" y="4730750"/>
                  <a:pt x="3883920" y="4730750"/>
                  <a:pt x="4933949" y="5283066"/>
                </a:cubicBezTo>
                <a:cubicBezTo>
                  <a:pt x="4933949" y="5283066"/>
                  <a:pt x="4933949" y="5283066"/>
                  <a:pt x="3883920" y="5834063"/>
                </a:cubicBezTo>
                <a:cubicBezTo>
                  <a:pt x="2524285" y="5305475"/>
                  <a:pt x="2409664" y="5305475"/>
                  <a:pt x="1050029" y="5834063"/>
                </a:cubicBezTo>
                <a:cubicBezTo>
                  <a:pt x="1050029" y="5834063"/>
                  <a:pt x="1050029" y="5834063"/>
                  <a:pt x="0" y="5283066"/>
                </a:cubicBezTo>
                <a:cubicBezTo>
                  <a:pt x="0" y="5283066"/>
                  <a:pt x="0" y="5283066"/>
                  <a:pt x="1050029" y="4730750"/>
                </a:cubicBezTo>
                <a:close/>
                <a:moveTo>
                  <a:pt x="1050029" y="3368675"/>
                </a:moveTo>
                <a:cubicBezTo>
                  <a:pt x="2409664" y="3898582"/>
                  <a:pt x="2524285" y="3898582"/>
                  <a:pt x="3883920" y="3368675"/>
                </a:cubicBezTo>
                <a:cubicBezTo>
                  <a:pt x="3883920" y="3368675"/>
                  <a:pt x="3883920" y="3368675"/>
                  <a:pt x="4933949" y="3920991"/>
                </a:cubicBezTo>
                <a:cubicBezTo>
                  <a:pt x="4933949" y="3920991"/>
                  <a:pt x="4933949" y="3920991"/>
                  <a:pt x="3883920" y="4471988"/>
                </a:cubicBezTo>
                <a:cubicBezTo>
                  <a:pt x="2524285" y="3943400"/>
                  <a:pt x="2409664" y="3943400"/>
                  <a:pt x="1050029" y="4471988"/>
                </a:cubicBezTo>
                <a:cubicBezTo>
                  <a:pt x="1050029" y="4471988"/>
                  <a:pt x="1050029" y="4471988"/>
                  <a:pt x="0" y="3920991"/>
                </a:cubicBezTo>
                <a:cubicBezTo>
                  <a:pt x="0" y="3920991"/>
                  <a:pt x="0" y="3920991"/>
                  <a:pt x="1050029" y="3368675"/>
                </a:cubicBezTo>
                <a:close/>
                <a:moveTo>
                  <a:pt x="678543" y="305710"/>
                </a:moveTo>
                <a:lnTo>
                  <a:pt x="678543" y="2307316"/>
                </a:lnTo>
                <a:cubicBezTo>
                  <a:pt x="678543" y="2307316"/>
                  <a:pt x="678543" y="2307316"/>
                  <a:pt x="909109" y="2307316"/>
                </a:cubicBezTo>
                <a:cubicBezTo>
                  <a:pt x="1011875" y="2307316"/>
                  <a:pt x="1072481" y="2291503"/>
                  <a:pt x="1119911" y="2234842"/>
                </a:cubicBezTo>
                <a:cubicBezTo>
                  <a:pt x="1192375" y="2147873"/>
                  <a:pt x="1198962" y="1971299"/>
                  <a:pt x="1198962" y="1615517"/>
                </a:cubicBezTo>
                <a:cubicBezTo>
                  <a:pt x="1198962" y="1615517"/>
                  <a:pt x="1198962" y="1615517"/>
                  <a:pt x="1198962" y="996191"/>
                </a:cubicBezTo>
                <a:cubicBezTo>
                  <a:pt x="1198962" y="641727"/>
                  <a:pt x="1192375" y="465153"/>
                  <a:pt x="1119911" y="378184"/>
                </a:cubicBezTo>
                <a:cubicBezTo>
                  <a:pt x="1072481" y="321522"/>
                  <a:pt x="1011875" y="305710"/>
                  <a:pt x="909109" y="305710"/>
                </a:cubicBezTo>
                <a:cubicBezTo>
                  <a:pt x="909109" y="305710"/>
                  <a:pt x="909109" y="305710"/>
                  <a:pt x="678543" y="305710"/>
                </a:cubicBezTo>
                <a:close/>
                <a:moveTo>
                  <a:pt x="1842869" y="0"/>
                </a:moveTo>
                <a:cubicBezTo>
                  <a:pt x="1842869" y="0"/>
                  <a:pt x="1842869" y="0"/>
                  <a:pt x="3073618" y="0"/>
                </a:cubicBezTo>
                <a:cubicBezTo>
                  <a:pt x="3093384" y="0"/>
                  <a:pt x="3105243" y="5271"/>
                  <a:pt x="3114467" y="14495"/>
                </a:cubicBezTo>
                <a:cubicBezTo>
                  <a:pt x="3122374" y="22401"/>
                  <a:pt x="3128962" y="34261"/>
                  <a:pt x="3128962" y="54027"/>
                </a:cubicBezTo>
                <a:cubicBezTo>
                  <a:pt x="3128962" y="54027"/>
                  <a:pt x="3128962" y="54027"/>
                  <a:pt x="3128962" y="275402"/>
                </a:cubicBezTo>
                <a:cubicBezTo>
                  <a:pt x="3128962" y="295168"/>
                  <a:pt x="3122374" y="307028"/>
                  <a:pt x="3114467" y="314934"/>
                </a:cubicBezTo>
                <a:cubicBezTo>
                  <a:pt x="3105243" y="324158"/>
                  <a:pt x="3093384" y="329429"/>
                  <a:pt x="3073618" y="329429"/>
                </a:cubicBezTo>
                <a:cubicBezTo>
                  <a:pt x="3073618" y="329429"/>
                  <a:pt x="3073618" y="329429"/>
                  <a:pt x="2679620" y="329429"/>
                </a:cubicBezTo>
                <a:cubicBezTo>
                  <a:pt x="2679620" y="329429"/>
                  <a:pt x="2679620" y="329429"/>
                  <a:pt x="2679620" y="2558999"/>
                </a:cubicBezTo>
                <a:cubicBezTo>
                  <a:pt x="2679620" y="2578765"/>
                  <a:pt x="2674349" y="2590624"/>
                  <a:pt x="2665125" y="2598530"/>
                </a:cubicBezTo>
                <a:cubicBezTo>
                  <a:pt x="2657219" y="2607755"/>
                  <a:pt x="2645360" y="2613025"/>
                  <a:pt x="2625594" y="2613025"/>
                </a:cubicBezTo>
                <a:cubicBezTo>
                  <a:pt x="2625594" y="2613025"/>
                  <a:pt x="2625594" y="2613025"/>
                  <a:pt x="2290893" y="2613025"/>
                </a:cubicBezTo>
                <a:cubicBezTo>
                  <a:pt x="2271128" y="2613025"/>
                  <a:pt x="2259268" y="2607755"/>
                  <a:pt x="2250044" y="2598530"/>
                </a:cubicBezTo>
                <a:cubicBezTo>
                  <a:pt x="2240820" y="2590624"/>
                  <a:pt x="2235549" y="2578765"/>
                  <a:pt x="2235549" y="2558999"/>
                </a:cubicBezTo>
                <a:cubicBezTo>
                  <a:pt x="2235549" y="2558999"/>
                  <a:pt x="2235549" y="2558999"/>
                  <a:pt x="2235549" y="329429"/>
                </a:cubicBezTo>
                <a:cubicBezTo>
                  <a:pt x="2235549" y="329429"/>
                  <a:pt x="2235549" y="329429"/>
                  <a:pt x="1842869" y="329429"/>
                </a:cubicBezTo>
                <a:cubicBezTo>
                  <a:pt x="1823104" y="329429"/>
                  <a:pt x="1811244" y="324158"/>
                  <a:pt x="1802020" y="314934"/>
                </a:cubicBezTo>
                <a:cubicBezTo>
                  <a:pt x="1792796" y="307028"/>
                  <a:pt x="1787525" y="295168"/>
                  <a:pt x="1787525" y="275402"/>
                </a:cubicBezTo>
                <a:cubicBezTo>
                  <a:pt x="1787525" y="275402"/>
                  <a:pt x="1787525" y="275402"/>
                  <a:pt x="1787525" y="54027"/>
                </a:cubicBezTo>
                <a:cubicBezTo>
                  <a:pt x="1787525" y="34261"/>
                  <a:pt x="1792796" y="22401"/>
                  <a:pt x="1802020" y="14495"/>
                </a:cubicBezTo>
                <a:cubicBezTo>
                  <a:pt x="1811244" y="5271"/>
                  <a:pt x="1823104" y="0"/>
                  <a:pt x="1842869" y="0"/>
                </a:cubicBezTo>
                <a:close/>
                <a:moveTo>
                  <a:pt x="317544" y="0"/>
                </a:moveTo>
                <a:cubicBezTo>
                  <a:pt x="317544" y="0"/>
                  <a:pt x="317544" y="0"/>
                  <a:pt x="972349" y="0"/>
                </a:cubicBezTo>
                <a:cubicBezTo>
                  <a:pt x="1226630" y="0"/>
                  <a:pt x="1382097" y="57980"/>
                  <a:pt x="1476958" y="179209"/>
                </a:cubicBezTo>
                <a:cubicBezTo>
                  <a:pt x="1615298" y="345241"/>
                  <a:pt x="1619250" y="614055"/>
                  <a:pt x="1619250" y="1025181"/>
                </a:cubicBezTo>
                <a:cubicBezTo>
                  <a:pt x="1619250" y="1025181"/>
                  <a:pt x="1619250" y="1025181"/>
                  <a:pt x="1619250" y="1587845"/>
                </a:cubicBezTo>
                <a:cubicBezTo>
                  <a:pt x="1619250" y="1998971"/>
                  <a:pt x="1615298" y="2267784"/>
                  <a:pt x="1476958" y="2433816"/>
                </a:cubicBezTo>
                <a:cubicBezTo>
                  <a:pt x="1382097" y="2555046"/>
                  <a:pt x="1226630" y="2613025"/>
                  <a:pt x="972349" y="2613025"/>
                </a:cubicBezTo>
                <a:cubicBezTo>
                  <a:pt x="972349" y="2613025"/>
                  <a:pt x="972349" y="2613025"/>
                  <a:pt x="317544" y="2613025"/>
                </a:cubicBezTo>
                <a:cubicBezTo>
                  <a:pt x="297781" y="2613025"/>
                  <a:pt x="285923" y="2607755"/>
                  <a:pt x="278018" y="2598530"/>
                </a:cubicBezTo>
                <a:cubicBezTo>
                  <a:pt x="268795" y="2590624"/>
                  <a:pt x="263525" y="2578765"/>
                  <a:pt x="263525" y="2558999"/>
                </a:cubicBezTo>
                <a:cubicBezTo>
                  <a:pt x="263525" y="2558999"/>
                  <a:pt x="263525" y="2558999"/>
                  <a:pt x="263525" y="54027"/>
                </a:cubicBezTo>
                <a:cubicBezTo>
                  <a:pt x="263525" y="34261"/>
                  <a:pt x="268795" y="22401"/>
                  <a:pt x="278018" y="14495"/>
                </a:cubicBezTo>
                <a:cubicBezTo>
                  <a:pt x="285923" y="5271"/>
                  <a:pt x="297781" y="0"/>
                  <a:pt x="317544" y="0"/>
                </a:cubicBezTo>
                <a:close/>
                <a:moveTo>
                  <a:pt x="3359213" y="0"/>
                </a:moveTo>
                <a:cubicBezTo>
                  <a:pt x="3359213" y="0"/>
                  <a:pt x="3359213" y="0"/>
                  <a:pt x="3664991" y="0"/>
                </a:cubicBezTo>
                <a:cubicBezTo>
                  <a:pt x="3684762" y="0"/>
                  <a:pt x="3696624" y="5272"/>
                  <a:pt x="3705850" y="14497"/>
                </a:cubicBezTo>
                <a:cubicBezTo>
                  <a:pt x="3715076" y="22405"/>
                  <a:pt x="3720348" y="34266"/>
                  <a:pt x="3720348" y="54035"/>
                </a:cubicBezTo>
                <a:cubicBezTo>
                  <a:pt x="3720348" y="54035"/>
                  <a:pt x="3720348" y="54035"/>
                  <a:pt x="3720348" y="1903062"/>
                </a:cubicBezTo>
                <a:cubicBezTo>
                  <a:pt x="3720348" y="2103384"/>
                  <a:pt x="3738800" y="2214089"/>
                  <a:pt x="3798111" y="2279984"/>
                </a:cubicBezTo>
                <a:cubicBezTo>
                  <a:pt x="3841605" y="2328747"/>
                  <a:pt x="3899597" y="2349833"/>
                  <a:pt x="3976042" y="2349833"/>
                </a:cubicBezTo>
                <a:cubicBezTo>
                  <a:pt x="4060395" y="2349833"/>
                  <a:pt x="4121023" y="2326111"/>
                  <a:pt x="4163200" y="2279984"/>
                </a:cubicBezTo>
                <a:cubicBezTo>
                  <a:pt x="4226464" y="2211453"/>
                  <a:pt x="4240963" y="2096795"/>
                  <a:pt x="4240963" y="1903062"/>
                </a:cubicBezTo>
                <a:cubicBezTo>
                  <a:pt x="4240963" y="1903062"/>
                  <a:pt x="4240963" y="1903062"/>
                  <a:pt x="4240963" y="54035"/>
                </a:cubicBezTo>
                <a:cubicBezTo>
                  <a:pt x="4240963" y="34266"/>
                  <a:pt x="4246235" y="22405"/>
                  <a:pt x="4255461" y="14497"/>
                </a:cubicBezTo>
                <a:cubicBezTo>
                  <a:pt x="4263369" y="5272"/>
                  <a:pt x="4276549" y="0"/>
                  <a:pt x="4295001" y="0"/>
                </a:cubicBezTo>
                <a:cubicBezTo>
                  <a:pt x="4295001" y="0"/>
                  <a:pt x="4295001" y="0"/>
                  <a:pt x="4602098" y="0"/>
                </a:cubicBezTo>
                <a:cubicBezTo>
                  <a:pt x="4621868" y="0"/>
                  <a:pt x="4633730" y="5272"/>
                  <a:pt x="4641638" y="14497"/>
                </a:cubicBezTo>
                <a:cubicBezTo>
                  <a:pt x="4650864" y="22405"/>
                  <a:pt x="4656136" y="34266"/>
                  <a:pt x="4656136" y="54035"/>
                </a:cubicBezTo>
                <a:cubicBezTo>
                  <a:pt x="4656136" y="54035"/>
                  <a:pt x="4656136" y="54035"/>
                  <a:pt x="4656136" y="1904380"/>
                </a:cubicBezTo>
                <a:cubicBezTo>
                  <a:pt x="4656136" y="2153465"/>
                  <a:pt x="4627140" y="2319521"/>
                  <a:pt x="4507201" y="2459220"/>
                </a:cubicBezTo>
                <a:cubicBezTo>
                  <a:pt x="4405714" y="2577832"/>
                  <a:pt x="4239645" y="2646363"/>
                  <a:pt x="3981314" y="2646363"/>
                </a:cubicBezTo>
                <a:cubicBezTo>
                  <a:pt x="3726938" y="2646363"/>
                  <a:pt x="3559550" y="2581786"/>
                  <a:pt x="3447519" y="2459220"/>
                </a:cubicBezTo>
                <a:cubicBezTo>
                  <a:pt x="3340760" y="2341926"/>
                  <a:pt x="3305174" y="2173233"/>
                  <a:pt x="3305174" y="1904380"/>
                </a:cubicBezTo>
                <a:cubicBezTo>
                  <a:pt x="3305174" y="1904380"/>
                  <a:pt x="3305174" y="1904380"/>
                  <a:pt x="3305174" y="54035"/>
                </a:cubicBezTo>
                <a:cubicBezTo>
                  <a:pt x="3305174" y="34266"/>
                  <a:pt x="3310446" y="22405"/>
                  <a:pt x="3318354" y="14497"/>
                </a:cubicBezTo>
                <a:cubicBezTo>
                  <a:pt x="3327580" y="5272"/>
                  <a:pt x="3339442" y="0"/>
                  <a:pt x="3359213" y="0"/>
                </a:cubicBezTo>
                <a:close/>
              </a:path>
            </a:pathLst>
          </a:custGeom>
          <a:solidFill>
            <a:srgbClr val="008737"/>
          </a:solidFill>
          <a:ln>
            <a:noFill/>
          </a:ln>
        </p:spPr>
        <p:txBody>
          <a:bodyPr vert="horz" wrap="square" lIns="91428" tIns="45714" rIns="91428" bIns="45714" numCol="1" anchor="t" anchorCtr="0" compatLnSpc="1">
            <a:prstTxWarp prst="textNoShape">
              <a:avLst/>
            </a:prstTxWarp>
            <a:noAutofit/>
          </a:bodyPr>
          <a:lstStyle/>
          <a:p>
            <a:endParaRPr lang="da-DK" sz="1800"/>
          </a:p>
        </p:txBody>
      </p:sp>
      <p:sp>
        <p:nvSpPr>
          <p:cNvPr id="6" name="Date Placeholder 2">
            <a:extLst>
              <a:ext uri="{FF2B5EF4-FFF2-40B4-BE49-F238E27FC236}">
                <a16:creationId xmlns:a16="http://schemas.microsoft.com/office/drawing/2014/main" id="{AF062B26-8169-4B93-8FD8-CFDB0855A961}"/>
              </a:ext>
            </a:extLst>
          </p:cNvPr>
          <p:cNvSpPr>
            <a:spLocks noGrp="1"/>
          </p:cNvSpPr>
          <p:nvPr>
            <p:ph type="dt" sz="half" idx="10"/>
          </p:nvPr>
        </p:nvSpPr>
        <p:spPr>
          <a:xfrm>
            <a:off x="0" y="6912000"/>
            <a:ext cx="0" cy="0"/>
          </a:xfrm>
          <a:prstGeom prst="rect">
            <a:avLst/>
          </a:prstGeom>
        </p:spPr>
        <p:txBody>
          <a:bodyPr/>
          <a:lstStyle>
            <a:lvl1pPr>
              <a:defRPr>
                <a:noFill/>
              </a:defRPr>
            </a:lvl1pPr>
          </a:lstStyle>
          <a:p>
            <a:endParaRPr lang="da-DK" dirty="0"/>
          </a:p>
        </p:txBody>
      </p:sp>
      <p:sp>
        <p:nvSpPr>
          <p:cNvPr id="7" name="Footer Placeholder 3">
            <a:extLst>
              <a:ext uri="{FF2B5EF4-FFF2-40B4-BE49-F238E27FC236}">
                <a16:creationId xmlns:a16="http://schemas.microsoft.com/office/drawing/2014/main" id="{CA59923C-6F09-424E-AF1E-AC62326A9B2B}"/>
              </a:ext>
            </a:extLst>
          </p:cNvPr>
          <p:cNvSpPr>
            <a:spLocks noGrp="1"/>
          </p:cNvSpPr>
          <p:nvPr>
            <p:ph type="ftr" sz="quarter" idx="11"/>
          </p:nvPr>
        </p:nvSpPr>
        <p:spPr>
          <a:xfrm>
            <a:off x="0" y="6912000"/>
            <a:ext cx="0" cy="0"/>
          </a:xfrm>
        </p:spPr>
        <p:txBody>
          <a:bodyPr/>
          <a:lstStyle>
            <a:lvl1pPr>
              <a:defRPr>
                <a:noFill/>
              </a:defRPr>
            </a:lvl1pPr>
          </a:lstStyle>
          <a:p>
            <a:endParaRPr lang="da-DK" dirty="0"/>
          </a:p>
        </p:txBody>
      </p:sp>
      <p:sp>
        <p:nvSpPr>
          <p:cNvPr id="9" name="Slide Number Placeholder 4">
            <a:extLst>
              <a:ext uri="{FF2B5EF4-FFF2-40B4-BE49-F238E27FC236}">
                <a16:creationId xmlns:a16="http://schemas.microsoft.com/office/drawing/2014/main" id="{4C299FA2-BF46-4410-B2CD-E3C80B7A9893}"/>
              </a:ext>
            </a:extLst>
          </p:cNvPr>
          <p:cNvSpPr>
            <a:spLocks noGrp="1"/>
          </p:cNvSpPr>
          <p:nvPr>
            <p:ph type="sldNum" sz="quarter" idx="12"/>
          </p:nvPr>
        </p:nvSpPr>
        <p:spPr>
          <a:xfrm flipV="1">
            <a:off x="0" y="6912000"/>
            <a:ext cx="0" cy="0"/>
          </a:xfrm>
        </p:spPr>
        <p:txBody>
          <a:bodyPr/>
          <a:lstStyle>
            <a:lvl1pPr>
              <a:defRPr>
                <a:noFill/>
              </a:defRPr>
            </a:lvl1pPr>
          </a:lstStyle>
          <a:p>
            <a:fld id="{24C8C45C-947F-4981-8B3F-4F32E973C901}" type="slidenum">
              <a:rPr lang="da-DK" smtClean="0"/>
              <a:pPr/>
              <a:t>‹#›</a:t>
            </a:fld>
            <a:endParaRPr lang="da-DK" dirty="0"/>
          </a:p>
        </p:txBody>
      </p:sp>
      <p:sp>
        <p:nvSpPr>
          <p:cNvPr id="11" name="Bottom bar">
            <a:extLst>
              <a:ext uri="{FF2B5EF4-FFF2-40B4-BE49-F238E27FC236}">
                <a16:creationId xmlns:a16="http://schemas.microsoft.com/office/drawing/2014/main" id="{495865CE-5BE9-4122-8AB8-48E534DD88F7}"/>
              </a:ext>
            </a:extLst>
          </p:cNvPr>
          <p:cNvSpPr/>
          <p:nvPr userDrawn="1"/>
        </p:nvSpPr>
        <p:spPr bwMode="auto">
          <a:xfrm>
            <a:off x="0" y="6541200"/>
            <a:ext cx="12193200" cy="316800"/>
          </a:xfrm>
          <a:prstGeom prst="rect">
            <a:avLst/>
          </a:prstGeom>
          <a:solidFill>
            <a:srgbClr val="008737"/>
          </a:solidFill>
          <a:ln w="9525" cap="flat" cmpd="sng" algn="ctr">
            <a:noFill/>
            <a:prstDash val="solid"/>
            <a:miter lim="800000"/>
            <a:headEnd type="none" w="med" len="med"/>
            <a:tailEnd type="none" w="med" len="med"/>
          </a:ln>
          <a:effectLst/>
        </p:spPr>
        <p:txBody>
          <a:bodyPr vert="horz" wrap="square" lIns="89988" tIns="46794" rIns="89988" bIns="46794" numCol="1" rtlCol="0" anchor="ctr" anchorCtr="0" compatLnSpc="1">
            <a:prstTxWarp prst="textNoShape">
              <a:avLst/>
            </a:prstTxWarp>
          </a:bodyPr>
          <a:lstStyle/>
          <a:p>
            <a:pPr marL="0" marR="0" indent="0" algn="ctr" defTabSz="914309" rtl="0" eaLnBrk="1" fontAlgn="base" latinLnBrk="0" hangingPunct="1">
              <a:lnSpc>
                <a:spcPct val="100000"/>
              </a:lnSpc>
              <a:spcBef>
                <a:spcPts val="432"/>
              </a:spcBef>
              <a:spcAft>
                <a:spcPct val="0"/>
              </a:spcAft>
              <a:buClrTx/>
              <a:buSzTx/>
              <a:buFontTx/>
              <a:buNone/>
              <a:tabLst/>
            </a:pPr>
            <a:endParaRPr kumimoji="0" lang="da-DK" sz="1600" b="0" i="0" u="none" strike="noStrike" cap="none" normalizeH="0" baseline="0" dirty="0" err="1">
              <a:ln>
                <a:noFill/>
              </a:ln>
              <a:solidFill>
                <a:srgbClr val="FFFFFF"/>
              </a:solidFill>
              <a:effectLst/>
              <a:latin typeface="+mn-lt"/>
              <a:ea typeface="ＭＳ Ｐゴシック" pitchFamily="-80" charset="-128"/>
            </a:endParaRPr>
          </a:p>
        </p:txBody>
      </p:sp>
      <p:sp>
        <p:nvSpPr>
          <p:cNvPr id="12" name="Top bar">
            <a:extLst>
              <a:ext uri="{FF2B5EF4-FFF2-40B4-BE49-F238E27FC236}">
                <a16:creationId xmlns:a16="http://schemas.microsoft.com/office/drawing/2014/main" id="{0D436479-94F3-475C-8F8D-D3CDC81793FD}"/>
              </a:ext>
            </a:extLst>
          </p:cNvPr>
          <p:cNvSpPr/>
          <p:nvPr userDrawn="1"/>
        </p:nvSpPr>
        <p:spPr bwMode="auto">
          <a:xfrm>
            <a:off x="0" y="0"/>
            <a:ext cx="12193200" cy="50400"/>
          </a:xfrm>
          <a:prstGeom prst="rect">
            <a:avLst/>
          </a:prstGeom>
          <a:solidFill>
            <a:srgbClr val="008737"/>
          </a:solidFill>
          <a:ln w="9525" cap="flat" cmpd="sng" algn="ctr">
            <a:noFill/>
            <a:prstDash val="solid"/>
            <a:miter lim="800000"/>
            <a:headEnd type="none" w="med" len="med"/>
            <a:tailEnd type="none" w="med" len="med"/>
          </a:ln>
          <a:effectLst/>
        </p:spPr>
        <p:txBody>
          <a:bodyPr vert="horz" wrap="square" lIns="89988" tIns="46794" rIns="89988" bIns="46794" numCol="1" rtlCol="0" anchor="ctr" anchorCtr="0" compatLnSpc="1">
            <a:prstTxWarp prst="textNoShape">
              <a:avLst/>
            </a:prstTxWarp>
          </a:bodyPr>
          <a:lstStyle/>
          <a:p>
            <a:pPr marL="0" marR="0" indent="0" algn="ctr" defTabSz="914309" rtl="0" eaLnBrk="1" fontAlgn="base" latinLnBrk="0" hangingPunct="1">
              <a:lnSpc>
                <a:spcPct val="100000"/>
              </a:lnSpc>
              <a:spcBef>
                <a:spcPts val="432"/>
              </a:spcBef>
              <a:spcAft>
                <a:spcPct val="0"/>
              </a:spcAft>
              <a:buClrTx/>
              <a:buSzTx/>
              <a:buFontTx/>
              <a:buNone/>
              <a:tabLst/>
            </a:pPr>
            <a:endParaRPr kumimoji="0" lang="da-DK" sz="1600" b="0" i="0" u="none" strike="noStrike" cap="none" normalizeH="0" baseline="0" dirty="0" err="1">
              <a:ln>
                <a:noFill/>
              </a:ln>
              <a:solidFill>
                <a:srgbClr val="FFFFFF"/>
              </a:solidFill>
              <a:effectLst/>
              <a:latin typeface="+mn-lt"/>
              <a:ea typeface="ＭＳ Ｐゴシック" pitchFamily="-80" charset="-128"/>
            </a:endParaRPr>
          </a:p>
        </p:txBody>
      </p:sp>
    </p:spTree>
    <p:extLst>
      <p:ext uri="{BB962C8B-B14F-4D97-AF65-F5344CB8AC3E}">
        <p14:creationId xmlns:p14="http://schemas.microsoft.com/office/powerpoint/2010/main" val="1042582876"/>
      </p:ext>
    </p:extLst>
  </p:cSld>
  <p:clrMapOvr>
    <a:overrideClrMapping bg1="lt1" tx1="dk1" bg2="lt2" tx2="dk2" accent1="accent1" accent2="accent2" accent3="accent3" accent4="accent4" accent5="accent5" accent6="accent6" hlink="hlink" folHlink="folHlink"/>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woObj">
  <p:cSld name="To indholdsobjekter">
    <p:spTree>
      <p:nvGrpSpPr>
        <p:cNvPr id="1" name=""/>
        <p:cNvGrpSpPr/>
        <p:nvPr/>
      </p:nvGrpSpPr>
      <p:grpSpPr>
        <a:xfrm>
          <a:off x="0" y="0"/>
          <a:ext cx="0" cy="0"/>
          <a:chOff x="0" y="0"/>
          <a:chExt cx="0" cy="0"/>
        </a:xfrm>
      </p:grpSpPr>
      <p:sp>
        <p:nvSpPr>
          <p:cNvPr id="2" name="Title 1"/>
          <p:cNvSpPr>
            <a:spLocks noGrp="1"/>
          </p:cNvSpPr>
          <p:nvPr>
            <p:ph type="title"/>
          </p:nvPr>
        </p:nvSpPr>
        <p:spPr>
          <a:xfrm>
            <a:off x="611189" y="148616"/>
            <a:ext cx="10563358" cy="1143000"/>
          </a:xfrm>
        </p:spPr>
        <p:txBody>
          <a:bodyPr/>
          <a:lstStyle/>
          <a:p>
            <a:r>
              <a:rPr lang="da-DK" dirty="0" err="1"/>
              <a:t>Click</a:t>
            </a:r>
            <a:r>
              <a:rPr lang="da-DK" dirty="0"/>
              <a:t> to </a:t>
            </a:r>
            <a:r>
              <a:rPr lang="da-DK" dirty="0" err="1"/>
              <a:t>edit</a:t>
            </a:r>
            <a:r>
              <a:rPr lang="da-DK" dirty="0"/>
              <a:t> Master </a:t>
            </a:r>
            <a:r>
              <a:rPr lang="da-DK" dirty="0" err="1"/>
              <a:t>title</a:t>
            </a:r>
            <a:r>
              <a:rPr lang="da-DK" dirty="0"/>
              <a:t> style</a:t>
            </a:r>
            <a:endParaRPr lang="da-DK"/>
          </a:p>
        </p:txBody>
      </p:sp>
      <p:sp>
        <p:nvSpPr>
          <p:cNvPr id="3" name="Content Placeholder 2"/>
          <p:cNvSpPr>
            <a:spLocks noGrp="1"/>
          </p:cNvSpPr>
          <p:nvPr>
            <p:ph sz="half" idx="1"/>
          </p:nvPr>
        </p:nvSpPr>
        <p:spPr>
          <a:xfrm>
            <a:off x="622301" y="1449388"/>
            <a:ext cx="5364162" cy="478790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a-DK" dirty="0"/>
              <a:t>Edit Master </a:t>
            </a:r>
            <a:r>
              <a:rPr lang="da-DK" dirty="0" err="1"/>
              <a:t>text</a:t>
            </a:r>
            <a:r>
              <a:rPr lang="da-DK" dirty="0"/>
              <a:t> styles</a:t>
            </a:r>
            <a:endParaRPr lang="da-DK"/>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4" name="Content Placeholder 3"/>
          <p:cNvSpPr>
            <a:spLocks noGrp="1"/>
          </p:cNvSpPr>
          <p:nvPr>
            <p:ph sz="half" idx="2"/>
          </p:nvPr>
        </p:nvSpPr>
        <p:spPr>
          <a:xfrm>
            <a:off x="6276975" y="1449388"/>
            <a:ext cx="5362575" cy="478790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a-DK" dirty="0"/>
              <a:t>Edit Master </a:t>
            </a:r>
            <a:r>
              <a:rPr lang="da-DK" dirty="0" err="1"/>
              <a:t>text</a:t>
            </a:r>
            <a:r>
              <a:rPr lang="da-DK" dirty="0"/>
              <a:t> styles</a:t>
            </a:r>
            <a:endParaRPr lang="da-DK"/>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5" name="Date_CustomB"/>
          <p:cNvSpPr>
            <a:spLocks noGrp="1"/>
          </p:cNvSpPr>
          <p:nvPr>
            <p:ph type="dt" sz="half" idx="10"/>
          </p:nvPr>
        </p:nvSpPr>
        <p:spPr/>
        <p:txBody>
          <a:bodyPr/>
          <a:lstStyle/>
          <a:p>
            <a:r>
              <a:rPr lang="en-US"/>
              <a:t>10. januar 2019</a:t>
            </a:r>
            <a:endParaRPr lang="da-DK" dirty="0"/>
          </a:p>
        </p:txBody>
      </p:sp>
      <p:sp>
        <p:nvSpPr>
          <p:cNvPr id="6" name="FLD_Presentation Title"/>
          <p:cNvSpPr>
            <a:spLocks noGrp="1"/>
          </p:cNvSpPr>
          <p:nvPr>
            <p:ph type="ftr" sz="quarter" idx="11"/>
          </p:nvPr>
        </p:nvSpPr>
        <p:spPr/>
        <p:txBody>
          <a:bodyPr/>
          <a:lstStyle/>
          <a:p>
            <a:r>
              <a:rPr lang="da-DK"/>
              <a:t>Peter S. Mikkelsen: Lad vand og data strømme, indlæg på DANVA Nytårstaffel</a:t>
            </a:r>
            <a:endParaRPr lang="da-DK" dirty="0"/>
          </a:p>
        </p:txBody>
      </p:sp>
      <p:sp>
        <p:nvSpPr>
          <p:cNvPr id="10" name="Pladsholder til diasnummer 9"/>
          <p:cNvSpPr>
            <a:spLocks noGrp="1"/>
          </p:cNvSpPr>
          <p:nvPr>
            <p:ph type="sldNum" sz="quarter" idx="12"/>
          </p:nvPr>
        </p:nvSpPr>
        <p:spPr/>
        <p:txBody>
          <a:bodyPr/>
          <a:lstStyle/>
          <a:p>
            <a:fld id="{103EA872-A674-449B-A120-B97244F8E91D}" type="slidenum">
              <a:rPr lang="da-DK" smtClean="0"/>
              <a:pPr/>
              <a:t>‹#›</a:t>
            </a:fld>
            <a:endParaRPr lang="da-DK" dirty="0"/>
          </a:p>
        </p:txBody>
      </p:sp>
    </p:spTree>
    <p:extLst>
      <p:ext uri="{BB962C8B-B14F-4D97-AF65-F5344CB8AC3E}">
        <p14:creationId xmlns:p14="http://schemas.microsoft.com/office/powerpoint/2010/main" val="14211051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ags" Target="../tags/tag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heme" Target="../theme/theme3.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 Type="http://schemas.openxmlformats.org/officeDocument/2006/relationships/slideLayout" Target="../slideLayouts/slideLayout51.xml"/><Relationship Id="rId21" Type="http://schemas.openxmlformats.org/officeDocument/2006/relationships/slideLayout" Target="../slideLayouts/slideLayout69.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theme" Target="../theme/theme4.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theme" Target="../theme/theme5.xml"/><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2" Type="http://schemas.openxmlformats.org/officeDocument/2006/relationships/slideLayout" Target="../slideLayouts/slideLayout77.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0" Type="http://schemas.openxmlformats.org/officeDocument/2006/relationships/slideLayout" Target="../slideLayouts/slideLayout85.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tags" Target="../tags/tag1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18" Type="http://schemas.openxmlformats.org/officeDocument/2006/relationships/tags" Target="../tags/tag14.xml"/><Relationship Id="rId3" Type="http://schemas.openxmlformats.org/officeDocument/2006/relationships/slideLayout" Target="../slideLayouts/slideLayout90.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theme" Target="../theme/theme6.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10" Type="http://schemas.openxmlformats.org/officeDocument/2006/relationships/slideLayout" Target="../slideLayouts/slideLayout97.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9" name="Logo color">
            <a:extLst>
              <a:ext uri="{FF2B5EF4-FFF2-40B4-BE49-F238E27FC236}">
                <a16:creationId xmlns:a16="http://schemas.microsoft.com/office/drawing/2014/main" id="{ADC92552-7939-46C1-AAFE-B97F51EBFFE9}"/>
              </a:ext>
            </a:extLst>
          </p:cNvPr>
          <p:cNvSpPr>
            <a:spLocks noChangeAspect="1"/>
          </p:cNvSpPr>
          <p:nvPr userDrawn="1">
            <p:custDataLst>
              <p:tags r:id="rId26"/>
            </p:custDataLst>
          </p:nvPr>
        </p:nvSpPr>
        <p:spPr bwMode="auto">
          <a:xfrm>
            <a:off x="252000" y="252000"/>
            <a:ext cx="419611" cy="612000"/>
          </a:xfrm>
          <a:custGeom>
            <a:avLst/>
            <a:gdLst>
              <a:gd name="connsiteX0" fmla="*/ 1050029 w 4933949"/>
              <a:gd name="connsiteY0" fmla="*/ 6094413 h 7196138"/>
              <a:gd name="connsiteX1" fmla="*/ 3883920 w 4933949"/>
              <a:gd name="connsiteY1" fmla="*/ 6094413 h 7196138"/>
              <a:gd name="connsiteX2" fmla="*/ 4933949 w 4933949"/>
              <a:gd name="connsiteY2" fmla="*/ 6645934 h 7196138"/>
              <a:gd name="connsiteX3" fmla="*/ 3883920 w 4933949"/>
              <a:gd name="connsiteY3" fmla="*/ 7196138 h 7196138"/>
              <a:gd name="connsiteX4" fmla="*/ 1050029 w 4933949"/>
              <a:gd name="connsiteY4" fmla="*/ 7196138 h 7196138"/>
              <a:gd name="connsiteX5" fmla="*/ 0 w 4933949"/>
              <a:gd name="connsiteY5" fmla="*/ 6645934 h 7196138"/>
              <a:gd name="connsiteX6" fmla="*/ 1050029 w 4933949"/>
              <a:gd name="connsiteY6" fmla="*/ 6094413 h 7196138"/>
              <a:gd name="connsiteX7" fmla="*/ 1050029 w 4933949"/>
              <a:gd name="connsiteY7" fmla="*/ 4730750 h 7196138"/>
              <a:gd name="connsiteX8" fmla="*/ 3883920 w 4933949"/>
              <a:gd name="connsiteY8" fmla="*/ 4730750 h 7196138"/>
              <a:gd name="connsiteX9" fmla="*/ 4933949 w 4933949"/>
              <a:gd name="connsiteY9" fmla="*/ 5283066 h 7196138"/>
              <a:gd name="connsiteX10" fmla="*/ 3883920 w 4933949"/>
              <a:gd name="connsiteY10" fmla="*/ 5834063 h 7196138"/>
              <a:gd name="connsiteX11" fmla="*/ 1050029 w 4933949"/>
              <a:gd name="connsiteY11" fmla="*/ 5834063 h 7196138"/>
              <a:gd name="connsiteX12" fmla="*/ 0 w 4933949"/>
              <a:gd name="connsiteY12" fmla="*/ 5283066 h 7196138"/>
              <a:gd name="connsiteX13" fmla="*/ 1050029 w 4933949"/>
              <a:gd name="connsiteY13" fmla="*/ 4730750 h 7196138"/>
              <a:gd name="connsiteX14" fmla="*/ 1050029 w 4933949"/>
              <a:gd name="connsiteY14" fmla="*/ 3368675 h 7196138"/>
              <a:gd name="connsiteX15" fmla="*/ 3883920 w 4933949"/>
              <a:gd name="connsiteY15" fmla="*/ 3368675 h 7196138"/>
              <a:gd name="connsiteX16" fmla="*/ 4933949 w 4933949"/>
              <a:gd name="connsiteY16" fmla="*/ 3920991 h 7196138"/>
              <a:gd name="connsiteX17" fmla="*/ 3883920 w 4933949"/>
              <a:gd name="connsiteY17" fmla="*/ 4471988 h 7196138"/>
              <a:gd name="connsiteX18" fmla="*/ 1050029 w 4933949"/>
              <a:gd name="connsiteY18" fmla="*/ 4471988 h 7196138"/>
              <a:gd name="connsiteX19" fmla="*/ 0 w 4933949"/>
              <a:gd name="connsiteY19" fmla="*/ 3920991 h 7196138"/>
              <a:gd name="connsiteX20" fmla="*/ 1050029 w 4933949"/>
              <a:gd name="connsiteY20" fmla="*/ 3368675 h 7196138"/>
              <a:gd name="connsiteX21" fmla="*/ 678543 w 4933949"/>
              <a:gd name="connsiteY21" fmla="*/ 305710 h 7196138"/>
              <a:gd name="connsiteX22" fmla="*/ 678543 w 4933949"/>
              <a:gd name="connsiteY22" fmla="*/ 2307316 h 7196138"/>
              <a:gd name="connsiteX23" fmla="*/ 909109 w 4933949"/>
              <a:gd name="connsiteY23" fmla="*/ 2307316 h 7196138"/>
              <a:gd name="connsiteX24" fmla="*/ 1119911 w 4933949"/>
              <a:gd name="connsiteY24" fmla="*/ 2234842 h 7196138"/>
              <a:gd name="connsiteX25" fmla="*/ 1198962 w 4933949"/>
              <a:gd name="connsiteY25" fmla="*/ 1615517 h 7196138"/>
              <a:gd name="connsiteX26" fmla="*/ 1198962 w 4933949"/>
              <a:gd name="connsiteY26" fmla="*/ 996191 h 7196138"/>
              <a:gd name="connsiteX27" fmla="*/ 1119911 w 4933949"/>
              <a:gd name="connsiteY27" fmla="*/ 378184 h 7196138"/>
              <a:gd name="connsiteX28" fmla="*/ 909109 w 4933949"/>
              <a:gd name="connsiteY28" fmla="*/ 305710 h 7196138"/>
              <a:gd name="connsiteX29" fmla="*/ 678543 w 4933949"/>
              <a:gd name="connsiteY29" fmla="*/ 305710 h 7196138"/>
              <a:gd name="connsiteX30" fmla="*/ 1842869 w 4933949"/>
              <a:gd name="connsiteY30" fmla="*/ 0 h 7196138"/>
              <a:gd name="connsiteX31" fmla="*/ 3073618 w 4933949"/>
              <a:gd name="connsiteY31" fmla="*/ 0 h 7196138"/>
              <a:gd name="connsiteX32" fmla="*/ 3114467 w 4933949"/>
              <a:gd name="connsiteY32" fmla="*/ 14495 h 7196138"/>
              <a:gd name="connsiteX33" fmla="*/ 3128962 w 4933949"/>
              <a:gd name="connsiteY33" fmla="*/ 54027 h 7196138"/>
              <a:gd name="connsiteX34" fmla="*/ 3128962 w 4933949"/>
              <a:gd name="connsiteY34" fmla="*/ 275402 h 7196138"/>
              <a:gd name="connsiteX35" fmla="*/ 3114467 w 4933949"/>
              <a:gd name="connsiteY35" fmla="*/ 314934 h 7196138"/>
              <a:gd name="connsiteX36" fmla="*/ 3073618 w 4933949"/>
              <a:gd name="connsiteY36" fmla="*/ 329429 h 7196138"/>
              <a:gd name="connsiteX37" fmla="*/ 2679620 w 4933949"/>
              <a:gd name="connsiteY37" fmla="*/ 329429 h 7196138"/>
              <a:gd name="connsiteX38" fmla="*/ 2679620 w 4933949"/>
              <a:gd name="connsiteY38" fmla="*/ 2558999 h 7196138"/>
              <a:gd name="connsiteX39" fmla="*/ 2665125 w 4933949"/>
              <a:gd name="connsiteY39" fmla="*/ 2598530 h 7196138"/>
              <a:gd name="connsiteX40" fmla="*/ 2625594 w 4933949"/>
              <a:gd name="connsiteY40" fmla="*/ 2613025 h 7196138"/>
              <a:gd name="connsiteX41" fmla="*/ 2290893 w 4933949"/>
              <a:gd name="connsiteY41" fmla="*/ 2613025 h 7196138"/>
              <a:gd name="connsiteX42" fmla="*/ 2250044 w 4933949"/>
              <a:gd name="connsiteY42" fmla="*/ 2598530 h 7196138"/>
              <a:gd name="connsiteX43" fmla="*/ 2235549 w 4933949"/>
              <a:gd name="connsiteY43" fmla="*/ 2558999 h 7196138"/>
              <a:gd name="connsiteX44" fmla="*/ 2235549 w 4933949"/>
              <a:gd name="connsiteY44" fmla="*/ 329429 h 7196138"/>
              <a:gd name="connsiteX45" fmla="*/ 1842869 w 4933949"/>
              <a:gd name="connsiteY45" fmla="*/ 329429 h 7196138"/>
              <a:gd name="connsiteX46" fmla="*/ 1802020 w 4933949"/>
              <a:gd name="connsiteY46" fmla="*/ 314934 h 7196138"/>
              <a:gd name="connsiteX47" fmla="*/ 1787525 w 4933949"/>
              <a:gd name="connsiteY47" fmla="*/ 275402 h 7196138"/>
              <a:gd name="connsiteX48" fmla="*/ 1787525 w 4933949"/>
              <a:gd name="connsiteY48" fmla="*/ 54027 h 7196138"/>
              <a:gd name="connsiteX49" fmla="*/ 1802020 w 4933949"/>
              <a:gd name="connsiteY49" fmla="*/ 14495 h 7196138"/>
              <a:gd name="connsiteX50" fmla="*/ 1842869 w 4933949"/>
              <a:gd name="connsiteY50" fmla="*/ 0 h 7196138"/>
              <a:gd name="connsiteX51" fmla="*/ 317544 w 4933949"/>
              <a:gd name="connsiteY51" fmla="*/ 0 h 7196138"/>
              <a:gd name="connsiteX52" fmla="*/ 972349 w 4933949"/>
              <a:gd name="connsiteY52" fmla="*/ 0 h 7196138"/>
              <a:gd name="connsiteX53" fmla="*/ 1476958 w 4933949"/>
              <a:gd name="connsiteY53" fmla="*/ 179209 h 7196138"/>
              <a:gd name="connsiteX54" fmla="*/ 1619250 w 4933949"/>
              <a:gd name="connsiteY54" fmla="*/ 1025181 h 7196138"/>
              <a:gd name="connsiteX55" fmla="*/ 1619250 w 4933949"/>
              <a:gd name="connsiteY55" fmla="*/ 1587845 h 7196138"/>
              <a:gd name="connsiteX56" fmla="*/ 1476958 w 4933949"/>
              <a:gd name="connsiteY56" fmla="*/ 2433816 h 7196138"/>
              <a:gd name="connsiteX57" fmla="*/ 972349 w 4933949"/>
              <a:gd name="connsiteY57" fmla="*/ 2613025 h 7196138"/>
              <a:gd name="connsiteX58" fmla="*/ 317544 w 4933949"/>
              <a:gd name="connsiteY58" fmla="*/ 2613025 h 7196138"/>
              <a:gd name="connsiteX59" fmla="*/ 278018 w 4933949"/>
              <a:gd name="connsiteY59" fmla="*/ 2598530 h 7196138"/>
              <a:gd name="connsiteX60" fmla="*/ 263525 w 4933949"/>
              <a:gd name="connsiteY60" fmla="*/ 2558999 h 7196138"/>
              <a:gd name="connsiteX61" fmla="*/ 263525 w 4933949"/>
              <a:gd name="connsiteY61" fmla="*/ 54027 h 7196138"/>
              <a:gd name="connsiteX62" fmla="*/ 278018 w 4933949"/>
              <a:gd name="connsiteY62" fmla="*/ 14495 h 7196138"/>
              <a:gd name="connsiteX63" fmla="*/ 317544 w 4933949"/>
              <a:gd name="connsiteY63" fmla="*/ 0 h 7196138"/>
              <a:gd name="connsiteX64" fmla="*/ 3359213 w 4933949"/>
              <a:gd name="connsiteY64" fmla="*/ 0 h 7196138"/>
              <a:gd name="connsiteX65" fmla="*/ 3664991 w 4933949"/>
              <a:gd name="connsiteY65" fmla="*/ 0 h 7196138"/>
              <a:gd name="connsiteX66" fmla="*/ 3705850 w 4933949"/>
              <a:gd name="connsiteY66" fmla="*/ 14497 h 7196138"/>
              <a:gd name="connsiteX67" fmla="*/ 3720348 w 4933949"/>
              <a:gd name="connsiteY67" fmla="*/ 54035 h 7196138"/>
              <a:gd name="connsiteX68" fmla="*/ 3720348 w 4933949"/>
              <a:gd name="connsiteY68" fmla="*/ 1903062 h 7196138"/>
              <a:gd name="connsiteX69" fmla="*/ 3798111 w 4933949"/>
              <a:gd name="connsiteY69" fmla="*/ 2279984 h 7196138"/>
              <a:gd name="connsiteX70" fmla="*/ 3976042 w 4933949"/>
              <a:gd name="connsiteY70" fmla="*/ 2349833 h 7196138"/>
              <a:gd name="connsiteX71" fmla="*/ 4163200 w 4933949"/>
              <a:gd name="connsiteY71" fmla="*/ 2279984 h 7196138"/>
              <a:gd name="connsiteX72" fmla="*/ 4240963 w 4933949"/>
              <a:gd name="connsiteY72" fmla="*/ 1903062 h 7196138"/>
              <a:gd name="connsiteX73" fmla="*/ 4240963 w 4933949"/>
              <a:gd name="connsiteY73" fmla="*/ 54035 h 7196138"/>
              <a:gd name="connsiteX74" fmla="*/ 4255461 w 4933949"/>
              <a:gd name="connsiteY74" fmla="*/ 14497 h 7196138"/>
              <a:gd name="connsiteX75" fmla="*/ 4295001 w 4933949"/>
              <a:gd name="connsiteY75" fmla="*/ 0 h 7196138"/>
              <a:gd name="connsiteX76" fmla="*/ 4602098 w 4933949"/>
              <a:gd name="connsiteY76" fmla="*/ 0 h 7196138"/>
              <a:gd name="connsiteX77" fmla="*/ 4641638 w 4933949"/>
              <a:gd name="connsiteY77" fmla="*/ 14497 h 7196138"/>
              <a:gd name="connsiteX78" fmla="*/ 4656136 w 4933949"/>
              <a:gd name="connsiteY78" fmla="*/ 54035 h 7196138"/>
              <a:gd name="connsiteX79" fmla="*/ 4656136 w 4933949"/>
              <a:gd name="connsiteY79" fmla="*/ 1904380 h 7196138"/>
              <a:gd name="connsiteX80" fmla="*/ 4507201 w 4933949"/>
              <a:gd name="connsiteY80" fmla="*/ 2459220 h 7196138"/>
              <a:gd name="connsiteX81" fmla="*/ 3981314 w 4933949"/>
              <a:gd name="connsiteY81" fmla="*/ 2646363 h 7196138"/>
              <a:gd name="connsiteX82" fmla="*/ 3447519 w 4933949"/>
              <a:gd name="connsiteY82" fmla="*/ 2459220 h 7196138"/>
              <a:gd name="connsiteX83" fmla="*/ 3305174 w 4933949"/>
              <a:gd name="connsiteY83" fmla="*/ 1904380 h 7196138"/>
              <a:gd name="connsiteX84" fmla="*/ 3305174 w 4933949"/>
              <a:gd name="connsiteY84" fmla="*/ 54035 h 7196138"/>
              <a:gd name="connsiteX85" fmla="*/ 3318354 w 4933949"/>
              <a:gd name="connsiteY85" fmla="*/ 14497 h 7196138"/>
              <a:gd name="connsiteX86" fmla="*/ 3359213 w 4933949"/>
              <a:gd name="connsiteY86" fmla="*/ 0 h 7196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933949" h="7196138">
                <a:moveTo>
                  <a:pt x="1050029" y="6094413"/>
                </a:moveTo>
                <a:cubicBezTo>
                  <a:pt x="2409664" y="6623557"/>
                  <a:pt x="2524285" y="6623557"/>
                  <a:pt x="3883920" y="6094413"/>
                </a:cubicBezTo>
                <a:cubicBezTo>
                  <a:pt x="3883920" y="6094413"/>
                  <a:pt x="3883920" y="6094413"/>
                  <a:pt x="4933949" y="6645934"/>
                </a:cubicBezTo>
                <a:cubicBezTo>
                  <a:pt x="4933949" y="6645934"/>
                  <a:pt x="4933949" y="6645934"/>
                  <a:pt x="3883920" y="7196138"/>
                </a:cubicBezTo>
                <a:cubicBezTo>
                  <a:pt x="2524285" y="6668311"/>
                  <a:pt x="2409664" y="6668311"/>
                  <a:pt x="1050029" y="7196138"/>
                </a:cubicBezTo>
                <a:cubicBezTo>
                  <a:pt x="1050029" y="7196138"/>
                  <a:pt x="1050029" y="7196138"/>
                  <a:pt x="0" y="6645934"/>
                </a:cubicBezTo>
                <a:cubicBezTo>
                  <a:pt x="0" y="6645934"/>
                  <a:pt x="0" y="6645934"/>
                  <a:pt x="1050029" y="6094413"/>
                </a:cubicBezTo>
                <a:close/>
                <a:moveTo>
                  <a:pt x="1050029" y="4730750"/>
                </a:moveTo>
                <a:cubicBezTo>
                  <a:pt x="2409664" y="5260657"/>
                  <a:pt x="2524285" y="5260657"/>
                  <a:pt x="3883920" y="4730750"/>
                </a:cubicBezTo>
                <a:cubicBezTo>
                  <a:pt x="3883920" y="4730750"/>
                  <a:pt x="3883920" y="4730750"/>
                  <a:pt x="4933949" y="5283066"/>
                </a:cubicBezTo>
                <a:cubicBezTo>
                  <a:pt x="4933949" y="5283066"/>
                  <a:pt x="4933949" y="5283066"/>
                  <a:pt x="3883920" y="5834063"/>
                </a:cubicBezTo>
                <a:cubicBezTo>
                  <a:pt x="2524285" y="5305475"/>
                  <a:pt x="2409664" y="5305475"/>
                  <a:pt x="1050029" y="5834063"/>
                </a:cubicBezTo>
                <a:cubicBezTo>
                  <a:pt x="1050029" y="5834063"/>
                  <a:pt x="1050029" y="5834063"/>
                  <a:pt x="0" y="5283066"/>
                </a:cubicBezTo>
                <a:cubicBezTo>
                  <a:pt x="0" y="5283066"/>
                  <a:pt x="0" y="5283066"/>
                  <a:pt x="1050029" y="4730750"/>
                </a:cubicBezTo>
                <a:close/>
                <a:moveTo>
                  <a:pt x="1050029" y="3368675"/>
                </a:moveTo>
                <a:cubicBezTo>
                  <a:pt x="2409664" y="3898582"/>
                  <a:pt x="2524285" y="3898582"/>
                  <a:pt x="3883920" y="3368675"/>
                </a:cubicBezTo>
                <a:cubicBezTo>
                  <a:pt x="3883920" y="3368675"/>
                  <a:pt x="3883920" y="3368675"/>
                  <a:pt x="4933949" y="3920991"/>
                </a:cubicBezTo>
                <a:cubicBezTo>
                  <a:pt x="4933949" y="3920991"/>
                  <a:pt x="4933949" y="3920991"/>
                  <a:pt x="3883920" y="4471988"/>
                </a:cubicBezTo>
                <a:cubicBezTo>
                  <a:pt x="2524285" y="3943400"/>
                  <a:pt x="2409664" y="3943400"/>
                  <a:pt x="1050029" y="4471988"/>
                </a:cubicBezTo>
                <a:cubicBezTo>
                  <a:pt x="1050029" y="4471988"/>
                  <a:pt x="1050029" y="4471988"/>
                  <a:pt x="0" y="3920991"/>
                </a:cubicBezTo>
                <a:cubicBezTo>
                  <a:pt x="0" y="3920991"/>
                  <a:pt x="0" y="3920991"/>
                  <a:pt x="1050029" y="3368675"/>
                </a:cubicBezTo>
                <a:close/>
                <a:moveTo>
                  <a:pt x="678543" y="305710"/>
                </a:moveTo>
                <a:lnTo>
                  <a:pt x="678543" y="2307316"/>
                </a:lnTo>
                <a:cubicBezTo>
                  <a:pt x="678543" y="2307316"/>
                  <a:pt x="678543" y="2307316"/>
                  <a:pt x="909109" y="2307316"/>
                </a:cubicBezTo>
                <a:cubicBezTo>
                  <a:pt x="1011875" y="2307316"/>
                  <a:pt x="1072481" y="2291503"/>
                  <a:pt x="1119911" y="2234842"/>
                </a:cubicBezTo>
                <a:cubicBezTo>
                  <a:pt x="1192375" y="2147873"/>
                  <a:pt x="1198962" y="1971299"/>
                  <a:pt x="1198962" y="1615517"/>
                </a:cubicBezTo>
                <a:cubicBezTo>
                  <a:pt x="1198962" y="1615517"/>
                  <a:pt x="1198962" y="1615517"/>
                  <a:pt x="1198962" y="996191"/>
                </a:cubicBezTo>
                <a:cubicBezTo>
                  <a:pt x="1198962" y="641727"/>
                  <a:pt x="1192375" y="465153"/>
                  <a:pt x="1119911" y="378184"/>
                </a:cubicBezTo>
                <a:cubicBezTo>
                  <a:pt x="1072481" y="321522"/>
                  <a:pt x="1011875" y="305710"/>
                  <a:pt x="909109" y="305710"/>
                </a:cubicBezTo>
                <a:cubicBezTo>
                  <a:pt x="909109" y="305710"/>
                  <a:pt x="909109" y="305710"/>
                  <a:pt x="678543" y="305710"/>
                </a:cubicBezTo>
                <a:close/>
                <a:moveTo>
                  <a:pt x="1842869" y="0"/>
                </a:moveTo>
                <a:cubicBezTo>
                  <a:pt x="1842869" y="0"/>
                  <a:pt x="1842869" y="0"/>
                  <a:pt x="3073618" y="0"/>
                </a:cubicBezTo>
                <a:cubicBezTo>
                  <a:pt x="3093384" y="0"/>
                  <a:pt x="3105243" y="5271"/>
                  <a:pt x="3114467" y="14495"/>
                </a:cubicBezTo>
                <a:cubicBezTo>
                  <a:pt x="3122374" y="22401"/>
                  <a:pt x="3128962" y="34261"/>
                  <a:pt x="3128962" y="54027"/>
                </a:cubicBezTo>
                <a:cubicBezTo>
                  <a:pt x="3128962" y="54027"/>
                  <a:pt x="3128962" y="54027"/>
                  <a:pt x="3128962" y="275402"/>
                </a:cubicBezTo>
                <a:cubicBezTo>
                  <a:pt x="3128962" y="295168"/>
                  <a:pt x="3122374" y="307028"/>
                  <a:pt x="3114467" y="314934"/>
                </a:cubicBezTo>
                <a:cubicBezTo>
                  <a:pt x="3105243" y="324158"/>
                  <a:pt x="3093384" y="329429"/>
                  <a:pt x="3073618" y="329429"/>
                </a:cubicBezTo>
                <a:cubicBezTo>
                  <a:pt x="3073618" y="329429"/>
                  <a:pt x="3073618" y="329429"/>
                  <a:pt x="2679620" y="329429"/>
                </a:cubicBezTo>
                <a:cubicBezTo>
                  <a:pt x="2679620" y="329429"/>
                  <a:pt x="2679620" y="329429"/>
                  <a:pt x="2679620" y="2558999"/>
                </a:cubicBezTo>
                <a:cubicBezTo>
                  <a:pt x="2679620" y="2578765"/>
                  <a:pt x="2674349" y="2590624"/>
                  <a:pt x="2665125" y="2598530"/>
                </a:cubicBezTo>
                <a:cubicBezTo>
                  <a:pt x="2657219" y="2607755"/>
                  <a:pt x="2645360" y="2613025"/>
                  <a:pt x="2625594" y="2613025"/>
                </a:cubicBezTo>
                <a:cubicBezTo>
                  <a:pt x="2625594" y="2613025"/>
                  <a:pt x="2625594" y="2613025"/>
                  <a:pt x="2290893" y="2613025"/>
                </a:cubicBezTo>
                <a:cubicBezTo>
                  <a:pt x="2271128" y="2613025"/>
                  <a:pt x="2259268" y="2607755"/>
                  <a:pt x="2250044" y="2598530"/>
                </a:cubicBezTo>
                <a:cubicBezTo>
                  <a:pt x="2240820" y="2590624"/>
                  <a:pt x="2235549" y="2578765"/>
                  <a:pt x="2235549" y="2558999"/>
                </a:cubicBezTo>
                <a:cubicBezTo>
                  <a:pt x="2235549" y="2558999"/>
                  <a:pt x="2235549" y="2558999"/>
                  <a:pt x="2235549" y="329429"/>
                </a:cubicBezTo>
                <a:cubicBezTo>
                  <a:pt x="2235549" y="329429"/>
                  <a:pt x="2235549" y="329429"/>
                  <a:pt x="1842869" y="329429"/>
                </a:cubicBezTo>
                <a:cubicBezTo>
                  <a:pt x="1823104" y="329429"/>
                  <a:pt x="1811244" y="324158"/>
                  <a:pt x="1802020" y="314934"/>
                </a:cubicBezTo>
                <a:cubicBezTo>
                  <a:pt x="1792796" y="307028"/>
                  <a:pt x="1787525" y="295168"/>
                  <a:pt x="1787525" y="275402"/>
                </a:cubicBezTo>
                <a:cubicBezTo>
                  <a:pt x="1787525" y="275402"/>
                  <a:pt x="1787525" y="275402"/>
                  <a:pt x="1787525" y="54027"/>
                </a:cubicBezTo>
                <a:cubicBezTo>
                  <a:pt x="1787525" y="34261"/>
                  <a:pt x="1792796" y="22401"/>
                  <a:pt x="1802020" y="14495"/>
                </a:cubicBezTo>
                <a:cubicBezTo>
                  <a:pt x="1811244" y="5271"/>
                  <a:pt x="1823104" y="0"/>
                  <a:pt x="1842869" y="0"/>
                </a:cubicBezTo>
                <a:close/>
                <a:moveTo>
                  <a:pt x="317544" y="0"/>
                </a:moveTo>
                <a:cubicBezTo>
                  <a:pt x="317544" y="0"/>
                  <a:pt x="317544" y="0"/>
                  <a:pt x="972349" y="0"/>
                </a:cubicBezTo>
                <a:cubicBezTo>
                  <a:pt x="1226630" y="0"/>
                  <a:pt x="1382097" y="57980"/>
                  <a:pt x="1476958" y="179209"/>
                </a:cubicBezTo>
                <a:cubicBezTo>
                  <a:pt x="1615298" y="345241"/>
                  <a:pt x="1619250" y="614055"/>
                  <a:pt x="1619250" y="1025181"/>
                </a:cubicBezTo>
                <a:cubicBezTo>
                  <a:pt x="1619250" y="1025181"/>
                  <a:pt x="1619250" y="1025181"/>
                  <a:pt x="1619250" y="1587845"/>
                </a:cubicBezTo>
                <a:cubicBezTo>
                  <a:pt x="1619250" y="1998971"/>
                  <a:pt x="1615298" y="2267784"/>
                  <a:pt x="1476958" y="2433816"/>
                </a:cubicBezTo>
                <a:cubicBezTo>
                  <a:pt x="1382097" y="2555046"/>
                  <a:pt x="1226630" y="2613025"/>
                  <a:pt x="972349" y="2613025"/>
                </a:cubicBezTo>
                <a:cubicBezTo>
                  <a:pt x="972349" y="2613025"/>
                  <a:pt x="972349" y="2613025"/>
                  <a:pt x="317544" y="2613025"/>
                </a:cubicBezTo>
                <a:cubicBezTo>
                  <a:pt x="297781" y="2613025"/>
                  <a:pt x="285923" y="2607755"/>
                  <a:pt x="278018" y="2598530"/>
                </a:cubicBezTo>
                <a:cubicBezTo>
                  <a:pt x="268795" y="2590624"/>
                  <a:pt x="263525" y="2578765"/>
                  <a:pt x="263525" y="2558999"/>
                </a:cubicBezTo>
                <a:cubicBezTo>
                  <a:pt x="263525" y="2558999"/>
                  <a:pt x="263525" y="2558999"/>
                  <a:pt x="263525" y="54027"/>
                </a:cubicBezTo>
                <a:cubicBezTo>
                  <a:pt x="263525" y="34261"/>
                  <a:pt x="268795" y="22401"/>
                  <a:pt x="278018" y="14495"/>
                </a:cubicBezTo>
                <a:cubicBezTo>
                  <a:pt x="285923" y="5271"/>
                  <a:pt x="297781" y="0"/>
                  <a:pt x="317544" y="0"/>
                </a:cubicBezTo>
                <a:close/>
                <a:moveTo>
                  <a:pt x="3359213" y="0"/>
                </a:moveTo>
                <a:cubicBezTo>
                  <a:pt x="3359213" y="0"/>
                  <a:pt x="3359213" y="0"/>
                  <a:pt x="3664991" y="0"/>
                </a:cubicBezTo>
                <a:cubicBezTo>
                  <a:pt x="3684762" y="0"/>
                  <a:pt x="3696624" y="5272"/>
                  <a:pt x="3705850" y="14497"/>
                </a:cubicBezTo>
                <a:cubicBezTo>
                  <a:pt x="3715076" y="22405"/>
                  <a:pt x="3720348" y="34266"/>
                  <a:pt x="3720348" y="54035"/>
                </a:cubicBezTo>
                <a:cubicBezTo>
                  <a:pt x="3720348" y="54035"/>
                  <a:pt x="3720348" y="54035"/>
                  <a:pt x="3720348" y="1903062"/>
                </a:cubicBezTo>
                <a:cubicBezTo>
                  <a:pt x="3720348" y="2103384"/>
                  <a:pt x="3738800" y="2214089"/>
                  <a:pt x="3798111" y="2279984"/>
                </a:cubicBezTo>
                <a:cubicBezTo>
                  <a:pt x="3841605" y="2328747"/>
                  <a:pt x="3899597" y="2349833"/>
                  <a:pt x="3976042" y="2349833"/>
                </a:cubicBezTo>
                <a:cubicBezTo>
                  <a:pt x="4060395" y="2349833"/>
                  <a:pt x="4121023" y="2326111"/>
                  <a:pt x="4163200" y="2279984"/>
                </a:cubicBezTo>
                <a:cubicBezTo>
                  <a:pt x="4226464" y="2211453"/>
                  <a:pt x="4240963" y="2096795"/>
                  <a:pt x="4240963" y="1903062"/>
                </a:cubicBezTo>
                <a:cubicBezTo>
                  <a:pt x="4240963" y="1903062"/>
                  <a:pt x="4240963" y="1903062"/>
                  <a:pt x="4240963" y="54035"/>
                </a:cubicBezTo>
                <a:cubicBezTo>
                  <a:pt x="4240963" y="34266"/>
                  <a:pt x="4246235" y="22405"/>
                  <a:pt x="4255461" y="14497"/>
                </a:cubicBezTo>
                <a:cubicBezTo>
                  <a:pt x="4263369" y="5272"/>
                  <a:pt x="4276549" y="0"/>
                  <a:pt x="4295001" y="0"/>
                </a:cubicBezTo>
                <a:cubicBezTo>
                  <a:pt x="4295001" y="0"/>
                  <a:pt x="4295001" y="0"/>
                  <a:pt x="4602098" y="0"/>
                </a:cubicBezTo>
                <a:cubicBezTo>
                  <a:pt x="4621868" y="0"/>
                  <a:pt x="4633730" y="5272"/>
                  <a:pt x="4641638" y="14497"/>
                </a:cubicBezTo>
                <a:cubicBezTo>
                  <a:pt x="4650864" y="22405"/>
                  <a:pt x="4656136" y="34266"/>
                  <a:pt x="4656136" y="54035"/>
                </a:cubicBezTo>
                <a:cubicBezTo>
                  <a:pt x="4656136" y="54035"/>
                  <a:pt x="4656136" y="54035"/>
                  <a:pt x="4656136" y="1904380"/>
                </a:cubicBezTo>
                <a:cubicBezTo>
                  <a:pt x="4656136" y="2153465"/>
                  <a:pt x="4627140" y="2319521"/>
                  <a:pt x="4507201" y="2459220"/>
                </a:cubicBezTo>
                <a:cubicBezTo>
                  <a:pt x="4405714" y="2577832"/>
                  <a:pt x="4239645" y="2646363"/>
                  <a:pt x="3981314" y="2646363"/>
                </a:cubicBezTo>
                <a:cubicBezTo>
                  <a:pt x="3726938" y="2646363"/>
                  <a:pt x="3559550" y="2581786"/>
                  <a:pt x="3447519" y="2459220"/>
                </a:cubicBezTo>
                <a:cubicBezTo>
                  <a:pt x="3340760" y="2341926"/>
                  <a:pt x="3305174" y="2173233"/>
                  <a:pt x="3305174" y="1904380"/>
                </a:cubicBezTo>
                <a:cubicBezTo>
                  <a:pt x="3305174" y="1904380"/>
                  <a:pt x="3305174" y="1904380"/>
                  <a:pt x="3305174" y="54035"/>
                </a:cubicBezTo>
                <a:cubicBezTo>
                  <a:pt x="3305174" y="34266"/>
                  <a:pt x="3310446" y="22405"/>
                  <a:pt x="3318354" y="14497"/>
                </a:cubicBezTo>
                <a:cubicBezTo>
                  <a:pt x="3327580" y="5272"/>
                  <a:pt x="3339442" y="0"/>
                  <a:pt x="3359213" y="0"/>
                </a:cubicBezTo>
                <a:close/>
              </a:path>
            </a:pathLst>
          </a:custGeom>
          <a:solidFill>
            <a:srgbClr val="008737"/>
          </a:solidFill>
          <a:ln>
            <a:noFill/>
          </a:ln>
        </p:spPr>
        <p:txBody>
          <a:bodyPr vert="horz" wrap="square" lIns="91440" tIns="45720" rIns="91440" bIns="45720" numCol="1" anchor="t" anchorCtr="0" compatLnSpc="1">
            <a:prstTxWarp prst="textNoShape">
              <a:avLst/>
            </a:prstTxWarp>
            <a:noAutofit/>
          </a:bodyPr>
          <a:lstStyle/>
          <a:p>
            <a:endParaRPr lang="da-DK"/>
          </a:p>
        </p:txBody>
      </p:sp>
      <p:sp>
        <p:nvSpPr>
          <p:cNvPr id="11" name="Bottom bar">
            <a:extLst>
              <a:ext uri="{FF2B5EF4-FFF2-40B4-BE49-F238E27FC236}">
                <a16:creationId xmlns:a16="http://schemas.microsoft.com/office/drawing/2014/main" id="{FFFFD011-0D94-46EE-B45C-787FE82C3B5E}"/>
              </a:ext>
            </a:extLst>
          </p:cNvPr>
          <p:cNvSpPr/>
          <p:nvPr userDrawn="1"/>
        </p:nvSpPr>
        <p:spPr bwMode="auto">
          <a:xfrm>
            <a:off x="0" y="6541200"/>
            <a:ext cx="12193200" cy="316800"/>
          </a:xfrm>
          <a:prstGeom prst="rect">
            <a:avLst/>
          </a:prstGeom>
          <a:solidFill>
            <a:srgbClr val="008737"/>
          </a:solidFill>
          <a:ln w="9525" cap="flat" cmpd="sng" algn="ctr">
            <a:noFill/>
            <a:prstDash val="solid"/>
            <a:miter lim="800000"/>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432"/>
              </a:spcBef>
              <a:spcAft>
                <a:spcPct val="0"/>
              </a:spcAft>
              <a:buClrTx/>
              <a:buSzTx/>
              <a:buFontTx/>
              <a:buNone/>
              <a:tabLst/>
            </a:pPr>
            <a:endParaRPr kumimoji="0" lang="da-DK" sz="1600" b="0" i="0" u="none" strike="noStrike" cap="none" normalizeH="0" baseline="0" dirty="0" err="1">
              <a:ln>
                <a:noFill/>
              </a:ln>
              <a:solidFill>
                <a:srgbClr val="FFFFFF"/>
              </a:solidFill>
              <a:effectLst/>
              <a:latin typeface="+mn-lt"/>
              <a:ea typeface="ＭＳ Ｐゴシック" pitchFamily="-80" charset="-128"/>
            </a:endParaRPr>
          </a:p>
        </p:txBody>
      </p:sp>
      <p:sp>
        <p:nvSpPr>
          <p:cNvPr id="3" name="FLD_Presentation Title"/>
          <p:cNvSpPr>
            <a:spLocks noGrp="1"/>
          </p:cNvSpPr>
          <p:nvPr>
            <p:ph type="ftr" sz="quarter" idx="3"/>
          </p:nvPr>
        </p:nvSpPr>
        <p:spPr>
          <a:xfrm>
            <a:off x="0" y="6912000"/>
            <a:ext cx="0" cy="0"/>
          </a:xfrm>
          <a:prstGeom prst="rect">
            <a:avLst/>
          </a:prstGeom>
        </p:spPr>
        <p:txBody>
          <a:bodyPr vert="horz" lIns="0" tIns="0" rIns="0" bIns="0" rtlCol="0" anchor="t" anchorCtr="0"/>
          <a:lstStyle>
            <a:lvl1pPr algn="l">
              <a:spcBef>
                <a:spcPts val="0"/>
              </a:spcBef>
              <a:defRPr sz="700" b="0">
                <a:noFill/>
                <a:latin typeface="+mn-lt"/>
              </a:defRPr>
            </a:lvl1pPr>
          </a:lstStyle>
          <a:p>
            <a:endParaRPr lang="da-DK" dirty="0"/>
          </a:p>
        </p:txBody>
      </p:sp>
      <p:sp>
        <p:nvSpPr>
          <p:cNvPr id="4" name="Slide Number Placeholder 3"/>
          <p:cNvSpPr>
            <a:spLocks noGrp="1"/>
          </p:cNvSpPr>
          <p:nvPr>
            <p:ph type="sldNum" sz="quarter" idx="4"/>
          </p:nvPr>
        </p:nvSpPr>
        <p:spPr>
          <a:xfrm>
            <a:off x="11506450" y="6541200"/>
            <a:ext cx="432600" cy="316800"/>
          </a:xfrm>
          <a:prstGeom prst="rect">
            <a:avLst/>
          </a:prstGeom>
        </p:spPr>
        <p:txBody>
          <a:bodyPr vert="horz" lIns="0" tIns="0" rIns="0" bIns="0" rtlCol="0" anchor="ctr" anchorCtr="0"/>
          <a:lstStyle>
            <a:lvl1pPr algn="l">
              <a:defRPr sz="700" b="1">
                <a:solidFill>
                  <a:schemeClr val="bg1"/>
                </a:solidFill>
                <a:latin typeface="+mn-lt"/>
              </a:defRPr>
            </a:lvl1pPr>
          </a:lstStyle>
          <a:p>
            <a:fld id="{103EA872-A674-449B-A120-B97244F8E91D}" type="slidenum">
              <a:rPr lang="da-DK" smtClean="0"/>
              <a:pPr/>
              <a:t>‹#›</a:t>
            </a:fld>
            <a:endParaRPr lang="da-DK" dirty="0"/>
          </a:p>
        </p:txBody>
      </p:sp>
      <p:sp>
        <p:nvSpPr>
          <p:cNvPr id="113666" name="Rectangle 2"/>
          <p:cNvSpPr>
            <a:spLocks noGrp="1" noChangeArrowheads="1"/>
          </p:cNvSpPr>
          <p:nvPr>
            <p:ph type="title"/>
          </p:nvPr>
        </p:nvSpPr>
        <p:spPr bwMode="auto">
          <a:xfrm>
            <a:off x="1774726" y="426127"/>
            <a:ext cx="9312374" cy="9727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b" anchorCtr="0" compatLnSpc="1">
            <a:prstTxWarp prst="textNoShape">
              <a:avLst/>
            </a:prstTxWarp>
          </a:bodyPr>
          <a:lstStyle/>
          <a:p>
            <a:pPr lvl="0"/>
            <a:r>
              <a:rPr lang="da-DK" dirty="0"/>
              <a:t>Click to edit Master title style</a:t>
            </a:r>
          </a:p>
        </p:txBody>
      </p:sp>
      <p:sp>
        <p:nvSpPr>
          <p:cNvPr id="113667" name="Rectangle 3"/>
          <p:cNvSpPr>
            <a:spLocks noGrp="1" noChangeArrowheads="1"/>
          </p:cNvSpPr>
          <p:nvPr>
            <p:ph type="body" idx="1"/>
          </p:nvPr>
        </p:nvSpPr>
        <p:spPr bwMode="auto">
          <a:xfrm>
            <a:off x="1774726" y="1706328"/>
            <a:ext cx="9312374" cy="45455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da-DK" dirty="0"/>
              <a:t>Edit Master text styles</a:t>
            </a:r>
            <a:endParaRPr lang="da-DK"/>
          </a:p>
          <a:p>
            <a:pPr lvl="1"/>
            <a:r>
              <a:rPr lang="da-DK" dirty="0"/>
              <a:t>Second level</a:t>
            </a:r>
            <a:endParaRPr lang="da-DK"/>
          </a:p>
          <a:p>
            <a:pPr lvl="2"/>
            <a:r>
              <a:rPr lang="da-DK" dirty="0"/>
              <a:t>Third level</a:t>
            </a:r>
            <a:endParaRPr lang="da-DK"/>
          </a:p>
          <a:p>
            <a:pPr lvl="3"/>
            <a:r>
              <a:rPr lang="da-DK" dirty="0"/>
              <a:t>Fourth level</a:t>
            </a:r>
            <a:endParaRPr lang="da-DK"/>
          </a:p>
          <a:p>
            <a:pPr lvl="4"/>
            <a:r>
              <a:rPr lang="da-DK" dirty="0"/>
              <a:t>Fifth level</a:t>
            </a:r>
            <a:endParaRPr lang="da-DK"/>
          </a:p>
          <a:p>
            <a:pPr lvl="5"/>
            <a:endParaRPr lang="da-DK" dirty="0"/>
          </a:p>
        </p:txBody>
      </p:sp>
      <p:sp>
        <p:nvSpPr>
          <p:cNvPr id="113676" name="text" descr="{&quot;templafy&quot;:{&quot;id&quot;:&quot;8cf2e96c-c3c6-487e-ae6c-210f45769fae&quot;}}" title="UserProfile.Offices.Workarea_{{DocumentLanguage}}"/>
          <p:cNvSpPr>
            <a:spLocks noChangeArrowheads="1"/>
          </p:cNvSpPr>
          <p:nvPr userDrawn="1"/>
        </p:nvSpPr>
        <p:spPr bwMode="auto">
          <a:xfrm>
            <a:off x="251363" y="6541200"/>
            <a:ext cx="4435699" cy="316800"/>
          </a:xfrm>
          <a:prstGeom prst="rect">
            <a:avLst/>
          </a:prstGeom>
          <a:noFill/>
          <a:ln>
            <a:noFill/>
          </a:ln>
        </p:spPr>
        <p:txBody>
          <a:bodyPr lIns="0" tIns="0" rIns="0" bIns="0" anchor="ctr" anchorCtr="0"/>
          <a:lstStyle/>
          <a:p>
            <a:pPr algn="l" eaLnBrk="0" hangingPunct="0">
              <a:spcBef>
                <a:spcPct val="0"/>
              </a:spcBef>
            </a:pPr>
            <a:r>
              <a:rPr lang="da-DK" sz="1000" b="1" dirty="0">
                <a:solidFill>
                  <a:schemeClr val="bg1"/>
                </a:solidFill>
                <a:latin typeface="+mn-lt"/>
              </a:rPr>
              <a:t>DTU Sustain – AESOP 2025</a:t>
            </a:r>
          </a:p>
        </p:txBody>
      </p:sp>
      <p:sp>
        <p:nvSpPr>
          <p:cNvPr id="2" name="Top bar">
            <a:extLst>
              <a:ext uri="{FF2B5EF4-FFF2-40B4-BE49-F238E27FC236}">
                <a16:creationId xmlns:a16="http://schemas.microsoft.com/office/drawing/2014/main" id="{35912424-89BF-4A93-9096-3282916C71FE}"/>
              </a:ext>
            </a:extLst>
          </p:cNvPr>
          <p:cNvSpPr/>
          <p:nvPr userDrawn="1"/>
        </p:nvSpPr>
        <p:spPr bwMode="auto">
          <a:xfrm>
            <a:off x="0" y="0"/>
            <a:ext cx="12193200" cy="50400"/>
          </a:xfrm>
          <a:prstGeom prst="rect">
            <a:avLst/>
          </a:prstGeom>
          <a:solidFill>
            <a:srgbClr val="008737"/>
          </a:solidFill>
          <a:ln w="9525" cap="flat" cmpd="sng" algn="ctr">
            <a:noFill/>
            <a:prstDash val="solid"/>
            <a:miter lim="800000"/>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432"/>
              </a:spcBef>
              <a:spcAft>
                <a:spcPct val="0"/>
              </a:spcAft>
              <a:buClrTx/>
              <a:buSzTx/>
              <a:buFontTx/>
              <a:buNone/>
              <a:tabLst/>
            </a:pPr>
            <a:endParaRPr kumimoji="0" lang="da-DK" sz="1600" b="0" i="0" u="none" strike="noStrike" cap="none" normalizeH="0" baseline="0" dirty="0" err="1">
              <a:ln>
                <a:noFill/>
              </a:ln>
              <a:solidFill>
                <a:srgbClr val="FFFFFF"/>
              </a:solidFill>
              <a:effectLst/>
              <a:latin typeface="+mn-lt"/>
              <a:ea typeface="ＭＳ Ｐゴシック" pitchFamily="-80" charset="-128"/>
            </a:endParaRPr>
          </a:p>
        </p:txBody>
      </p:sp>
    </p:spTree>
    <p:extLst>
      <p:ext uri="{BB962C8B-B14F-4D97-AF65-F5344CB8AC3E}">
        <p14:creationId xmlns:p14="http://schemas.microsoft.com/office/powerpoint/2010/main" val="2454702602"/>
      </p:ext>
    </p:extLst>
  </p:cSld>
  <p:clrMap bg1="lt1" tx1="dk1" bg2="lt2" tx2="dk2" accent1="accent1" accent2="accent2" accent3="accent3" accent4="accent4" accent5="accent5" accent6="accent6" hlink="hlink" folHlink="folHlink"/>
  <p:sldLayoutIdLst>
    <p:sldLayoutId id="2147483663" r:id="rId1"/>
    <p:sldLayoutId id="2147483671" r:id="rId2"/>
    <p:sldLayoutId id="2147483664" r:id="rId3"/>
    <p:sldLayoutId id="2147483677" r:id="rId4"/>
    <p:sldLayoutId id="2147483672" r:id="rId5"/>
    <p:sldLayoutId id="2147483673" r:id="rId6"/>
    <p:sldLayoutId id="2147483676" r:id="rId7"/>
    <p:sldLayoutId id="2147483666" r:id="rId8"/>
    <p:sldLayoutId id="2147483667" r:id="rId9"/>
    <p:sldLayoutId id="2147483668" r:id="rId10"/>
    <p:sldLayoutId id="2147483669" r:id="rId11"/>
    <p:sldLayoutId id="2147483679" r:id="rId12"/>
    <p:sldLayoutId id="2147483723" r:id="rId13"/>
    <p:sldLayoutId id="2147483724" r:id="rId14"/>
    <p:sldLayoutId id="2147483713" r:id="rId15"/>
    <p:sldLayoutId id="2147483714" r:id="rId16"/>
    <p:sldLayoutId id="2147483715" r:id="rId17"/>
    <p:sldLayoutId id="2147483716" r:id="rId18"/>
    <p:sldLayoutId id="2147483717" r:id="rId19"/>
    <p:sldLayoutId id="2147483718" r:id="rId20"/>
    <p:sldLayoutId id="2147483719" r:id="rId21"/>
    <p:sldLayoutId id="2147483720" r:id="rId22"/>
    <p:sldLayoutId id="2147483721" r:id="rId23"/>
    <p:sldLayoutId id="2147483722" r:id="rId24"/>
  </p:sldLayoutIdLst>
  <p:hf hdr="0" dt="0"/>
  <p:txStyles>
    <p:titleStyle>
      <a:lvl1pPr algn="l" rtl="0" eaLnBrk="1" fontAlgn="base" hangingPunct="1">
        <a:spcBef>
          <a:spcPct val="0"/>
        </a:spcBef>
        <a:spcAft>
          <a:spcPct val="0"/>
        </a:spcAft>
        <a:defRPr sz="3000" b="1">
          <a:solidFill>
            <a:srgbClr val="000000"/>
          </a:solidFill>
          <a:latin typeface="+mj-lt"/>
          <a:ea typeface="+mj-ea"/>
          <a:cs typeface="+mj-cs"/>
        </a:defRPr>
      </a:lvl1pPr>
      <a:lvl2pPr algn="l" rtl="0" eaLnBrk="1" fontAlgn="base" hangingPunct="1">
        <a:spcBef>
          <a:spcPct val="0"/>
        </a:spcBef>
        <a:spcAft>
          <a:spcPct val="0"/>
        </a:spcAft>
        <a:defRPr sz="2400" b="1">
          <a:solidFill>
            <a:schemeClr val="tx1"/>
          </a:solidFill>
          <a:latin typeface="Verdana" pitchFamily="34" charset="0"/>
          <a:ea typeface="ＭＳ Ｐゴシック" pitchFamily="-80" charset="-128"/>
        </a:defRPr>
      </a:lvl2pPr>
      <a:lvl3pPr algn="l" rtl="0" eaLnBrk="1" fontAlgn="base" hangingPunct="1">
        <a:spcBef>
          <a:spcPct val="0"/>
        </a:spcBef>
        <a:spcAft>
          <a:spcPct val="0"/>
        </a:spcAft>
        <a:defRPr sz="2400" b="1">
          <a:solidFill>
            <a:schemeClr val="tx1"/>
          </a:solidFill>
          <a:latin typeface="Verdana" pitchFamily="34" charset="0"/>
          <a:ea typeface="ＭＳ Ｐゴシック" pitchFamily="-80" charset="-128"/>
        </a:defRPr>
      </a:lvl3pPr>
      <a:lvl4pPr algn="l" rtl="0" eaLnBrk="1" fontAlgn="base" hangingPunct="1">
        <a:spcBef>
          <a:spcPct val="0"/>
        </a:spcBef>
        <a:spcAft>
          <a:spcPct val="0"/>
        </a:spcAft>
        <a:defRPr sz="2400" b="1">
          <a:solidFill>
            <a:schemeClr val="tx1"/>
          </a:solidFill>
          <a:latin typeface="Verdana" pitchFamily="34" charset="0"/>
          <a:ea typeface="ＭＳ Ｐゴシック" pitchFamily="-80" charset="-128"/>
        </a:defRPr>
      </a:lvl4pPr>
      <a:lvl5pPr algn="l" rtl="0" eaLnBrk="1" fontAlgn="base" hangingPunct="1">
        <a:spcBef>
          <a:spcPct val="0"/>
        </a:spcBef>
        <a:spcAft>
          <a:spcPct val="0"/>
        </a:spcAft>
        <a:defRPr sz="2400" b="1">
          <a:solidFill>
            <a:schemeClr val="tx1"/>
          </a:solidFill>
          <a:latin typeface="Verdana" pitchFamily="34" charset="0"/>
          <a:ea typeface="ＭＳ Ｐゴシック" pitchFamily="-80" charset="-128"/>
        </a:defRPr>
      </a:lvl5pPr>
      <a:lvl6pPr marL="457200" algn="l" rtl="0" eaLnBrk="1" fontAlgn="base" hangingPunct="1">
        <a:spcBef>
          <a:spcPct val="0"/>
        </a:spcBef>
        <a:spcAft>
          <a:spcPct val="0"/>
        </a:spcAft>
        <a:defRPr sz="2400" b="1">
          <a:solidFill>
            <a:schemeClr val="tx1"/>
          </a:solidFill>
          <a:latin typeface="Verdana" pitchFamily="34" charset="0"/>
          <a:ea typeface="ＭＳ Ｐゴシック" pitchFamily="-80" charset="-128"/>
        </a:defRPr>
      </a:lvl6pPr>
      <a:lvl7pPr marL="914400" algn="l" rtl="0" eaLnBrk="1" fontAlgn="base" hangingPunct="1">
        <a:spcBef>
          <a:spcPct val="0"/>
        </a:spcBef>
        <a:spcAft>
          <a:spcPct val="0"/>
        </a:spcAft>
        <a:defRPr sz="2400" b="1">
          <a:solidFill>
            <a:schemeClr val="tx1"/>
          </a:solidFill>
          <a:latin typeface="Verdana" pitchFamily="34" charset="0"/>
          <a:ea typeface="ＭＳ Ｐゴシック" pitchFamily="-80" charset="-128"/>
        </a:defRPr>
      </a:lvl7pPr>
      <a:lvl8pPr marL="1371600" algn="l" rtl="0" eaLnBrk="1" fontAlgn="base" hangingPunct="1">
        <a:spcBef>
          <a:spcPct val="0"/>
        </a:spcBef>
        <a:spcAft>
          <a:spcPct val="0"/>
        </a:spcAft>
        <a:defRPr sz="2400" b="1">
          <a:solidFill>
            <a:schemeClr val="tx1"/>
          </a:solidFill>
          <a:latin typeface="Verdana" pitchFamily="34" charset="0"/>
          <a:ea typeface="ＭＳ Ｐゴシック" pitchFamily="-80" charset="-128"/>
        </a:defRPr>
      </a:lvl8pPr>
      <a:lvl9pPr marL="1828800" algn="l" rtl="0" eaLnBrk="1" fontAlgn="base" hangingPunct="1">
        <a:spcBef>
          <a:spcPct val="0"/>
        </a:spcBef>
        <a:spcAft>
          <a:spcPct val="0"/>
        </a:spcAft>
        <a:defRPr sz="2400" b="1">
          <a:solidFill>
            <a:schemeClr val="tx1"/>
          </a:solidFill>
          <a:latin typeface="Verdana" pitchFamily="34" charset="0"/>
          <a:ea typeface="ＭＳ Ｐゴシック" pitchFamily="-80" charset="-128"/>
        </a:defRPr>
      </a:lvl9pPr>
    </p:titleStyle>
    <p:bodyStyle>
      <a:lvl1pPr marL="198000" indent="-198000" algn="l" rtl="0" eaLnBrk="1" fontAlgn="base" hangingPunct="1">
        <a:spcBef>
          <a:spcPct val="20000"/>
        </a:spcBef>
        <a:spcAft>
          <a:spcPct val="0"/>
        </a:spcAft>
        <a:buChar char="•"/>
        <a:defRPr sz="1800">
          <a:solidFill>
            <a:schemeClr val="tx1"/>
          </a:solidFill>
          <a:latin typeface="+mn-lt"/>
          <a:ea typeface="+mn-ea"/>
          <a:cs typeface="+mn-cs"/>
        </a:defRPr>
      </a:lvl1pPr>
      <a:lvl2pPr marL="414000" indent="-198000" algn="l" rtl="0" eaLnBrk="1" fontAlgn="base" hangingPunct="1">
        <a:spcBef>
          <a:spcPct val="20000"/>
        </a:spcBef>
        <a:spcAft>
          <a:spcPct val="0"/>
        </a:spcAft>
        <a:buChar char="–"/>
        <a:defRPr sz="1800">
          <a:solidFill>
            <a:schemeClr val="tx1"/>
          </a:solidFill>
          <a:latin typeface="+mn-lt"/>
          <a:ea typeface="+mn-ea"/>
        </a:defRPr>
      </a:lvl2pPr>
      <a:lvl3pPr marL="615600" indent="-198000" algn="l" rtl="0" eaLnBrk="1" fontAlgn="base" hangingPunct="1">
        <a:spcBef>
          <a:spcPct val="20000"/>
        </a:spcBef>
        <a:spcAft>
          <a:spcPct val="0"/>
        </a:spcAft>
        <a:buChar char="•"/>
        <a:defRPr sz="1800">
          <a:solidFill>
            <a:schemeClr val="tx1"/>
          </a:solidFill>
          <a:latin typeface="+mn-lt"/>
          <a:ea typeface="+mn-ea"/>
        </a:defRPr>
      </a:lvl3pPr>
      <a:lvl4pPr marL="828000" indent="-198000" algn="l" rtl="0" eaLnBrk="1" fontAlgn="base" hangingPunct="1">
        <a:spcBef>
          <a:spcPct val="20000"/>
        </a:spcBef>
        <a:spcAft>
          <a:spcPct val="0"/>
        </a:spcAft>
        <a:buChar char="–"/>
        <a:defRPr sz="1800">
          <a:solidFill>
            <a:schemeClr val="tx1"/>
          </a:solidFill>
          <a:latin typeface="+mn-lt"/>
          <a:ea typeface="+mn-ea"/>
        </a:defRPr>
      </a:lvl4pPr>
      <a:lvl5pPr marL="1026000" indent="-198000" algn="l" rtl="0" eaLnBrk="1" fontAlgn="base" hangingPunct="1">
        <a:spcBef>
          <a:spcPct val="20000"/>
        </a:spcBef>
        <a:spcAft>
          <a:spcPct val="0"/>
        </a:spcAft>
        <a:buChar char="»"/>
        <a:defRPr sz="1800">
          <a:solidFill>
            <a:schemeClr val="tx1"/>
          </a:solidFill>
          <a:latin typeface="+mn-lt"/>
          <a:ea typeface="+mn-ea"/>
        </a:defRPr>
      </a:lvl5pPr>
      <a:lvl6pPr marL="1026000" indent="-198000" algn="l" rtl="0" eaLnBrk="1" fontAlgn="base" hangingPunct="1">
        <a:spcBef>
          <a:spcPct val="20000"/>
        </a:spcBef>
        <a:spcAft>
          <a:spcPct val="0"/>
        </a:spcAft>
        <a:buChar char="»"/>
        <a:defRPr sz="1800">
          <a:solidFill>
            <a:schemeClr val="tx1"/>
          </a:solidFill>
          <a:latin typeface="+mn-lt"/>
          <a:ea typeface="+mn-ea"/>
        </a:defRPr>
      </a:lvl6pPr>
      <a:lvl7pPr marL="1026000" indent="-198000" algn="l" rtl="0" eaLnBrk="1" fontAlgn="base" hangingPunct="1">
        <a:spcBef>
          <a:spcPct val="20000"/>
        </a:spcBef>
        <a:spcAft>
          <a:spcPct val="0"/>
        </a:spcAft>
        <a:buChar char="»"/>
        <a:defRPr sz="1800">
          <a:solidFill>
            <a:schemeClr val="tx1"/>
          </a:solidFill>
          <a:latin typeface="+mn-lt"/>
          <a:ea typeface="+mn-ea"/>
        </a:defRPr>
      </a:lvl7pPr>
      <a:lvl8pPr marL="1026000" indent="-198000" algn="l" rtl="0" eaLnBrk="1" fontAlgn="base" hangingPunct="1">
        <a:spcBef>
          <a:spcPct val="20000"/>
        </a:spcBef>
        <a:spcAft>
          <a:spcPct val="0"/>
        </a:spcAft>
        <a:buChar char="»"/>
        <a:defRPr sz="1800">
          <a:solidFill>
            <a:schemeClr val="tx1"/>
          </a:solidFill>
          <a:latin typeface="+mn-lt"/>
          <a:ea typeface="+mn-ea"/>
        </a:defRPr>
      </a:lvl8pPr>
      <a:lvl9pPr marL="1026000" indent="-198000" algn="l" rtl="0" eaLnBrk="1" fontAlgn="base" hangingPunct="1">
        <a:spcBef>
          <a:spcPct val="20000"/>
        </a:spcBef>
        <a:spcAft>
          <a:spcPct val="0"/>
        </a:spcAft>
        <a:buChar char="»"/>
        <a:defRPr sz="1800">
          <a:solidFill>
            <a:schemeClr val="tx1"/>
          </a:solidFill>
          <a:latin typeface="+mn-lt"/>
          <a:ea typeface="+mn-ea"/>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68" userDrawn="1">
          <p15:clr>
            <a:srgbClr val="F26B43"/>
          </p15:clr>
        </p15:guide>
        <p15:guide id="4" orient="horz" pos="881" userDrawn="1">
          <p15:clr>
            <a:srgbClr val="F26B43"/>
          </p15:clr>
        </p15:guide>
        <p15:guide id="5" orient="horz" pos="1074" userDrawn="1">
          <p15:clr>
            <a:srgbClr val="F26B43"/>
          </p15:clr>
        </p15:guide>
        <p15:guide id="6" orient="horz" pos="393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9" name="Logo color">
            <a:extLst>
              <a:ext uri="{FF2B5EF4-FFF2-40B4-BE49-F238E27FC236}">
                <a16:creationId xmlns:a16="http://schemas.microsoft.com/office/drawing/2014/main" id="{ADC92552-7939-46C1-AAFE-B97F51EBFFE9}"/>
              </a:ext>
            </a:extLst>
          </p:cNvPr>
          <p:cNvSpPr>
            <a:spLocks noChangeAspect="1"/>
          </p:cNvSpPr>
          <p:nvPr userDrawn="1">
            <p:custDataLst>
              <p:tags r:id="rId14"/>
            </p:custDataLst>
          </p:nvPr>
        </p:nvSpPr>
        <p:spPr bwMode="auto">
          <a:xfrm>
            <a:off x="252000" y="252000"/>
            <a:ext cx="419611" cy="612000"/>
          </a:xfrm>
          <a:custGeom>
            <a:avLst/>
            <a:gdLst>
              <a:gd name="connsiteX0" fmla="*/ 1050029 w 4933949"/>
              <a:gd name="connsiteY0" fmla="*/ 6094413 h 7196138"/>
              <a:gd name="connsiteX1" fmla="*/ 3883920 w 4933949"/>
              <a:gd name="connsiteY1" fmla="*/ 6094413 h 7196138"/>
              <a:gd name="connsiteX2" fmla="*/ 4933949 w 4933949"/>
              <a:gd name="connsiteY2" fmla="*/ 6645934 h 7196138"/>
              <a:gd name="connsiteX3" fmla="*/ 3883920 w 4933949"/>
              <a:gd name="connsiteY3" fmla="*/ 7196138 h 7196138"/>
              <a:gd name="connsiteX4" fmla="*/ 1050029 w 4933949"/>
              <a:gd name="connsiteY4" fmla="*/ 7196138 h 7196138"/>
              <a:gd name="connsiteX5" fmla="*/ 0 w 4933949"/>
              <a:gd name="connsiteY5" fmla="*/ 6645934 h 7196138"/>
              <a:gd name="connsiteX6" fmla="*/ 1050029 w 4933949"/>
              <a:gd name="connsiteY6" fmla="*/ 6094413 h 7196138"/>
              <a:gd name="connsiteX7" fmla="*/ 1050029 w 4933949"/>
              <a:gd name="connsiteY7" fmla="*/ 4730750 h 7196138"/>
              <a:gd name="connsiteX8" fmla="*/ 3883920 w 4933949"/>
              <a:gd name="connsiteY8" fmla="*/ 4730750 h 7196138"/>
              <a:gd name="connsiteX9" fmla="*/ 4933949 w 4933949"/>
              <a:gd name="connsiteY9" fmla="*/ 5283066 h 7196138"/>
              <a:gd name="connsiteX10" fmla="*/ 3883920 w 4933949"/>
              <a:gd name="connsiteY10" fmla="*/ 5834063 h 7196138"/>
              <a:gd name="connsiteX11" fmla="*/ 1050029 w 4933949"/>
              <a:gd name="connsiteY11" fmla="*/ 5834063 h 7196138"/>
              <a:gd name="connsiteX12" fmla="*/ 0 w 4933949"/>
              <a:gd name="connsiteY12" fmla="*/ 5283066 h 7196138"/>
              <a:gd name="connsiteX13" fmla="*/ 1050029 w 4933949"/>
              <a:gd name="connsiteY13" fmla="*/ 4730750 h 7196138"/>
              <a:gd name="connsiteX14" fmla="*/ 1050029 w 4933949"/>
              <a:gd name="connsiteY14" fmla="*/ 3368675 h 7196138"/>
              <a:gd name="connsiteX15" fmla="*/ 3883920 w 4933949"/>
              <a:gd name="connsiteY15" fmla="*/ 3368675 h 7196138"/>
              <a:gd name="connsiteX16" fmla="*/ 4933949 w 4933949"/>
              <a:gd name="connsiteY16" fmla="*/ 3920991 h 7196138"/>
              <a:gd name="connsiteX17" fmla="*/ 3883920 w 4933949"/>
              <a:gd name="connsiteY17" fmla="*/ 4471988 h 7196138"/>
              <a:gd name="connsiteX18" fmla="*/ 1050029 w 4933949"/>
              <a:gd name="connsiteY18" fmla="*/ 4471988 h 7196138"/>
              <a:gd name="connsiteX19" fmla="*/ 0 w 4933949"/>
              <a:gd name="connsiteY19" fmla="*/ 3920991 h 7196138"/>
              <a:gd name="connsiteX20" fmla="*/ 1050029 w 4933949"/>
              <a:gd name="connsiteY20" fmla="*/ 3368675 h 7196138"/>
              <a:gd name="connsiteX21" fmla="*/ 678543 w 4933949"/>
              <a:gd name="connsiteY21" fmla="*/ 305710 h 7196138"/>
              <a:gd name="connsiteX22" fmla="*/ 678543 w 4933949"/>
              <a:gd name="connsiteY22" fmla="*/ 2307316 h 7196138"/>
              <a:gd name="connsiteX23" fmla="*/ 909109 w 4933949"/>
              <a:gd name="connsiteY23" fmla="*/ 2307316 h 7196138"/>
              <a:gd name="connsiteX24" fmla="*/ 1119911 w 4933949"/>
              <a:gd name="connsiteY24" fmla="*/ 2234842 h 7196138"/>
              <a:gd name="connsiteX25" fmla="*/ 1198962 w 4933949"/>
              <a:gd name="connsiteY25" fmla="*/ 1615517 h 7196138"/>
              <a:gd name="connsiteX26" fmla="*/ 1198962 w 4933949"/>
              <a:gd name="connsiteY26" fmla="*/ 996191 h 7196138"/>
              <a:gd name="connsiteX27" fmla="*/ 1119911 w 4933949"/>
              <a:gd name="connsiteY27" fmla="*/ 378184 h 7196138"/>
              <a:gd name="connsiteX28" fmla="*/ 909109 w 4933949"/>
              <a:gd name="connsiteY28" fmla="*/ 305710 h 7196138"/>
              <a:gd name="connsiteX29" fmla="*/ 678543 w 4933949"/>
              <a:gd name="connsiteY29" fmla="*/ 305710 h 7196138"/>
              <a:gd name="connsiteX30" fmla="*/ 1842869 w 4933949"/>
              <a:gd name="connsiteY30" fmla="*/ 0 h 7196138"/>
              <a:gd name="connsiteX31" fmla="*/ 3073618 w 4933949"/>
              <a:gd name="connsiteY31" fmla="*/ 0 h 7196138"/>
              <a:gd name="connsiteX32" fmla="*/ 3114467 w 4933949"/>
              <a:gd name="connsiteY32" fmla="*/ 14495 h 7196138"/>
              <a:gd name="connsiteX33" fmla="*/ 3128962 w 4933949"/>
              <a:gd name="connsiteY33" fmla="*/ 54027 h 7196138"/>
              <a:gd name="connsiteX34" fmla="*/ 3128962 w 4933949"/>
              <a:gd name="connsiteY34" fmla="*/ 275402 h 7196138"/>
              <a:gd name="connsiteX35" fmla="*/ 3114467 w 4933949"/>
              <a:gd name="connsiteY35" fmla="*/ 314934 h 7196138"/>
              <a:gd name="connsiteX36" fmla="*/ 3073618 w 4933949"/>
              <a:gd name="connsiteY36" fmla="*/ 329429 h 7196138"/>
              <a:gd name="connsiteX37" fmla="*/ 2679620 w 4933949"/>
              <a:gd name="connsiteY37" fmla="*/ 329429 h 7196138"/>
              <a:gd name="connsiteX38" fmla="*/ 2679620 w 4933949"/>
              <a:gd name="connsiteY38" fmla="*/ 2558999 h 7196138"/>
              <a:gd name="connsiteX39" fmla="*/ 2665125 w 4933949"/>
              <a:gd name="connsiteY39" fmla="*/ 2598530 h 7196138"/>
              <a:gd name="connsiteX40" fmla="*/ 2625594 w 4933949"/>
              <a:gd name="connsiteY40" fmla="*/ 2613025 h 7196138"/>
              <a:gd name="connsiteX41" fmla="*/ 2290893 w 4933949"/>
              <a:gd name="connsiteY41" fmla="*/ 2613025 h 7196138"/>
              <a:gd name="connsiteX42" fmla="*/ 2250044 w 4933949"/>
              <a:gd name="connsiteY42" fmla="*/ 2598530 h 7196138"/>
              <a:gd name="connsiteX43" fmla="*/ 2235549 w 4933949"/>
              <a:gd name="connsiteY43" fmla="*/ 2558999 h 7196138"/>
              <a:gd name="connsiteX44" fmla="*/ 2235549 w 4933949"/>
              <a:gd name="connsiteY44" fmla="*/ 329429 h 7196138"/>
              <a:gd name="connsiteX45" fmla="*/ 1842869 w 4933949"/>
              <a:gd name="connsiteY45" fmla="*/ 329429 h 7196138"/>
              <a:gd name="connsiteX46" fmla="*/ 1802020 w 4933949"/>
              <a:gd name="connsiteY46" fmla="*/ 314934 h 7196138"/>
              <a:gd name="connsiteX47" fmla="*/ 1787525 w 4933949"/>
              <a:gd name="connsiteY47" fmla="*/ 275402 h 7196138"/>
              <a:gd name="connsiteX48" fmla="*/ 1787525 w 4933949"/>
              <a:gd name="connsiteY48" fmla="*/ 54027 h 7196138"/>
              <a:gd name="connsiteX49" fmla="*/ 1802020 w 4933949"/>
              <a:gd name="connsiteY49" fmla="*/ 14495 h 7196138"/>
              <a:gd name="connsiteX50" fmla="*/ 1842869 w 4933949"/>
              <a:gd name="connsiteY50" fmla="*/ 0 h 7196138"/>
              <a:gd name="connsiteX51" fmla="*/ 317544 w 4933949"/>
              <a:gd name="connsiteY51" fmla="*/ 0 h 7196138"/>
              <a:gd name="connsiteX52" fmla="*/ 972349 w 4933949"/>
              <a:gd name="connsiteY52" fmla="*/ 0 h 7196138"/>
              <a:gd name="connsiteX53" fmla="*/ 1476958 w 4933949"/>
              <a:gd name="connsiteY53" fmla="*/ 179209 h 7196138"/>
              <a:gd name="connsiteX54" fmla="*/ 1619250 w 4933949"/>
              <a:gd name="connsiteY54" fmla="*/ 1025181 h 7196138"/>
              <a:gd name="connsiteX55" fmla="*/ 1619250 w 4933949"/>
              <a:gd name="connsiteY55" fmla="*/ 1587845 h 7196138"/>
              <a:gd name="connsiteX56" fmla="*/ 1476958 w 4933949"/>
              <a:gd name="connsiteY56" fmla="*/ 2433816 h 7196138"/>
              <a:gd name="connsiteX57" fmla="*/ 972349 w 4933949"/>
              <a:gd name="connsiteY57" fmla="*/ 2613025 h 7196138"/>
              <a:gd name="connsiteX58" fmla="*/ 317544 w 4933949"/>
              <a:gd name="connsiteY58" fmla="*/ 2613025 h 7196138"/>
              <a:gd name="connsiteX59" fmla="*/ 278018 w 4933949"/>
              <a:gd name="connsiteY59" fmla="*/ 2598530 h 7196138"/>
              <a:gd name="connsiteX60" fmla="*/ 263525 w 4933949"/>
              <a:gd name="connsiteY60" fmla="*/ 2558999 h 7196138"/>
              <a:gd name="connsiteX61" fmla="*/ 263525 w 4933949"/>
              <a:gd name="connsiteY61" fmla="*/ 54027 h 7196138"/>
              <a:gd name="connsiteX62" fmla="*/ 278018 w 4933949"/>
              <a:gd name="connsiteY62" fmla="*/ 14495 h 7196138"/>
              <a:gd name="connsiteX63" fmla="*/ 317544 w 4933949"/>
              <a:gd name="connsiteY63" fmla="*/ 0 h 7196138"/>
              <a:gd name="connsiteX64" fmla="*/ 3359213 w 4933949"/>
              <a:gd name="connsiteY64" fmla="*/ 0 h 7196138"/>
              <a:gd name="connsiteX65" fmla="*/ 3664991 w 4933949"/>
              <a:gd name="connsiteY65" fmla="*/ 0 h 7196138"/>
              <a:gd name="connsiteX66" fmla="*/ 3705850 w 4933949"/>
              <a:gd name="connsiteY66" fmla="*/ 14497 h 7196138"/>
              <a:gd name="connsiteX67" fmla="*/ 3720348 w 4933949"/>
              <a:gd name="connsiteY67" fmla="*/ 54035 h 7196138"/>
              <a:gd name="connsiteX68" fmla="*/ 3720348 w 4933949"/>
              <a:gd name="connsiteY68" fmla="*/ 1903062 h 7196138"/>
              <a:gd name="connsiteX69" fmla="*/ 3798111 w 4933949"/>
              <a:gd name="connsiteY69" fmla="*/ 2279984 h 7196138"/>
              <a:gd name="connsiteX70" fmla="*/ 3976042 w 4933949"/>
              <a:gd name="connsiteY70" fmla="*/ 2349833 h 7196138"/>
              <a:gd name="connsiteX71" fmla="*/ 4163200 w 4933949"/>
              <a:gd name="connsiteY71" fmla="*/ 2279984 h 7196138"/>
              <a:gd name="connsiteX72" fmla="*/ 4240963 w 4933949"/>
              <a:gd name="connsiteY72" fmla="*/ 1903062 h 7196138"/>
              <a:gd name="connsiteX73" fmla="*/ 4240963 w 4933949"/>
              <a:gd name="connsiteY73" fmla="*/ 54035 h 7196138"/>
              <a:gd name="connsiteX74" fmla="*/ 4255461 w 4933949"/>
              <a:gd name="connsiteY74" fmla="*/ 14497 h 7196138"/>
              <a:gd name="connsiteX75" fmla="*/ 4295001 w 4933949"/>
              <a:gd name="connsiteY75" fmla="*/ 0 h 7196138"/>
              <a:gd name="connsiteX76" fmla="*/ 4602098 w 4933949"/>
              <a:gd name="connsiteY76" fmla="*/ 0 h 7196138"/>
              <a:gd name="connsiteX77" fmla="*/ 4641638 w 4933949"/>
              <a:gd name="connsiteY77" fmla="*/ 14497 h 7196138"/>
              <a:gd name="connsiteX78" fmla="*/ 4656136 w 4933949"/>
              <a:gd name="connsiteY78" fmla="*/ 54035 h 7196138"/>
              <a:gd name="connsiteX79" fmla="*/ 4656136 w 4933949"/>
              <a:gd name="connsiteY79" fmla="*/ 1904380 h 7196138"/>
              <a:gd name="connsiteX80" fmla="*/ 4507201 w 4933949"/>
              <a:gd name="connsiteY80" fmla="*/ 2459220 h 7196138"/>
              <a:gd name="connsiteX81" fmla="*/ 3981314 w 4933949"/>
              <a:gd name="connsiteY81" fmla="*/ 2646363 h 7196138"/>
              <a:gd name="connsiteX82" fmla="*/ 3447519 w 4933949"/>
              <a:gd name="connsiteY82" fmla="*/ 2459220 h 7196138"/>
              <a:gd name="connsiteX83" fmla="*/ 3305174 w 4933949"/>
              <a:gd name="connsiteY83" fmla="*/ 1904380 h 7196138"/>
              <a:gd name="connsiteX84" fmla="*/ 3305174 w 4933949"/>
              <a:gd name="connsiteY84" fmla="*/ 54035 h 7196138"/>
              <a:gd name="connsiteX85" fmla="*/ 3318354 w 4933949"/>
              <a:gd name="connsiteY85" fmla="*/ 14497 h 7196138"/>
              <a:gd name="connsiteX86" fmla="*/ 3359213 w 4933949"/>
              <a:gd name="connsiteY86" fmla="*/ 0 h 7196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933949" h="7196138">
                <a:moveTo>
                  <a:pt x="1050029" y="6094413"/>
                </a:moveTo>
                <a:cubicBezTo>
                  <a:pt x="2409664" y="6623557"/>
                  <a:pt x="2524285" y="6623557"/>
                  <a:pt x="3883920" y="6094413"/>
                </a:cubicBezTo>
                <a:cubicBezTo>
                  <a:pt x="3883920" y="6094413"/>
                  <a:pt x="3883920" y="6094413"/>
                  <a:pt x="4933949" y="6645934"/>
                </a:cubicBezTo>
                <a:cubicBezTo>
                  <a:pt x="4933949" y="6645934"/>
                  <a:pt x="4933949" y="6645934"/>
                  <a:pt x="3883920" y="7196138"/>
                </a:cubicBezTo>
                <a:cubicBezTo>
                  <a:pt x="2524285" y="6668311"/>
                  <a:pt x="2409664" y="6668311"/>
                  <a:pt x="1050029" y="7196138"/>
                </a:cubicBezTo>
                <a:cubicBezTo>
                  <a:pt x="1050029" y="7196138"/>
                  <a:pt x="1050029" y="7196138"/>
                  <a:pt x="0" y="6645934"/>
                </a:cubicBezTo>
                <a:cubicBezTo>
                  <a:pt x="0" y="6645934"/>
                  <a:pt x="0" y="6645934"/>
                  <a:pt x="1050029" y="6094413"/>
                </a:cubicBezTo>
                <a:close/>
                <a:moveTo>
                  <a:pt x="1050029" y="4730750"/>
                </a:moveTo>
                <a:cubicBezTo>
                  <a:pt x="2409664" y="5260657"/>
                  <a:pt x="2524285" y="5260657"/>
                  <a:pt x="3883920" y="4730750"/>
                </a:cubicBezTo>
                <a:cubicBezTo>
                  <a:pt x="3883920" y="4730750"/>
                  <a:pt x="3883920" y="4730750"/>
                  <a:pt x="4933949" y="5283066"/>
                </a:cubicBezTo>
                <a:cubicBezTo>
                  <a:pt x="4933949" y="5283066"/>
                  <a:pt x="4933949" y="5283066"/>
                  <a:pt x="3883920" y="5834063"/>
                </a:cubicBezTo>
                <a:cubicBezTo>
                  <a:pt x="2524285" y="5305475"/>
                  <a:pt x="2409664" y="5305475"/>
                  <a:pt x="1050029" y="5834063"/>
                </a:cubicBezTo>
                <a:cubicBezTo>
                  <a:pt x="1050029" y="5834063"/>
                  <a:pt x="1050029" y="5834063"/>
                  <a:pt x="0" y="5283066"/>
                </a:cubicBezTo>
                <a:cubicBezTo>
                  <a:pt x="0" y="5283066"/>
                  <a:pt x="0" y="5283066"/>
                  <a:pt x="1050029" y="4730750"/>
                </a:cubicBezTo>
                <a:close/>
                <a:moveTo>
                  <a:pt x="1050029" y="3368675"/>
                </a:moveTo>
                <a:cubicBezTo>
                  <a:pt x="2409664" y="3898582"/>
                  <a:pt x="2524285" y="3898582"/>
                  <a:pt x="3883920" y="3368675"/>
                </a:cubicBezTo>
                <a:cubicBezTo>
                  <a:pt x="3883920" y="3368675"/>
                  <a:pt x="3883920" y="3368675"/>
                  <a:pt x="4933949" y="3920991"/>
                </a:cubicBezTo>
                <a:cubicBezTo>
                  <a:pt x="4933949" y="3920991"/>
                  <a:pt x="4933949" y="3920991"/>
                  <a:pt x="3883920" y="4471988"/>
                </a:cubicBezTo>
                <a:cubicBezTo>
                  <a:pt x="2524285" y="3943400"/>
                  <a:pt x="2409664" y="3943400"/>
                  <a:pt x="1050029" y="4471988"/>
                </a:cubicBezTo>
                <a:cubicBezTo>
                  <a:pt x="1050029" y="4471988"/>
                  <a:pt x="1050029" y="4471988"/>
                  <a:pt x="0" y="3920991"/>
                </a:cubicBezTo>
                <a:cubicBezTo>
                  <a:pt x="0" y="3920991"/>
                  <a:pt x="0" y="3920991"/>
                  <a:pt x="1050029" y="3368675"/>
                </a:cubicBezTo>
                <a:close/>
                <a:moveTo>
                  <a:pt x="678543" y="305710"/>
                </a:moveTo>
                <a:lnTo>
                  <a:pt x="678543" y="2307316"/>
                </a:lnTo>
                <a:cubicBezTo>
                  <a:pt x="678543" y="2307316"/>
                  <a:pt x="678543" y="2307316"/>
                  <a:pt x="909109" y="2307316"/>
                </a:cubicBezTo>
                <a:cubicBezTo>
                  <a:pt x="1011875" y="2307316"/>
                  <a:pt x="1072481" y="2291503"/>
                  <a:pt x="1119911" y="2234842"/>
                </a:cubicBezTo>
                <a:cubicBezTo>
                  <a:pt x="1192375" y="2147873"/>
                  <a:pt x="1198962" y="1971299"/>
                  <a:pt x="1198962" y="1615517"/>
                </a:cubicBezTo>
                <a:cubicBezTo>
                  <a:pt x="1198962" y="1615517"/>
                  <a:pt x="1198962" y="1615517"/>
                  <a:pt x="1198962" y="996191"/>
                </a:cubicBezTo>
                <a:cubicBezTo>
                  <a:pt x="1198962" y="641727"/>
                  <a:pt x="1192375" y="465153"/>
                  <a:pt x="1119911" y="378184"/>
                </a:cubicBezTo>
                <a:cubicBezTo>
                  <a:pt x="1072481" y="321522"/>
                  <a:pt x="1011875" y="305710"/>
                  <a:pt x="909109" y="305710"/>
                </a:cubicBezTo>
                <a:cubicBezTo>
                  <a:pt x="909109" y="305710"/>
                  <a:pt x="909109" y="305710"/>
                  <a:pt x="678543" y="305710"/>
                </a:cubicBezTo>
                <a:close/>
                <a:moveTo>
                  <a:pt x="1842869" y="0"/>
                </a:moveTo>
                <a:cubicBezTo>
                  <a:pt x="1842869" y="0"/>
                  <a:pt x="1842869" y="0"/>
                  <a:pt x="3073618" y="0"/>
                </a:cubicBezTo>
                <a:cubicBezTo>
                  <a:pt x="3093384" y="0"/>
                  <a:pt x="3105243" y="5271"/>
                  <a:pt x="3114467" y="14495"/>
                </a:cubicBezTo>
                <a:cubicBezTo>
                  <a:pt x="3122374" y="22401"/>
                  <a:pt x="3128962" y="34261"/>
                  <a:pt x="3128962" y="54027"/>
                </a:cubicBezTo>
                <a:cubicBezTo>
                  <a:pt x="3128962" y="54027"/>
                  <a:pt x="3128962" y="54027"/>
                  <a:pt x="3128962" y="275402"/>
                </a:cubicBezTo>
                <a:cubicBezTo>
                  <a:pt x="3128962" y="295168"/>
                  <a:pt x="3122374" y="307028"/>
                  <a:pt x="3114467" y="314934"/>
                </a:cubicBezTo>
                <a:cubicBezTo>
                  <a:pt x="3105243" y="324158"/>
                  <a:pt x="3093384" y="329429"/>
                  <a:pt x="3073618" y="329429"/>
                </a:cubicBezTo>
                <a:cubicBezTo>
                  <a:pt x="3073618" y="329429"/>
                  <a:pt x="3073618" y="329429"/>
                  <a:pt x="2679620" y="329429"/>
                </a:cubicBezTo>
                <a:cubicBezTo>
                  <a:pt x="2679620" y="329429"/>
                  <a:pt x="2679620" y="329429"/>
                  <a:pt x="2679620" y="2558999"/>
                </a:cubicBezTo>
                <a:cubicBezTo>
                  <a:pt x="2679620" y="2578765"/>
                  <a:pt x="2674349" y="2590624"/>
                  <a:pt x="2665125" y="2598530"/>
                </a:cubicBezTo>
                <a:cubicBezTo>
                  <a:pt x="2657219" y="2607755"/>
                  <a:pt x="2645360" y="2613025"/>
                  <a:pt x="2625594" y="2613025"/>
                </a:cubicBezTo>
                <a:cubicBezTo>
                  <a:pt x="2625594" y="2613025"/>
                  <a:pt x="2625594" y="2613025"/>
                  <a:pt x="2290893" y="2613025"/>
                </a:cubicBezTo>
                <a:cubicBezTo>
                  <a:pt x="2271128" y="2613025"/>
                  <a:pt x="2259268" y="2607755"/>
                  <a:pt x="2250044" y="2598530"/>
                </a:cubicBezTo>
                <a:cubicBezTo>
                  <a:pt x="2240820" y="2590624"/>
                  <a:pt x="2235549" y="2578765"/>
                  <a:pt x="2235549" y="2558999"/>
                </a:cubicBezTo>
                <a:cubicBezTo>
                  <a:pt x="2235549" y="2558999"/>
                  <a:pt x="2235549" y="2558999"/>
                  <a:pt x="2235549" y="329429"/>
                </a:cubicBezTo>
                <a:cubicBezTo>
                  <a:pt x="2235549" y="329429"/>
                  <a:pt x="2235549" y="329429"/>
                  <a:pt x="1842869" y="329429"/>
                </a:cubicBezTo>
                <a:cubicBezTo>
                  <a:pt x="1823104" y="329429"/>
                  <a:pt x="1811244" y="324158"/>
                  <a:pt x="1802020" y="314934"/>
                </a:cubicBezTo>
                <a:cubicBezTo>
                  <a:pt x="1792796" y="307028"/>
                  <a:pt x="1787525" y="295168"/>
                  <a:pt x="1787525" y="275402"/>
                </a:cubicBezTo>
                <a:cubicBezTo>
                  <a:pt x="1787525" y="275402"/>
                  <a:pt x="1787525" y="275402"/>
                  <a:pt x="1787525" y="54027"/>
                </a:cubicBezTo>
                <a:cubicBezTo>
                  <a:pt x="1787525" y="34261"/>
                  <a:pt x="1792796" y="22401"/>
                  <a:pt x="1802020" y="14495"/>
                </a:cubicBezTo>
                <a:cubicBezTo>
                  <a:pt x="1811244" y="5271"/>
                  <a:pt x="1823104" y="0"/>
                  <a:pt x="1842869" y="0"/>
                </a:cubicBezTo>
                <a:close/>
                <a:moveTo>
                  <a:pt x="317544" y="0"/>
                </a:moveTo>
                <a:cubicBezTo>
                  <a:pt x="317544" y="0"/>
                  <a:pt x="317544" y="0"/>
                  <a:pt x="972349" y="0"/>
                </a:cubicBezTo>
                <a:cubicBezTo>
                  <a:pt x="1226630" y="0"/>
                  <a:pt x="1382097" y="57980"/>
                  <a:pt x="1476958" y="179209"/>
                </a:cubicBezTo>
                <a:cubicBezTo>
                  <a:pt x="1615298" y="345241"/>
                  <a:pt x="1619250" y="614055"/>
                  <a:pt x="1619250" y="1025181"/>
                </a:cubicBezTo>
                <a:cubicBezTo>
                  <a:pt x="1619250" y="1025181"/>
                  <a:pt x="1619250" y="1025181"/>
                  <a:pt x="1619250" y="1587845"/>
                </a:cubicBezTo>
                <a:cubicBezTo>
                  <a:pt x="1619250" y="1998971"/>
                  <a:pt x="1615298" y="2267784"/>
                  <a:pt x="1476958" y="2433816"/>
                </a:cubicBezTo>
                <a:cubicBezTo>
                  <a:pt x="1382097" y="2555046"/>
                  <a:pt x="1226630" y="2613025"/>
                  <a:pt x="972349" y="2613025"/>
                </a:cubicBezTo>
                <a:cubicBezTo>
                  <a:pt x="972349" y="2613025"/>
                  <a:pt x="972349" y="2613025"/>
                  <a:pt x="317544" y="2613025"/>
                </a:cubicBezTo>
                <a:cubicBezTo>
                  <a:pt x="297781" y="2613025"/>
                  <a:pt x="285923" y="2607755"/>
                  <a:pt x="278018" y="2598530"/>
                </a:cubicBezTo>
                <a:cubicBezTo>
                  <a:pt x="268795" y="2590624"/>
                  <a:pt x="263525" y="2578765"/>
                  <a:pt x="263525" y="2558999"/>
                </a:cubicBezTo>
                <a:cubicBezTo>
                  <a:pt x="263525" y="2558999"/>
                  <a:pt x="263525" y="2558999"/>
                  <a:pt x="263525" y="54027"/>
                </a:cubicBezTo>
                <a:cubicBezTo>
                  <a:pt x="263525" y="34261"/>
                  <a:pt x="268795" y="22401"/>
                  <a:pt x="278018" y="14495"/>
                </a:cubicBezTo>
                <a:cubicBezTo>
                  <a:pt x="285923" y="5271"/>
                  <a:pt x="297781" y="0"/>
                  <a:pt x="317544" y="0"/>
                </a:cubicBezTo>
                <a:close/>
                <a:moveTo>
                  <a:pt x="3359213" y="0"/>
                </a:moveTo>
                <a:cubicBezTo>
                  <a:pt x="3359213" y="0"/>
                  <a:pt x="3359213" y="0"/>
                  <a:pt x="3664991" y="0"/>
                </a:cubicBezTo>
                <a:cubicBezTo>
                  <a:pt x="3684762" y="0"/>
                  <a:pt x="3696624" y="5272"/>
                  <a:pt x="3705850" y="14497"/>
                </a:cubicBezTo>
                <a:cubicBezTo>
                  <a:pt x="3715076" y="22405"/>
                  <a:pt x="3720348" y="34266"/>
                  <a:pt x="3720348" y="54035"/>
                </a:cubicBezTo>
                <a:cubicBezTo>
                  <a:pt x="3720348" y="54035"/>
                  <a:pt x="3720348" y="54035"/>
                  <a:pt x="3720348" y="1903062"/>
                </a:cubicBezTo>
                <a:cubicBezTo>
                  <a:pt x="3720348" y="2103384"/>
                  <a:pt x="3738800" y="2214089"/>
                  <a:pt x="3798111" y="2279984"/>
                </a:cubicBezTo>
                <a:cubicBezTo>
                  <a:pt x="3841605" y="2328747"/>
                  <a:pt x="3899597" y="2349833"/>
                  <a:pt x="3976042" y="2349833"/>
                </a:cubicBezTo>
                <a:cubicBezTo>
                  <a:pt x="4060395" y="2349833"/>
                  <a:pt x="4121023" y="2326111"/>
                  <a:pt x="4163200" y="2279984"/>
                </a:cubicBezTo>
                <a:cubicBezTo>
                  <a:pt x="4226464" y="2211453"/>
                  <a:pt x="4240963" y="2096795"/>
                  <a:pt x="4240963" y="1903062"/>
                </a:cubicBezTo>
                <a:cubicBezTo>
                  <a:pt x="4240963" y="1903062"/>
                  <a:pt x="4240963" y="1903062"/>
                  <a:pt x="4240963" y="54035"/>
                </a:cubicBezTo>
                <a:cubicBezTo>
                  <a:pt x="4240963" y="34266"/>
                  <a:pt x="4246235" y="22405"/>
                  <a:pt x="4255461" y="14497"/>
                </a:cubicBezTo>
                <a:cubicBezTo>
                  <a:pt x="4263369" y="5272"/>
                  <a:pt x="4276549" y="0"/>
                  <a:pt x="4295001" y="0"/>
                </a:cubicBezTo>
                <a:cubicBezTo>
                  <a:pt x="4295001" y="0"/>
                  <a:pt x="4295001" y="0"/>
                  <a:pt x="4602098" y="0"/>
                </a:cubicBezTo>
                <a:cubicBezTo>
                  <a:pt x="4621868" y="0"/>
                  <a:pt x="4633730" y="5272"/>
                  <a:pt x="4641638" y="14497"/>
                </a:cubicBezTo>
                <a:cubicBezTo>
                  <a:pt x="4650864" y="22405"/>
                  <a:pt x="4656136" y="34266"/>
                  <a:pt x="4656136" y="54035"/>
                </a:cubicBezTo>
                <a:cubicBezTo>
                  <a:pt x="4656136" y="54035"/>
                  <a:pt x="4656136" y="54035"/>
                  <a:pt x="4656136" y="1904380"/>
                </a:cubicBezTo>
                <a:cubicBezTo>
                  <a:pt x="4656136" y="2153465"/>
                  <a:pt x="4627140" y="2319521"/>
                  <a:pt x="4507201" y="2459220"/>
                </a:cubicBezTo>
                <a:cubicBezTo>
                  <a:pt x="4405714" y="2577832"/>
                  <a:pt x="4239645" y="2646363"/>
                  <a:pt x="3981314" y="2646363"/>
                </a:cubicBezTo>
                <a:cubicBezTo>
                  <a:pt x="3726938" y="2646363"/>
                  <a:pt x="3559550" y="2581786"/>
                  <a:pt x="3447519" y="2459220"/>
                </a:cubicBezTo>
                <a:cubicBezTo>
                  <a:pt x="3340760" y="2341926"/>
                  <a:pt x="3305174" y="2173233"/>
                  <a:pt x="3305174" y="1904380"/>
                </a:cubicBezTo>
                <a:cubicBezTo>
                  <a:pt x="3305174" y="1904380"/>
                  <a:pt x="3305174" y="1904380"/>
                  <a:pt x="3305174" y="54035"/>
                </a:cubicBezTo>
                <a:cubicBezTo>
                  <a:pt x="3305174" y="34266"/>
                  <a:pt x="3310446" y="22405"/>
                  <a:pt x="3318354" y="14497"/>
                </a:cubicBezTo>
                <a:cubicBezTo>
                  <a:pt x="3327580" y="5272"/>
                  <a:pt x="3339442" y="0"/>
                  <a:pt x="3359213" y="0"/>
                </a:cubicBezTo>
                <a:close/>
              </a:path>
            </a:pathLst>
          </a:custGeom>
          <a:solidFill>
            <a:srgbClr val="008737"/>
          </a:solidFill>
          <a:ln>
            <a:noFill/>
          </a:ln>
        </p:spPr>
        <p:txBody>
          <a:bodyPr vert="horz" wrap="square" lIns="91440" tIns="45720" rIns="91440" bIns="45720" numCol="1" anchor="t" anchorCtr="0" compatLnSpc="1">
            <a:prstTxWarp prst="textNoShape">
              <a:avLst/>
            </a:prstTxWarp>
            <a:noAutofit/>
          </a:bodyPr>
          <a:lstStyle/>
          <a:p>
            <a:endParaRPr lang="da-DK"/>
          </a:p>
        </p:txBody>
      </p:sp>
      <p:sp>
        <p:nvSpPr>
          <p:cNvPr id="11" name="Bottom bar">
            <a:extLst>
              <a:ext uri="{FF2B5EF4-FFF2-40B4-BE49-F238E27FC236}">
                <a16:creationId xmlns:a16="http://schemas.microsoft.com/office/drawing/2014/main" id="{FFFFD011-0D94-46EE-B45C-787FE82C3B5E}"/>
              </a:ext>
            </a:extLst>
          </p:cNvPr>
          <p:cNvSpPr/>
          <p:nvPr userDrawn="1"/>
        </p:nvSpPr>
        <p:spPr bwMode="auto">
          <a:xfrm>
            <a:off x="0" y="6541200"/>
            <a:ext cx="12193200" cy="316800"/>
          </a:xfrm>
          <a:prstGeom prst="rect">
            <a:avLst/>
          </a:prstGeom>
          <a:solidFill>
            <a:srgbClr val="008737"/>
          </a:solidFill>
          <a:ln w="9525" cap="flat" cmpd="sng" algn="ctr">
            <a:noFill/>
            <a:prstDash val="solid"/>
            <a:miter lim="800000"/>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432"/>
              </a:spcBef>
              <a:spcAft>
                <a:spcPct val="0"/>
              </a:spcAft>
              <a:buClrTx/>
              <a:buSzTx/>
              <a:buFontTx/>
              <a:buNone/>
              <a:tabLst/>
            </a:pPr>
            <a:endParaRPr kumimoji="0" lang="da-DK" sz="1600" b="0" i="0" u="none" strike="noStrike" cap="none" normalizeH="0" baseline="0" dirty="0" err="1">
              <a:ln>
                <a:noFill/>
              </a:ln>
              <a:solidFill>
                <a:srgbClr val="FFFFFF"/>
              </a:solidFill>
              <a:effectLst/>
              <a:latin typeface="+mn-lt"/>
              <a:ea typeface="ＭＳ Ｐゴシック" pitchFamily="-80" charset="-128"/>
            </a:endParaRPr>
          </a:p>
        </p:txBody>
      </p:sp>
      <p:sp>
        <p:nvSpPr>
          <p:cNvPr id="3" name="FLD_Presentation Title"/>
          <p:cNvSpPr>
            <a:spLocks noGrp="1"/>
          </p:cNvSpPr>
          <p:nvPr>
            <p:ph type="ftr" sz="quarter" idx="3"/>
          </p:nvPr>
        </p:nvSpPr>
        <p:spPr>
          <a:xfrm>
            <a:off x="0" y="6912000"/>
            <a:ext cx="0" cy="0"/>
          </a:xfrm>
          <a:prstGeom prst="rect">
            <a:avLst/>
          </a:prstGeom>
        </p:spPr>
        <p:txBody>
          <a:bodyPr vert="horz" lIns="0" tIns="0" rIns="0" bIns="0" rtlCol="0" anchor="t" anchorCtr="0"/>
          <a:lstStyle>
            <a:lvl1pPr algn="l">
              <a:spcBef>
                <a:spcPts val="0"/>
              </a:spcBef>
              <a:defRPr sz="700" b="0">
                <a:noFill/>
                <a:latin typeface="+mn-lt"/>
              </a:defRPr>
            </a:lvl1pPr>
          </a:lstStyle>
          <a:p>
            <a:endParaRPr lang="da-DK" dirty="0"/>
          </a:p>
        </p:txBody>
      </p:sp>
      <p:sp>
        <p:nvSpPr>
          <p:cNvPr id="4" name="Slide Number Placeholder 3"/>
          <p:cNvSpPr>
            <a:spLocks noGrp="1"/>
          </p:cNvSpPr>
          <p:nvPr>
            <p:ph type="sldNum" sz="quarter" idx="4"/>
          </p:nvPr>
        </p:nvSpPr>
        <p:spPr>
          <a:xfrm>
            <a:off x="11506450" y="6541200"/>
            <a:ext cx="432600" cy="316800"/>
          </a:xfrm>
          <a:prstGeom prst="rect">
            <a:avLst/>
          </a:prstGeom>
        </p:spPr>
        <p:txBody>
          <a:bodyPr vert="horz" lIns="0" tIns="0" rIns="0" bIns="0" rtlCol="0" anchor="ctr" anchorCtr="0"/>
          <a:lstStyle>
            <a:lvl1pPr algn="l">
              <a:defRPr sz="700" b="1">
                <a:solidFill>
                  <a:schemeClr val="bg1"/>
                </a:solidFill>
                <a:latin typeface="+mn-lt"/>
              </a:defRPr>
            </a:lvl1pPr>
          </a:lstStyle>
          <a:p>
            <a:fld id="{103EA872-A674-449B-A120-B97244F8E91D}" type="slidenum">
              <a:rPr lang="da-DK" smtClean="0"/>
              <a:pPr/>
              <a:t>‹#›</a:t>
            </a:fld>
            <a:endParaRPr lang="da-DK" dirty="0"/>
          </a:p>
        </p:txBody>
      </p:sp>
      <p:sp>
        <p:nvSpPr>
          <p:cNvPr id="113666" name="Rectangle 2"/>
          <p:cNvSpPr>
            <a:spLocks noGrp="1" noChangeArrowheads="1"/>
          </p:cNvSpPr>
          <p:nvPr>
            <p:ph type="title"/>
          </p:nvPr>
        </p:nvSpPr>
        <p:spPr bwMode="auto">
          <a:xfrm>
            <a:off x="1774726" y="426127"/>
            <a:ext cx="9312374" cy="9727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b" anchorCtr="0" compatLnSpc="1">
            <a:prstTxWarp prst="textNoShape">
              <a:avLst/>
            </a:prstTxWarp>
          </a:bodyPr>
          <a:lstStyle/>
          <a:p>
            <a:pPr lvl="0"/>
            <a:r>
              <a:rPr lang="da-DK" dirty="0"/>
              <a:t>Click to edit Master title style</a:t>
            </a:r>
          </a:p>
        </p:txBody>
      </p:sp>
      <p:sp>
        <p:nvSpPr>
          <p:cNvPr id="113667" name="Rectangle 3"/>
          <p:cNvSpPr>
            <a:spLocks noGrp="1" noChangeArrowheads="1"/>
          </p:cNvSpPr>
          <p:nvPr>
            <p:ph type="body" idx="1"/>
          </p:nvPr>
        </p:nvSpPr>
        <p:spPr bwMode="auto">
          <a:xfrm>
            <a:off x="1774726" y="1706328"/>
            <a:ext cx="9312374" cy="45455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da-DK" dirty="0"/>
              <a:t>Edit Master text styles</a:t>
            </a:r>
            <a:endParaRPr lang="da-DK"/>
          </a:p>
          <a:p>
            <a:pPr lvl="1"/>
            <a:r>
              <a:rPr lang="da-DK" dirty="0"/>
              <a:t>Second level</a:t>
            </a:r>
            <a:endParaRPr lang="da-DK"/>
          </a:p>
          <a:p>
            <a:pPr lvl="2"/>
            <a:r>
              <a:rPr lang="da-DK" dirty="0"/>
              <a:t>Third level</a:t>
            </a:r>
            <a:endParaRPr lang="da-DK"/>
          </a:p>
          <a:p>
            <a:pPr lvl="3"/>
            <a:r>
              <a:rPr lang="da-DK" dirty="0"/>
              <a:t>Fourth level</a:t>
            </a:r>
            <a:endParaRPr lang="da-DK"/>
          </a:p>
          <a:p>
            <a:pPr lvl="4"/>
            <a:r>
              <a:rPr lang="da-DK" dirty="0"/>
              <a:t>Fifth level</a:t>
            </a:r>
            <a:endParaRPr lang="da-DK"/>
          </a:p>
          <a:p>
            <a:pPr lvl="5"/>
            <a:endParaRPr lang="da-DK" dirty="0"/>
          </a:p>
        </p:txBody>
      </p:sp>
      <p:sp>
        <p:nvSpPr>
          <p:cNvPr id="113676" name="text" descr="{&quot;templafy&quot;:{&quot;id&quot;:&quot;8cf2e96c-c3c6-487e-ae6c-210f45769fae&quot;}}" title="UserProfile.Offices.Workarea_{{DocumentLanguage}}"/>
          <p:cNvSpPr>
            <a:spLocks noChangeArrowheads="1"/>
          </p:cNvSpPr>
          <p:nvPr userDrawn="1"/>
        </p:nvSpPr>
        <p:spPr bwMode="auto">
          <a:xfrm>
            <a:off x="5619947" y="6559390"/>
            <a:ext cx="3397071" cy="316800"/>
          </a:xfrm>
          <a:prstGeom prst="rect">
            <a:avLst/>
          </a:prstGeom>
          <a:noFill/>
          <a:ln>
            <a:noFill/>
          </a:ln>
        </p:spPr>
        <p:txBody>
          <a:bodyPr lIns="0" tIns="0" rIns="0" bIns="0" anchor="ctr" anchorCtr="0"/>
          <a:lstStyle/>
          <a:p>
            <a:pPr algn="l" eaLnBrk="0" hangingPunct="0">
              <a:spcBef>
                <a:spcPct val="0"/>
              </a:spcBef>
            </a:pPr>
            <a:r>
              <a:rPr lang="da-DK" sz="1000" b="1" dirty="0">
                <a:solidFill>
                  <a:schemeClr val="bg1"/>
                </a:solidFill>
                <a:latin typeface="+mn-lt"/>
              </a:rPr>
              <a:t>DTU Sustain</a:t>
            </a:r>
          </a:p>
        </p:txBody>
      </p:sp>
      <p:sp>
        <p:nvSpPr>
          <p:cNvPr id="2" name="Top bar">
            <a:extLst>
              <a:ext uri="{FF2B5EF4-FFF2-40B4-BE49-F238E27FC236}">
                <a16:creationId xmlns:a16="http://schemas.microsoft.com/office/drawing/2014/main" id="{35912424-89BF-4A93-9096-3282916C71FE}"/>
              </a:ext>
            </a:extLst>
          </p:cNvPr>
          <p:cNvSpPr/>
          <p:nvPr userDrawn="1"/>
        </p:nvSpPr>
        <p:spPr bwMode="auto">
          <a:xfrm>
            <a:off x="0" y="0"/>
            <a:ext cx="12193200" cy="50400"/>
          </a:xfrm>
          <a:prstGeom prst="rect">
            <a:avLst/>
          </a:prstGeom>
          <a:solidFill>
            <a:srgbClr val="008737"/>
          </a:solidFill>
          <a:ln w="9525" cap="flat" cmpd="sng" algn="ctr">
            <a:noFill/>
            <a:prstDash val="solid"/>
            <a:miter lim="800000"/>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432"/>
              </a:spcBef>
              <a:spcAft>
                <a:spcPct val="0"/>
              </a:spcAft>
              <a:buClrTx/>
              <a:buSzTx/>
              <a:buFontTx/>
              <a:buNone/>
              <a:tabLst/>
            </a:pPr>
            <a:endParaRPr kumimoji="0" lang="da-DK" sz="1600" b="0" i="0" u="none" strike="noStrike" cap="none" normalizeH="0" baseline="0" dirty="0" err="1">
              <a:ln>
                <a:noFill/>
              </a:ln>
              <a:solidFill>
                <a:srgbClr val="FFFFFF"/>
              </a:solidFill>
              <a:effectLst/>
              <a:latin typeface="+mn-lt"/>
              <a:ea typeface="ＭＳ Ｐゴシック" pitchFamily="-80" charset="-128"/>
            </a:endParaRPr>
          </a:p>
        </p:txBody>
      </p:sp>
    </p:spTree>
    <p:extLst>
      <p:ext uri="{BB962C8B-B14F-4D97-AF65-F5344CB8AC3E}">
        <p14:creationId xmlns:p14="http://schemas.microsoft.com/office/powerpoint/2010/main" val="2003066553"/>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4" r:id="rId12"/>
  </p:sldLayoutIdLst>
  <p:hf hdr="0" dt="0"/>
  <p:txStyles>
    <p:titleStyle>
      <a:lvl1pPr algn="l" rtl="0" eaLnBrk="1" fontAlgn="base" hangingPunct="1">
        <a:spcBef>
          <a:spcPct val="0"/>
        </a:spcBef>
        <a:spcAft>
          <a:spcPct val="0"/>
        </a:spcAft>
        <a:defRPr sz="3000" b="1">
          <a:solidFill>
            <a:srgbClr val="000000"/>
          </a:solidFill>
          <a:latin typeface="+mj-lt"/>
          <a:ea typeface="+mj-ea"/>
          <a:cs typeface="+mj-cs"/>
        </a:defRPr>
      </a:lvl1pPr>
      <a:lvl2pPr algn="l" rtl="0" eaLnBrk="1" fontAlgn="base" hangingPunct="1">
        <a:spcBef>
          <a:spcPct val="0"/>
        </a:spcBef>
        <a:spcAft>
          <a:spcPct val="0"/>
        </a:spcAft>
        <a:defRPr sz="2400" b="1">
          <a:solidFill>
            <a:schemeClr val="tx1"/>
          </a:solidFill>
          <a:latin typeface="Verdana" pitchFamily="34" charset="0"/>
          <a:ea typeface="ＭＳ Ｐゴシック" pitchFamily="-80" charset="-128"/>
        </a:defRPr>
      </a:lvl2pPr>
      <a:lvl3pPr algn="l" rtl="0" eaLnBrk="1" fontAlgn="base" hangingPunct="1">
        <a:spcBef>
          <a:spcPct val="0"/>
        </a:spcBef>
        <a:spcAft>
          <a:spcPct val="0"/>
        </a:spcAft>
        <a:defRPr sz="2400" b="1">
          <a:solidFill>
            <a:schemeClr val="tx1"/>
          </a:solidFill>
          <a:latin typeface="Verdana" pitchFamily="34" charset="0"/>
          <a:ea typeface="ＭＳ Ｐゴシック" pitchFamily="-80" charset="-128"/>
        </a:defRPr>
      </a:lvl3pPr>
      <a:lvl4pPr algn="l" rtl="0" eaLnBrk="1" fontAlgn="base" hangingPunct="1">
        <a:spcBef>
          <a:spcPct val="0"/>
        </a:spcBef>
        <a:spcAft>
          <a:spcPct val="0"/>
        </a:spcAft>
        <a:defRPr sz="2400" b="1">
          <a:solidFill>
            <a:schemeClr val="tx1"/>
          </a:solidFill>
          <a:latin typeface="Verdana" pitchFamily="34" charset="0"/>
          <a:ea typeface="ＭＳ Ｐゴシック" pitchFamily="-80" charset="-128"/>
        </a:defRPr>
      </a:lvl4pPr>
      <a:lvl5pPr algn="l" rtl="0" eaLnBrk="1" fontAlgn="base" hangingPunct="1">
        <a:spcBef>
          <a:spcPct val="0"/>
        </a:spcBef>
        <a:spcAft>
          <a:spcPct val="0"/>
        </a:spcAft>
        <a:defRPr sz="2400" b="1">
          <a:solidFill>
            <a:schemeClr val="tx1"/>
          </a:solidFill>
          <a:latin typeface="Verdana" pitchFamily="34" charset="0"/>
          <a:ea typeface="ＭＳ Ｐゴシック" pitchFamily="-80" charset="-128"/>
        </a:defRPr>
      </a:lvl5pPr>
      <a:lvl6pPr marL="457200" algn="l" rtl="0" eaLnBrk="1" fontAlgn="base" hangingPunct="1">
        <a:spcBef>
          <a:spcPct val="0"/>
        </a:spcBef>
        <a:spcAft>
          <a:spcPct val="0"/>
        </a:spcAft>
        <a:defRPr sz="2400" b="1">
          <a:solidFill>
            <a:schemeClr val="tx1"/>
          </a:solidFill>
          <a:latin typeface="Verdana" pitchFamily="34" charset="0"/>
          <a:ea typeface="ＭＳ Ｐゴシック" pitchFamily="-80" charset="-128"/>
        </a:defRPr>
      </a:lvl6pPr>
      <a:lvl7pPr marL="914400" algn="l" rtl="0" eaLnBrk="1" fontAlgn="base" hangingPunct="1">
        <a:spcBef>
          <a:spcPct val="0"/>
        </a:spcBef>
        <a:spcAft>
          <a:spcPct val="0"/>
        </a:spcAft>
        <a:defRPr sz="2400" b="1">
          <a:solidFill>
            <a:schemeClr val="tx1"/>
          </a:solidFill>
          <a:latin typeface="Verdana" pitchFamily="34" charset="0"/>
          <a:ea typeface="ＭＳ Ｐゴシック" pitchFamily="-80" charset="-128"/>
        </a:defRPr>
      </a:lvl7pPr>
      <a:lvl8pPr marL="1371600" algn="l" rtl="0" eaLnBrk="1" fontAlgn="base" hangingPunct="1">
        <a:spcBef>
          <a:spcPct val="0"/>
        </a:spcBef>
        <a:spcAft>
          <a:spcPct val="0"/>
        </a:spcAft>
        <a:defRPr sz="2400" b="1">
          <a:solidFill>
            <a:schemeClr val="tx1"/>
          </a:solidFill>
          <a:latin typeface="Verdana" pitchFamily="34" charset="0"/>
          <a:ea typeface="ＭＳ Ｐゴシック" pitchFamily="-80" charset="-128"/>
        </a:defRPr>
      </a:lvl8pPr>
      <a:lvl9pPr marL="1828800" algn="l" rtl="0" eaLnBrk="1" fontAlgn="base" hangingPunct="1">
        <a:spcBef>
          <a:spcPct val="0"/>
        </a:spcBef>
        <a:spcAft>
          <a:spcPct val="0"/>
        </a:spcAft>
        <a:defRPr sz="2400" b="1">
          <a:solidFill>
            <a:schemeClr val="tx1"/>
          </a:solidFill>
          <a:latin typeface="Verdana" pitchFamily="34" charset="0"/>
          <a:ea typeface="ＭＳ Ｐゴシック" pitchFamily="-80" charset="-128"/>
        </a:defRPr>
      </a:lvl9pPr>
    </p:titleStyle>
    <p:bodyStyle>
      <a:lvl1pPr marL="198000" indent="-198000" algn="l" rtl="0" eaLnBrk="1" fontAlgn="base" hangingPunct="1">
        <a:spcBef>
          <a:spcPct val="20000"/>
        </a:spcBef>
        <a:spcAft>
          <a:spcPct val="0"/>
        </a:spcAft>
        <a:buChar char="•"/>
        <a:defRPr sz="1800">
          <a:solidFill>
            <a:schemeClr val="tx1"/>
          </a:solidFill>
          <a:latin typeface="+mn-lt"/>
          <a:ea typeface="+mn-ea"/>
          <a:cs typeface="+mn-cs"/>
        </a:defRPr>
      </a:lvl1pPr>
      <a:lvl2pPr marL="414000" indent="-198000" algn="l" rtl="0" eaLnBrk="1" fontAlgn="base" hangingPunct="1">
        <a:spcBef>
          <a:spcPct val="20000"/>
        </a:spcBef>
        <a:spcAft>
          <a:spcPct val="0"/>
        </a:spcAft>
        <a:buChar char="–"/>
        <a:defRPr sz="1800">
          <a:solidFill>
            <a:schemeClr val="tx1"/>
          </a:solidFill>
          <a:latin typeface="+mn-lt"/>
          <a:ea typeface="+mn-ea"/>
        </a:defRPr>
      </a:lvl2pPr>
      <a:lvl3pPr marL="615600" indent="-198000" algn="l" rtl="0" eaLnBrk="1" fontAlgn="base" hangingPunct="1">
        <a:spcBef>
          <a:spcPct val="20000"/>
        </a:spcBef>
        <a:spcAft>
          <a:spcPct val="0"/>
        </a:spcAft>
        <a:buChar char="•"/>
        <a:defRPr sz="1800">
          <a:solidFill>
            <a:schemeClr val="tx1"/>
          </a:solidFill>
          <a:latin typeface="+mn-lt"/>
          <a:ea typeface="+mn-ea"/>
        </a:defRPr>
      </a:lvl3pPr>
      <a:lvl4pPr marL="828000" indent="-198000" algn="l" rtl="0" eaLnBrk="1" fontAlgn="base" hangingPunct="1">
        <a:spcBef>
          <a:spcPct val="20000"/>
        </a:spcBef>
        <a:spcAft>
          <a:spcPct val="0"/>
        </a:spcAft>
        <a:buChar char="–"/>
        <a:defRPr sz="1800">
          <a:solidFill>
            <a:schemeClr val="tx1"/>
          </a:solidFill>
          <a:latin typeface="+mn-lt"/>
          <a:ea typeface="+mn-ea"/>
        </a:defRPr>
      </a:lvl4pPr>
      <a:lvl5pPr marL="1026000" indent="-198000" algn="l" rtl="0" eaLnBrk="1" fontAlgn="base" hangingPunct="1">
        <a:spcBef>
          <a:spcPct val="20000"/>
        </a:spcBef>
        <a:spcAft>
          <a:spcPct val="0"/>
        </a:spcAft>
        <a:buChar char="»"/>
        <a:defRPr sz="1800">
          <a:solidFill>
            <a:schemeClr val="tx1"/>
          </a:solidFill>
          <a:latin typeface="+mn-lt"/>
          <a:ea typeface="+mn-ea"/>
        </a:defRPr>
      </a:lvl5pPr>
      <a:lvl6pPr marL="1026000" indent="-198000" algn="l" rtl="0" eaLnBrk="1" fontAlgn="base" hangingPunct="1">
        <a:spcBef>
          <a:spcPct val="20000"/>
        </a:spcBef>
        <a:spcAft>
          <a:spcPct val="0"/>
        </a:spcAft>
        <a:buChar char="»"/>
        <a:defRPr sz="1800">
          <a:solidFill>
            <a:schemeClr val="tx1"/>
          </a:solidFill>
          <a:latin typeface="+mn-lt"/>
          <a:ea typeface="+mn-ea"/>
        </a:defRPr>
      </a:lvl6pPr>
      <a:lvl7pPr marL="1026000" indent="-198000" algn="l" rtl="0" eaLnBrk="1" fontAlgn="base" hangingPunct="1">
        <a:spcBef>
          <a:spcPct val="20000"/>
        </a:spcBef>
        <a:spcAft>
          <a:spcPct val="0"/>
        </a:spcAft>
        <a:buChar char="»"/>
        <a:defRPr sz="1800">
          <a:solidFill>
            <a:schemeClr val="tx1"/>
          </a:solidFill>
          <a:latin typeface="+mn-lt"/>
          <a:ea typeface="+mn-ea"/>
        </a:defRPr>
      </a:lvl7pPr>
      <a:lvl8pPr marL="1026000" indent="-198000" algn="l" rtl="0" eaLnBrk="1" fontAlgn="base" hangingPunct="1">
        <a:spcBef>
          <a:spcPct val="20000"/>
        </a:spcBef>
        <a:spcAft>
          <a:spcPct val="0"/>
        </a:spcAft>
        <a:buChar char="»"/>
        <a:defRPr sz="1800">
          <a:solidFill>
            <a:schemeClr val="tx1"/>
          </a:solidFill>
          <a:latin typeface="+mn-lt"/>
          <a:ea typeface="+mn-ea"/>
        </a:defRPr>
      </a:lvl8pPr>
      <a:lvl9pPr marL="1026000" indent="-198000" algn="l" rtl="0" eaLnBrk="1" fontAlgn="base" hangingPunct="1">
        <a:spcBef>
          <a:spcPct val="20000"/>
        </a:spcBef>
        <a:spcAft>
          <a:spcPct val="0"/>
        </a:spcAft>
        <a:buChar char="»"/>
        <a:defRPr sz="1800">
          <a:solidFill>
            <a:schemeClr val="tx1"/>
          </a:solidFill>
          <a:latin typeface="+mn-lt"/>
          <a:ea typeface="+mn-ea"/>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68">
          <p15:clr>
            <a:srgbClr val="F26B43"/>
          </p15:clr>
        </p15:guide>
        <p15:guide id="4" orient="horz" pos="881">
          <p15:clr>
            <a:srgbClr val="F26B43"/>
          </p15:clr>
        </p15:guide>
        <p15:guide id="5" orient="horz" pos="1074">
          <p15:clr>
            <a:srgbClr val="F26B43"/>
          </p15:clr>
        </p15:guide>
        <p15:guide id="6" orient="horz" pos="393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titel 1">
            <a:extLst>
              <a:ext uri="{FF2B5EF4-FFF2-40B4-BE49-F238E27FC236}">
                <a16:creationId xmlns:a16="http://schemas.microsoft.com/office/drawing/2014/main" id="{625E7139-520F-71A8-42D2-62C3AB12B83E}"/>
              </a:ext>
            </a:extLst>
          </p:cNvPr>
          <p:cNvSpPr>
            <a:spLocks noGrp="1"/>
          </p:cNvSpPr>
          <p:nvPr>
            <p:ph type="title"/>
          </p:nvPr>
        </p:nvSpPr>
        <p:spPr>
          <a:xfrm>
            <a:off x="838091" y="365126"/>
            <a:ext cx="10514231" cy="1325563"/>
          </a:xfrm>
          <a:prstGeom prst="rect">
            <a:avLst/>
          </a:prstGeom>
        </p:spPr>
        <p:txBody>
          <a:bodyPr vert="horz" lIns="91440" tIns="45720" rIns="91440" bIns="45720" rtlCol="0" anchor="ctr">
            <a:normAutofit/>
          </a:bodyPr>
          <a:lstStyle/>
          <a:p>
            <a:r>
              <a:rPr lang="da-DK"/>
              <a:t>Klik for at redigere titeltypografien i masteren</a:t>
            </a:r>
          </a:p>
        </p:txBody>
      </p:sp>
      <p:sp>
        <p:nvSpPr>
          <p:cNvPr id="3" name="Pladsholder til tekst 2">
            <a:extLst>
              <a:ext uri="{FF2B5EF4-FFF2-40B4-BE49-F238E27FC236}">
                <a16:creationId xmlns:a16="http://schemas.microsoft.com/office/drawing/2014/main" id="{F2B189CB-3E36-EDC8-FB5D-71D2B7E878DC}"/>
              </a:ext>
            </a:extLst>
          </p:cNvPr>
          <p:cNvSpPr>
            <a:spLocks noGrp="1"/>
          </p:cNvSpPr>
          <p:nvPr>
            <p:ph type="body" idx="1"/>
          </p:nvPr>
        </p:nvSpPr>
        <p:spPr>
          <a:xfrm>
            <a:off x="838091" y="1825625"/>
            <a:ext cx="10514231" cy="4351338"/>
          </a:xfrm>
          <a:prstGeom prst="rect">
            <a:avLst/>
          </a:prstGeom>
        </p:spPr>
        <p:txBody>
          <a:bodyPr vert="horz" lIns="91440" tIns="45720" rIns="91440" bIns="45720" rtlCol="0">
            <a:norm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FC2CB5D6-49B9-5546-FBB6-4706DD3DAE7B}"/>
              </a:ext>
            </a:extLst>
          </p:cNvPr>
          <p:cNvSpPr>
            <a:spLocks noGrp="1"/>
          </p:cNvSpPr>
          <p:nvPr>
            <p:ph type="dt" sz="half" idx="2"/>
          </p:nvPr>
        </p:nvSpPr>
        <p:spPr>
          <a:xfrm>
            <a:off x="838091" y="6356351"/>
            <a:ext cx="2742843"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A904970-E143-498E-99BA-81FB85B98DA8}" type="datetimeFigureOut">
              <a:rPr lang="da-DK" smtClean="0"/>
              <a:t>07-07-2025</a:t>
            </a:fld>
            <a:endParaRPr lang="da-DK"/>
          </a:p>
        </p:txBody>
      </p:sp>
      <p:sp>
        <p:nvSpPr>
          <p:cNvPr id="5" name="Pladsholder til sidefod 4">
            <a:extLst>
              <a:ext uri="{FF2B5EF4-FFF2-40B4-BE49-F238E27FC236}">
                <a16:creationId xmlns:a16="http://schemas.microsoft.com/office/drawing/2014/main" id="{646567B8-D724-A77A-596A-C12FA10673EA}"/>
              </a:ext>
            </a:extLst>
          </p:cNvPr>
          <p:cNvSpPr>
            <a:spLocks noGrp="1"/>
          </p:cNvSpPr>
          <p:nvPr>
            <p:ph type="ftr" sz="quarter" idx="3"/>
          </p:nvPr>
        </p:nvSpPr>
        <p:spPr>
          <a:xfrm>
            <a:off x="4038075" y="6356351"/>
            <a:ext cx="4114264"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a-DK"/>
          </a:p>
        </p:txBody>
      </p:sp>
      <p:sp>
        <p:nvSpPr>
          <p:cNvPr id="6" name="Pladsholder til slidenummer 5">
            <a:extLst>
              <a:ext uri="{FF2B5EF4-FFF2-40B4-BE49-F238E27FC236}">
                <a16:creationId xmlns:a16="http://schemas.microsoft.com/office/drawing/2014/main" id="{32123D58-D887-80DD-2F1B-1B3D5CF9A599}"/>
              </a:ext>
            </a:extLst>
          </p:cNvPr>
          <p:cNvSpPr>
            <a:spLocks noGrp="1"/>
          </p:cNvSpPr>
          <p:nvPr>
            <p:ph type="sldNum" sz="quarter" idx="4"/>
          </p:nvPr>
        </p:nvSpPr>
        <p:spPr>
          <a:xfrm>
            <a:off x="8609479" y="6356351"/>
            <a:ext cx="2742843"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530B79F-606E-407B-8AD3-87B7DCCB602D}" type="slidenum">
              <a:rPr lang="da-DK" smtClean="0"/>
              <a:t>‹#›</a:t>
            </a:fld>
            <a:endParaRPr lang="da-DK"/>
          </a:p>
        </p:txBody>
      </p:sp>
    </p:spTree>
    <p:extLst>
      <p:ext uri="{BB962C8B-B14F-4D97-AF65-F5344CB8AC3E}">
        <p14:creationId xmlns:p14="http://schemas.microsoft.com/office/powerpoint/2010/main" val="3080990950"/>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Lst>
  <p:txStyles>
    <p:titleStyle>
      <a:lvl1pPr algn="l" defTabSz="914309"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7" indent="-228577" algn="l" defTabSz="914309"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1" indent="-228577" algn="l" defTabSz="914309"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86" indent="-228577" algn="l" defTabSz="914309"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40"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194"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49"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03"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57"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11"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309" rtl="0" eaLnBrk="1" latinLnBrk="0" hangingPunct="1">
        <a:defRPr sz="1800" kern="1200">
          <a:solidFill>
            <a:schemeClr val="tx1"/>
          </a:solidFill>
          <a:latin typeface="+mn-lt"/>
          <a:ea typeface="+mn-ea"/>
          <a:cs typeface="+mn-cs"/>
        </a:defRPr>
      </a:lvl1pPr>
      <a:lvl2pPr marL="457154"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3" algn="l" defTabSz="914309" rtl="0" eaLnBrk="1" latinLnBrk="0" hangingPunct="1">
        <a:defRPr sz="1800" kern="1200">
          <a:solidFill>
            <a:schemeClr val="tx1"/>
          </a:solidFill>
          <a:latin typeface="+mn-lt"/>
          <a:ea typeface="+mn-ea"/>
          <a:cs typeface="+mn-cs"/>
        </a:defRPr>
      </a:lvl4pPr>
      <a:lvl5pPr marL="1828617" algn="l" defTabSz="914309" rtl="0" eaLnBrk="1" latinLnBrk="0" hangingPunct="1">
        <a:defRPr sz="1800" kern="1200">
          <a:solidFill>
            <a:schemeClr val="tx1"/>
          </a:solidFill>
          <a:latin typeface="+mn-lt"/>
          <a:ea typeface="+mn-ea"/>
          <a:cs typeface="+mn-cs"/>
        </a:defRPr>
      </a:lvl5pPr>
      <a:lvl6pPr marL="2285771"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4" algn="l" defTabSz="914309"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1" y="-8466"/>
            <a:ext cx="12190413"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userDrawn="1"/>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userDrawn="1"/>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247" y="609602"/>
            <a:ext cx="8595549" cy="13208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677247" y="2160592"/>
            <a:ext cx="8595549" cy="3880773"/>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7204195" y="6041363"/>
            <a:ext cx="911820" cy="365125"/>
          </a:xfrm>
          <a:prstGeom prst="rect">
            <a:avLst/>
          </a:prstGeom>
        </p:spPr>
        <p:txBody>
          <a:bodyPr vert="horz" lIns="91440" tIns="45720" rIns="91440" bIns="45720" rtlCol="0" anchor="ctr"/>
          <a:lstStyle>
            <a:lvl1pPr algn="r">
              <a:defRPr sz="830">
                <a:solidFill>
                  <a:schemeClr val="tx1">
                    <a:tint val="75000"/>
                  </a:schemeClr>
                </a:solidFill>
              </a:defRPr>
            </a:lvl1pPr>
          </a:lstStyle>
          <a:p>
            <a:fld id="{AB797A1B-81FE-0A4E-B31A-4264D54E580F}" type="datetimeFigureOut">
              <a:rPr lang="en-US" smtClean="0"/>
              <a:t>7/7/2025</a:t>
            </a:fld>
            <a:endParaRPr lang="en-US"/>
          </a:p>
        </p:txBody>
      </p:sp>
      <p:sp>
        <p:nvSpPr>
          <p:cNvPr id="5" name="Footer Placeholder 4"/>
          <p:cNvSpPr>
            <a:spLocks noGrp="1"/>
          </p:cNvSpPr>
          <p:nvPr>
            <p:ph type="ftr" sz="quarter" idx="3"/>
          </p:nvPr>
        </p:nvSpPr>
        <p:spPr>
          <a:xfrm>
            <a:off x="677246" y="6041363"/>
            <a:ext cx="6296793" cy="365125"/>
          </a:xfrm>
          <a:prstGeom prst="rect">
            <a:avLst/>
          </a:prstGeom>
        </p:spPr>
        <p:txBody>
          <a:bodyPr vert="horz" lIns="91440" tIns="45720" rIns="91440" bIns="45720" rtlCol="0" anchor="ctr"/>
          <a:lstStyle>
            <a:lvl1pPr algn="l">
              <a:defRPr sz="83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589547" y="6041363"/>
            <a:ext cx="683250" cy="365125"/>
          </a:xfrm>
          <a:prstGeom prst="rect">
            <a:avLst/>
          </a:prstGeom>
        </p:spPr>
        <p:txBody>
          <a:bodyPr vert="horz" lIns="91440" tIns="45720" rIns="91440" bIns="45720" rtlCol="0" anchor="ctr"/>
          <a:lstStyle>
            <a:lvl1pPr algn="r">
              <a:defRPr sz="830">
                <a:solidFill>
                  <a:schemeClr val="accent1"/>
                </a:solidFill>
              </a:defRPr>
            </a:lvl1pPr>
          </a:lstStyle>
          <a:p>
            <a:fld id="{78CDEBF1-99FA-8C46-BF7A-0098594A4F24}" type="slidenum">
              <a:rPr lang="en-US" smtClean="0"/>
              <a:t>‹#›</a:t>
            </a:fld>
            <a:endParaRPr lang="en-US"/>
          </a:p>
        </p:txBody>
      </p:sp>
    </p:spTree>
    <p:extLst>
      <p:ext uri="{BB962C8B-B14F-4D97-AF65-F5344CB8AC3E}">
        <p14:creationId xmlns:p14="http://schemas.microsoft.com/office/powerpoint/2010/main" val="1088661063"/>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 id="2147483753" r:id="rId15"/>
    <p:sldLayoutId id="2147483754" r:id="rId16"/>
    <p:sldLayoutId id="2147483755" r:id="rId17"/>
    <p:sldLayoutId id="2147483756" r:id="rId18"/>
    <p:sldLayoutId id="2147483757" r:id="rId19"/>
    <p:sldLayoutId id="2147483758" r:id="rId20"/>
    <p:sldLayoutId id="2147483759" r:id="rId21"/>
    <p:sldLayoutId id="2147483760" r:id="rId22"/>
    <p:sldLayoutId id="2147483761" r:id="rId23"/>
    <p:sldLayoutId id="2147483762" r:id="rId24"/>
    <p:sldLayoutId id="2147483763" r:id="rId25"/>
    <p:sldLayoutId id="2147483764" r:id="rId26"/>
    <p:sldLayoutId id="2147483765" r:id="rId27"/>
  </p:sldLayoutIdLst>
  <p:txStyles>
    <p:titleStyle>
      <a:lvl1pPr algn="l" defTabSz="421700" rtl="0" eaLnBrk="1" latinLnBrk="0" hangingPunct="1">
        <a:spcBef>
          <a:spcPct val="0"/>
        </a:spcBef>
        <a:buNone/>
        <a:defRPr sz="3320" kern="1200">
          <a:solidFill>
            <a:schemeClr val="tx1"/>
          </a:solidFill>
          <a:latin typeface="Calibri" panose="020F0502020204030204" pitchFamily="34" charset="0"/>
          <a:ea typeface="+mj-ea"/>
          <a:cs typeface="Calibri" panose="020F0502020204030204" pitchFamily="3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16274" indent="-316274" algn="l" defTabSz="421700" rtl="0" eaLnBrk="1" latinLnBrk="0" hangingPunct="1">
        <a:spcBef>
          <a:spcPts val="923"/>
        </a:spcBef>
        <a:spcAft>
          <a:spcPts val="0"/>
        </a:spcAft>
        <a:buClr>
          <a:schemeClr val="tx1"/>
        </a:buClr>
        <a:buSzPct val="100000"/>
        <a:buFont typeface="Wingdings" pitchFamily="2" charset="2"/>
        <a:buChar char="§"/>
        <a:defRPr sz="1661" kern="1200">
          <a:solidFill>
            <a:schemeClr val="tx1"/>
          </a:solidFill>
          <a:latin typeface="Calibri" panose="020F0502020204030204" pitchFamily="34" charset="0"/>
          <a:ea typeface="+mn-ea"/>
          <a:cs typeface="Calibri" panose="020F0502020204030204" pitchFamily="34" charset="0"/>
        </a:defRPr>
      </a:lvl1pPr>
      <a:lvl2pPr marL="685262" indent="-263563" algn="l" defTabSz="421700" rtl="0" eaLnBrk="1" latinLnBrk="0" hangingPunct="1">
        <a:spcBef>
          <a:spcPts val="923"/>
        </a:spcBef>
        <a:spcAft>
          <a:spcPts val="0"/>
        </a:spcAft>
        <a:buClr>
          <a:schemeClr val="tx1"/>
        </a:buClr>
        <a:buSzPct val="100000"/>
        <a:buFont typeface="Wingdings" pitchFamily="2" charset="2"/>
        <a:buChar char="§"/>
        <a:defRPr sz="1475" kern="1200">
          <a:solidFill>
            <a:schemeClr val="tx1"/>
          </a:solidFill>
          <a:latin typeface="Calibri" panose="020F0502020204030204" pitchFamily="34" charset="0"/>
          <a:ea typeface="+mn-ea"/>
          <a:cs typeface="Calibri" panose="020F0502020204030204" pitchFamily="34" charset="0"/>
        </a:defRPr>
      </a:lvl2pPr>
      <a:lvl3pPr marL="1054249" indent="-210850" algn="l" defTabSz="421700" rtl="0" eaLnBrk="1" latinLnBrk="0" hangingPunct="1">
        <a:spcBef>
          <a:spcPts val="923"/>
        </a:spcBef>
        <a:spcAft>
          <a:spcPts val="0"/>
        </a:spcAft>
        <a:buClr>
          <a:schemeClr val="tx1"/>
        </a:buClr>
        <a:buSzPct val="100000"/>
        <a:buFont typeface="Wingdings" pitchFamily="2" charset="2"/>
        <a:buChar char="§"/>
        <a:defRPr sz="1291" kern="1200">
          <a:solidFill>
            <a:schemeClr val="tx1"/>
          </a:solidFill>
          <a:latin typeface="Calibri" panose="020F0502020204030204" pitchFamily="34" charset="0"/>
          <a:ea typeface="+mn-ea"/>
          <a:cs typeface="Calibri" panose="020F0502020204030204" pitchFamily="34" charset="0"/>
        </a:defRPr>
      </a:lvl3pPr>
      <a:lvl4pPr marL="1475949" indent="-210850" algn="l" defTabSz="421700" rtl="0" eaLnBrk="1" latinLnBrk="0" hangingPunct="1">
        <a:spcBef>
          <a:spcPts val="923"/>
        </a:spcBef>
        <a:spcAft>
          <a:spcPts val="0"/>
        </a:spcAft>
        <a:buClr>
          <a:schemeClr val="tx1"/>
        </a:buClr>
        <a:buSzPct val="100000"/>
        <a:buFont typeface="Wingdings" pitchFamily="2" charset="2"/>
        <a:buChar char="§"/>
        <a:defRPr sz="1107" kern="1200">
          <a:solidFill>
            <a:schemeClr val="tx1"/>
          </a:solidFill>
          <a:latin typeface="Calibri" panose="020F0502020204030204" pitchFamily="34" charset="0"/>
          <a:ea typeface="+mn-ea"/>
          <a:cs typeface="Calibri" panose="020F0502020204030204" pitchFamily="34" charset="0"/>
        </a:defRPr>
      </a:lvl4pPr>
      <a:lvl5pPr marL="1897649" indent="-210850" algn="l" defTabSz="421700" rtl="0" eaLnBrk="1" latinLnBrk="0" hangingPunct="1">
        <a:spcBef>
          <a:spcPts val="923"/>
        </a:spcBef>
        <a:spcAft>
          <a:spcPts val="0"/>
        </a:spcAft>
        <a:buClr>
          <a:schemeClr val="tx1"/>
        </a:buClr>
        <a:buSzPct val="100000"/>
        <a:buFont typeface="Wingdings" pitchFamily="2" charset="2"/>
        <a:buChar char="§"/>
        <a:defRPr sz="1107" kern="1200">
          <a:solidFill>
            <a:schemeClr val="tx1"/>
          </a:solidFill>
          <a:latin typeface="Calibri" panose="020F0502020204030204" pitchFamily="34" charset="0"/>
          <a:ea typeface="+mn-ea"/>
          <a:cs typeface="Calibri" panose="020F0502020204030204" pitchFamily="34" charset="0"/>
        </a:defRPr>
      </a:lvl5pPr>
      <a:lvl6pPr marL="2319349" indent="-210850" algn="l" defTabSz="421700" rtl="0" eaLnBrk="1" latinLnBrk="0" hangingPunct="1">
        <a:spcBef>
          <a:spcPts val="923"/>
        </a:spcBef>
        <a:spcAft>
          <a:spcPts val="0"/>
        </a:spcAft>
        <a:buClr>
          <a:schemeClr val="accent1"/>
        </a:buClr>
        <a:buSzPct val="80000"/>
        <a:buFont typeface="Wingdings 3" charset="2"/>
        <a:buChar char=""/>
        <a:defRPr sz="1107" kern="1200">
          <a:solidFill>
            <a:schemeClr val="tx1">
              <a:lumMod val="75000"/>
              <a:lumOff val="25000"/>
            </a:schemeClr>
          </a:solidFill>
          <a:latin typeface="+mn-lt"/>
          <a:ea typeface="+mn-ea"/>
          <a:cs typeface="+mn-cs"/>
        </a:defRPr>
      </a:lvl6pPr>
      <a:lvl7pPr marL="2741048" indent="-210850" algn="l" defTabSz="421700" rtl="0" eaLnBrk="1" latinLnBrk="0" hangingPunct="1">
        <a:spcBef>
          <a:spcPts val="923"/>
        </a:spcBef>
        <a:spcAft>
          <a:spcPts val="0"/>
        </a:spcAft>
        <a:buClr>
          <a:schemeClr val="accent1"/>
        </a:buClr>
        <a:buSzPct val="80000"/>
        <a:buFont typeface="Wingdings 3" charset="2"/>
        <a:buChar char=""/>
        <a:defRPr sz="1107" kern="1200">
          <a:solidFill>
            <a:schemeClr val="tx1">
              <a:lumMod val="75000"/>
              <a:lumOff val="25000"/>
            </a:schemeClr>
          </a:solidFill>
          <a:latin typeface="+mn-lt"/>
          <a:ea typeface="+mn-ea"/>
          <a:cs typeface="+mn-cs"/>
        </a:defRPr>
      </a:lvl7pPr>
      <a:lvl8pPr marL="3162749" indent="-210850" algn="l" defTabSz="421700" rtl="0" eaLnBrk="1" latinLnBrk="0" hangingPunct="1">
        <a:spcBef>
          <a:spcPts val="923"/>
        </a:spcBef>
        <a:spcAft>
          <a:spcPts val="0"/>
        </a:spcAft>
        <a:buClr>
          <a:schemeClr val="accent1"/>
        </a:buClr>
        <a:buSzPct val="80000"/>
        <a:buFont typeface="Wingdings 3" charset="2"/>
        <a:buChar char=""/>
        <a:defRPr sz="1107" kern="1200">
          <a:solidFill>
            <a:schemeClr val="tx1">
              <a:lumMod val="75000"/>
              <a:lumOff val="25000"/>
            </a:schemeClr>
          </a:solidFill>
          <a:latin typeface="+mn-lt"/>
          <a:ea typeface="+mn-ea"/>
          <a:cs typeface="+mn-cs"/>
        </a:defRPr>
      </a:lvl8pPr>
      <a:lvl9pPr marL="3584448" indent="-210850" algn="l" defTabSz="421700" rtl="0" eaLnBrk="1" latinLnBrk="0" hangingPunct="1">
        <a:spcBef>
          <a:spcPts val="923"/>
        </a:spcBef>
        <a:spcAft>
          <a:spcPts val="0"/>
        </a:spcAft>
        <a:buClr>
          <a:schemeClr val="accent1"/>
        </a:buClr>
        <a:buSzPct val="80000"/>
        <a:buFont typeface="Wingdings 3" charset="2"/>
        <a:buChar char=""/>
        <a:defRPr sz="1107" kern="1200">
          <a:solidFill>
            <a:schemeClr val="tx1">
              <a:lumMod val="75000"/>
              <a:lumOff val="25000"/>
            </a:schemeClr>
          </a:solidFill>
          <a:latin typeface="+mn-lt"/>
          <a:ea typeface="+mn-ea"/>
          <a:cs typeface="+mn-cs"/>
        </a:defRPr>
      </a:lvl9pPr>
    </p:bodyStyle>
    <p:otherStyle>
      <a:defPPr>
        <a:defRPr lang="en-US"/>
      </a:defPPr>
      <a:lvl1pPr marL="0" algn="l" defTabSz="421700" rtl="0" eaLnBrk="1" latinLnBrk="0" hangingPunct="1">
        <a:defRPr sz="1661" kern="1200">
          <a:solidFill>
            <a:schemeClr val="tx1"/>
          </a:solidFill>
          <a:latin typeface="+mn-lt"/>
          <a:ea typeface="+mn-ea"/>
          <a:cs typeface="+mn-cs"/>
        </a:defRPr>
      </a:lvl1pPr>
      <a:lvl2pPr marL="421700" algn="l" defTabSz="421700" rtl="0" eaLnBrk="1" latinLnBrk="0" hangingPunct="1">
        <a:defRPr sz="1661" kern="1200">
          <a:solidFill>
            <a:schemeClr val="tx1"/>
          </a:solidFill>
          <a:latin typeface="+mn-lt"/>
          <a:ea typeface="+mn-ea"/>
          <a:cs typeface="+mn-cs"/>
        </a:defRPr>
      </a:lvl2pPr>
      <a:lvl3pPr marL="843399" algn="l" defTabSz="421700" rtl="0" eaLnBrk="1" latinLnBrk="0" hangingPunct="1">
        <a:defRPr sz="1661" kern="1200">
          <a:solidFill>
            <a:schemeClr val="tx1"/>
          </a:solidFill>
          <a:latin typeface="+mn-lt"/>
          <a:ea typeface="+mn-ea"/>
          <a:cs typeface="+mn-cs"/>
        </a:defRPr>
      </a:lvl3pPr>
      <a:lvl4pPr marL="1265099" algn="l" defTabSz="421700" rtl="0" eaLnBrk="1" latinLnBrk="0" hangingPunct="1">
        <a:defRPr sz="1661" kern="1200">
          <a:solidFill>
            <a:schemeClr val="tx1"/>
          </a:solidFill>
          <a:latin typeface="+mn-lt"/>
          <a:ea typeface="+mn-ea"/>
          <a:cs typeface="+mn-cs"/>
        </a:defRPr>
      </a:lvl4pPr>
      <a:lvl5pPr marL="1686799" algn="l" defTabSz="421700" rtl="0" eaLnBrk="1" latinLnBrk="0" hangingPunct="1">
        <a:defRPr sz="1661" kern="1200">
          <a:solidFill>
            <a:schemeClr val="tx1"/>
          </a:solidFill>
          <a:latin typeface="+mn-lt"/>
          <a:ea typeface="+mn-ea"/>
          <a:cs typeface="+mn-cs"/>
        </a:defRPr>
      </a:lvl5pPr>
      <a:lvl6pPr marL="2108499" algn="l" defTabSz="421700" rtl="0" eaLnBrk="1" latinLnBrk="0" hangingPunct="1">
        <a:defRPr sz="1661" kern="1200">
          <a:solidFill>
            <a:schemeClr val="tx1"/>
          </a:solidFill>
          <a:latin typeface="+mn-lt"/>
          <a:ea typeface="+mn-ea"/>
          <a:cs typeface="+mn-cs"/>
        </a:defRPr>
      </a:lvl6pPr>
      <a:lvl7pPr marL="2530198" algn="l" defTabSz="421700" rtl="0" eaLnBrk="1" latinLnBrk="0" hangingPunct="1">
        <a:defRPr sz="1661" kern="1200">
          <a:solidFill>
            <a:schemeClr val="tx1"/>
          </a:solidFill>
          <a:latin typeface="+mn-lt"/>
          <a:ea typeface="+mn-ea"/>
          <a:cs typeface="+mn-cs"/>
        </a:defRPr>
      </a:lvl7pPr>
      <a:lvl8pPr marL="2951898" algn="l" defTabSz="421700" rtl="0" eaLnBrk="1" latinLnBrk="0" hangingPunct="1">
        <a:defRPr sz="1661" kern="1200">
          <a:solidFill>
            <a:schemeClr val="tx1"/>
          </a:solidFill>
          <a:latin typeface="+mn-lt"/>
          <a:ea typeface="+mn-ea"/>
          <a:cs typeface="+mn-cs"/>
        </a:defRPr>
      </a:lvl8pPr>
      <a:lvl9pPr marL="3373599" algn="l" defTabSz="421700" rtl="0" eaLnBrk="1" latinLnBrk="0" hangingPunct="1">
        <a:defRPr sz="1661"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9" name="Logo color">
            <a:extLst>
              <a:ext uri="{FF2B5EF4-FFF2-40B4-BE49-F238E27FC236}">
                <a16:creationId xmlns:a16="http://schemas.microsoft.com/office/drawing/2014/main" id="{ADC92552-7939-46C1-AAFE-B97F51EBFFE9}"/>
              </a:ext>
            </a:extLst>
          </p:cNvPr>
          <p:cNvSpPr>
            <a:spLocks noChangeAspect="1"/>
          </p:cNvSpPr>
          <p:nvPr userDrawn="1">
            <p:custDataLst>
              <p:tags r:id="rId14"/>
            </p:custDataLst>
          </p:nvPr>
        </p:nvSpPr>
        <p:spPr bwMode="auto">
          <a:xfrm>
            <a:off x="252000" y="252000"/>
            <a:ext cx="419611" cy="612000"/>
          </a:xfrm>
          <a:custGeom>
            <a:avLst/>
            <a:gdLst>
              <a:gd name="connsiteX0" fmla="*/ 1050029 w 4933949"/>
              <a:gd name="connsiteY0" fmla="*/ 6094413 h 7196138"/>
              <a:gd name="connsiteX1" fmla="*/ 3883920 w 4933949"/>
              <a:gd name="connsiteY1" fmla="*/ 6094413 h 7196138"/>
              <a:gd name="connsiteX2" fmla="*/ 4933949 w 4933949"/>
              <a:gd name="connsiteY2" fmla="*/ 6645934 h 7196138"/>
              <a:gd name="connsiteX3" fmla="*/ 3883920 w 4933949"/>
              <a:gd name="connsiteY3" fmla="*/ 7196138 h 7196138"/>
              <a:gd name="connsiteX4" fmla="*/ 1050029 w 4933949"/>
              <a:gd name="connsiteY4" fmla="*/ 7196138 h 7196138"/>
              <a:gd name="connsiteX5" fmla="*/ 0 w 4933949"/>
              <a:gd name="connsiteY5" fmla="*/ 6645934 h 7196138"/>
              <a:gd name="connsiteX6" fmla="*/ 1050029 w 4933949"/>
              <a:gd name="connsiteY6" fmla="*/ 6094413 h 7196138"/>
              <a:gd name="connsiteX7" fmla="*/ 1050029 w 4933949"/>
              <a:gd name="connsiteY7" fmla="*/ 4730750 h 7196138"/>
              <a:gd name="connsiteX8" fmla="*/ 3883920 w 4933949"/>
              <a:gd name="connsiteY8" fmla="*/ 4730750 h 7196138"/>
              <a:gd name="connsiteX9" fmla="*/ 4933949 w 4933949"/>
              <a:gd name="connsiteY9" fmla="*/ 5283066 h 7196138"/>
              <a:gd name="connsiteX10" fmla="*/ 3883920 w 4933949"/>
              <a:gd name="connsiteY10" fmla="*/ 5834063 h 7196138"/>
              <a:gd name="connsiteX11" fmla="*/ 1050029 w 4933949"/>
              <a:gd name="connsiteY11" fmla="*/ 5834063 h 7196138"/>
              <a:gd name="connsiteX12" fmla="*/ 0 w 4933949"/>
              <a:gd name="connsiteY12" fmla="*/ 5283066 h 7196138"/>
              <a:gd name="connsiteX13" fmla="*/ 1050029 w 4933949"/>
              <a:gd name="connsiteY13" fmla="*/ 4730750 h 7196138"/>
              <a:gd name="connsiteX14" fmla="*/ 1050029 w 4933949"/>
              <a:gd name="connsiteY14" fmla="*/ 3368675 h 7196138"/>
              <a:gd name="connsiteX15" fmla="*/ 3883920 w 4933949"/>
              <a:gd name="connsiteY15" fmla="*/ 3368675 h 7196138"/>
              <a:gd name="connsiteX16" fmla="*/ 4933949 w 4933949"/>
              <a:gd name="connsiteY16" fmla="*/ 3920991 h 7196138"/>
              <a:gd name="connsiteX17" fmla="*/ 3883920 w 4933949"/>
              <a:gd name="connsiteY17" fmla="*/ 4471988 h 7196138"/>
              <a:gd name="connsiteX18" fmla="*/ 1050029 w 4933949"/>
              <a:gd name="connsiteY18" fmla="*/ 4471988 h 7196138"/>
              <a:gd name="connsiteX19" fmla="*/ 0 w 4933949"/>
              <a:gd name="connsiteY19" fmla="*/ 3920991 h 7196138"/>
              <a:gd name="connsiteX20" fmla="*/ 1050029 w 4933949"/>
              <a:gd name="connsiteY20" fmla="*/ 3368675 h 7196138"/>
              <a:gd name="connsiteX21" fmla="*/ 678543 w 4933949"/>
              <a:gd name="connsiteY21" fmla="*/ 305710 h 7196138"/>
              <a:gd name="connsiteX22" fmla="*/ 678543 w 4933949"/>
              <a:gd name="connsiteY22" fmla="*/ 2307316 h 7196138"/>
              <a:gd name="connsiteX23" fmla="*/ 909109 w 4933949"/>
              <a:gd name="connsiteY23" fmla="*/ 2307316 h 7196138"/>
              <a:gd name="connsiteX24" fmla="*/ 1119911 w 4933949"/>
              <a:gd name="connsiteY24" fmla="*/ 2234842 h 7196138"/>
              <a:gd name="connsiteX25" fmla="*/ 1198962 w 4933949"/>
              <a:gd name="connsiteY25" fmla="*/ 1615517 h 7196138"/>
              <a:gd name="connsiteX26" fmla="*/ 1198962 w 4933949"/>
              <a:gd name="connsiteY26" fmla="*/ 996191 h 7196138"/>
              <a:gd name="connsiteX27" fmla="*/ 1119911 w 4933949"/>
              <a:gd name="connsiteY27" fmla="*/ 378184 h 7196138"/>
              <a:gd name="connsiteX28" fmla="*/ 909109 w 4933949"/>
              <a:gd name="connsiteY28" fmla="*/ 305710 h 7196138"/>
              <a:gd name="connsiteX29" fmla="*/ 678543 w 4933949"/>
              <a:gd name="connsiteY29" fmla="*/ 305710 h 7196138"/>
              <a:gd name="connsiteX30" fmla="*/ 1842869 w 4933949"/>
              <a:gd name="connsiteY30" fmla="*/ 0 h 7196138"/>
              <a:gd name="connsiteX31" fmla="*/ 3073618 w 4933949"/>
              <a:gd name="connsiteY31" fmla="*/ 0 h 7196138"/>
              <a:gd name="connsiteX32" fmla="*/ 3114467 w 4933949"/>
              <a:gd name="connsiteY32" fmla="*/ 14495 h 7196138"/>
              <a:gd name="connsiteX33" fmla="*/ 3128962 w 4933949"/>
              <a:gd name="connsiteY33" fmla="*/ 54027 h 7196138"/>
              <a:gd name="connsiteX34" fmla="*/ 3128962 w 4933949"/>
              <a:gd name="connsiteY34" fmla="*/ 275402 h 7196138"/>
              <a:gd name="connsiteX35" fmla="*/ 3114467 w 4933949"/>
              <a:gd name="connsiteY35" fmla="*/ 314934 h 7196138"/>
              <a:gd name="connsiteX36" fmla="*/ 3073618 w 4933949"/>
              <a:gd name="connsiteY36" fmla="*/ 329429 h 7196138"/>
              <a:gd name="connsiteX37" fmla="*/ 2679620 w 4933949"/>
              <a:gd name="connsiteY37" fmla="*/ 329429 h 7196138"/>
              <a:gd name="connsiteX38" fmla="*/ 2679620 w 4933949"/>
              <a:gd name="connsiteY38" fmla="*/ 2558999 h 7196138"/>
              <a:gd name="connsiteX39" fmla="*/ 2665125 w 4933949"/>
              <a:gd name="connsiteY39" fmla="*/ 2598530 h 7196138"/>
              <a:gd name="connsiteX40" fmla="*/ 2625594 w 4933949"/>
              <a:gd name="connsiteY40" fmla="*/ 2613025 h 7196138"/>
              <a:gd name="connsiteX41" fmla="*/ 2290893 w 4933949"/>
              <a:gd name="connsiteY41" fmla="*/ 2613025 h 7196138"/>
              <a:gd name="connsiteX42" fmla="*/ 2250044 w 4933949"/>
              <a:gd name="connsiteY42" fmla="*/ 2598530 h 7196138"/>
              <a:gd name="connsiteX43" fmla="*/ 2235549 w 4933949"/>
              <a:gd name="connsiteY43" fmla="*/ 2558999 h 7196138"/>
              <a:gd name="connsiteX44" fmla="*/ 2235549 w 4933949"/>
              <a:gd name="connsiteY44" fmla="*/ 329429 h 7196138"/>
              <a:gd name="connsiteX45" fmla="*/ 1842869 w 4933949"/>
              <a:gd name="connsiteY45" fmla="*/ 329429 h 7196138"/>
              <a:gd name="connsiteX46" fmla="*/ 1802020 w 4933949"/>
              <a:gd name="connsiteY46" fmla="*/ 314934 h 7196138"/>
              <a:gd name="connsiteX47" fmla="*/ 1787525 w 4933949"/>
              <a:gd name="connsiteY47" fmla="*/ 275402 h 7196138"/>
              <a:gd name="connsiteX48" fmla="*/ 1787525 w 4933949"/>
              <a:gd name="connsiteY48" fmla="*/ 54027 h 7196138"/>
              <a:gd name="connsiteX49" fmla="*/ 1802020 w 4933949"/>
              <a:gd name="connsiteY49" fmla="*/ 14495 h 7196138"/>
              <a:gd name="connsiteX50" fmla="*/ 1842869 w 4933949"/>
              <a:gd name="connsiteY50" fmla="*/ 0 h 7196138"/>
              <a:gd name="connsiteX51" fmla="*/ 317544 w 4933949"/>
              <a:gd name="connsiteY51" fmla="*/ 0 h 7196138"/>
              <a:gd name="connsiteX52" fmla="*/ 972349 w 4933949"/>
              <a:gd name="connsiteY52" fmla="*/ 0 h 7196138"/>
              <a:gd name="connsiteX53" fmla="*/ 1476958 w 4933949"/>
              <a:gd name="connsiteY53" fmla="*/ 179209 h 7196138"/>
              <a:gd name="connsiteX54" fmla="*/ 1619250 w 4933949"/>
              <a:gd name="connsiteY54" fmla="*/ 1025181 h 7196138"/>
              <a:gd name="connsiteX55" fmla="*/ 1619250 w 4933949"/>
              <a:gd name="connsiteY55" fmla="*/ 1587845 h 7196138"/>
              <a:gd name="connsiteX56" fmla="*/ 1476958 w 4933949"/>
              <a:gd name="connsiteY56" fmla="*/ 2433816 h 7196138"/>
              <a:gd name="connsiteX57" fmla="*/ 972349 w 4933949"/>
              <a:gd name="connsiteY57" fmla="*/ 2613025 h 7196138"/>
              <a:gd name="connsiteX58" fmla="*/ 317544 w 4933949"/>
              <a:gd name="connsiteY58" fmla="*/ 2613025 h 7196138"/>
              <a:gd name="connsiteX59" fmla="*/ 278018 w 4933949"/>
              <a:gd name="connsiteY59" fmla="*/ 2598530 h 7196138"/>
              <a:gd name="connsiteX60" fmla="*/ 263525 w 4933949"/>
              <a:gd name="connsiteY60" fmla="*/ 2558999 h 7196138"/>
              <a:gd name="connsiteX61" fmla="*/ 263525 w 4933949"/>
              <a:gd name="connsiteY61" fmla="*/ 54027 h 7196138"/>
              <a:gd name="connsiteX62" fmla="*/ 278018 w 4933949"/>
              <a:gd name="connsiteY62" fmla="*/ 14495 h 7196138"/>
              <a:gd name="connsiteX63" fmla="*/ 317544 w 4933949"/>
              <a:gd name="connsiteY63" fmla="*/ 0 h 7196138"/>
              <a:gd name="connsiteX64" fmla="*/ 3359213 w 4933949"/>
              <a:gd name="connsiteY64" fmla="*/ 0 h 7196138"/>
              <a:gd name="connsiteX65" fmla="*/ 3664991 w 4933949"/>
              <a:gd name="connsiteY65" fmla="*/ 0 h 7196138"/>
              <a:gd name="connsiteX66" fmla="*/ 3705850 w 4933949"/>
              <a:gd name="connsiteY66" fmla="*/ 14497 h 7196138"/>
              <a:gd name="connsiteX67" fmla="*/ 3720348 w 4933949"/>
              <a:gd name="connsiteY67" fmla="*/ 54035 h 7196138"/>
              <a:gd name="connsiteX68" fmla="*/ 3720348 w 4933949"/>
              <a:gd name="connsiteY68" fmla="*/ 1903062 h 7196138"/>
              <a:gd name="connsiteX69" fmla="*/ 3798111 w 4933949"/>
              <a:gd name="connsiteY69" fmla="*/ 2279984 h 7196138"/>
              <a:gd name="connsiteX70" fmla="*/ 3976042 w 4933949"/>
              <a:gd name="connsiteY70" fmla="*/ 2349833 h 7196138"/>
              <a:gd name="connsiteX71" fmla="*/ 4163200 w 4933949"/>
              <a:gd name="connsiteY71" fmla="*/ 2279984 h 7196138"/>
              <a:gd name="connsiteX72" fmla="*/ 4240963 w 4933949"/>
              <a:gd name="connsiteY72" fmla="*/ 1903062 h 7196138"/>
              <a:gd name="connsiteX73" fmla="*/ 4240963 w 4933949"/>
              <a:gd name="connsiteY73" fmla="*/ 54035 h 7196138"/>
              <a:gd name="connsiteX74" fmla="*/ 4255461 w 4933949"/>
              <a:gd name="connsiteY74" fmla="*/ 14497 h 7196138"/>
              <a:gd name="connsiteX75" fmla="*/ 4295001 w 4933949"/>
              <a:gd name="connsiteY75" fmla="*/ 0 h 7196138"/>
              <a:gd name="connsiteX76" fmla="*/ 4602098 w 4933949"/>
              <a:gd name="connsiteY76" fmla="*/ 0 h 7196138"/>
              <a:gd name="connsiteX77" fmla="*/ 4641638 w 4933949"/>
              <a:gd name="connsiteY77" fmla="*/ 14497 h 7196138"/>
              <a:gd name="connsiteX78" fmla="*/ 4656136 w 4933949"/>
              <a:gd name="connsiteY78" fmla="*/ 54035 h 7196138"/>
              <a:gd name="connsiteX79" fmla="*/ 4656136 w 4933949"/>
              <a:gd name="connsiteY79" fmla="*/ 1904380 h 7196138"/>
              <a:gd name="connsiteX80" fmla="*/ 4507201 w 4933949"/>
              <a:gd name="connsiteY80" fmla="*/ 2459220 h 7196138"/>
              <a:gd name="connsiteX81" fmla="*/ 3981314 w 4933949"/>
              <a:gd name="connsiteY81" fmla="*/ 2646363 h 7196138"/>
              <a:gd name="connsiteX82" fmla="*/ 3447519 w 4933949"/>
              <a:gd name="connsiteY82" fmla="*/ 2459220 h 7196138"/>
              <a:gd name="connsiteX83" fmla="*/ 3305174 w 4933949"/>
              <a:gd name="connsiteY83" fmla="*/ 1904380 h 7196138"/>
              <a:gd name="connsiteX84" fmla="*/ 3305174 w 4933949"/>
              <a:gd name="connsiteY84" fmla="*/ 54035 h 7196138"/>
              <a:gd name="connsiteX85" fmla="*/ 3318354 w 4933949"/>
              <a:gd name="connsiteY85" fmla="*/ 14497 h 7196138"/>
              <a:gd name="connsiteX86" fmla="*/ 3359213 w 4933949"/>
              <a:gd name="connsiteY86" fmla="*/ 0 h 7196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933949" h="7196138">
                <a:moveTo>
                  <a:pt x="1050029" y="6094413"/>
                </a:moveTo>
                <a:cubicBezTo>
                  <a:pt x="2409664" y="6623557"/>
                  <a:pt x="2524285" y="6623557"/>
                  <a:pt x="3883920" y="6094413"/>
                </a:cubicBezTo>
                <a:cubicBezTo>
                  <a:pt x="3883920" y="6094413"/>
                  <a:pt x="3883920" y="6094413"/>
                  <a:pt x="4933949" y="6645934"/>
                </a:cubicBezTo>
                <a:cubicBezTo>
                  <a:pt x="4933949" y="6645934"/>
                  <a:pt x="4933949" y="6645934"/>
                  <a:pt x="3883920" y="7196138"/>
                </a:cubicBezTo>
                <a:cubicBezTo>
                  <a:pt x="2524285" y="6668311"/>
                  <a:pt x="2409664" y="6668311"/>
                  <a:pt x="1050029" y="7196138"/>
                </a:cubicBezTo>
                <a:cubicBezTo>
                  <a:pt x="1050029" y="7196138"/>
                  <a:pt x="1050029" y="7196138"/>
                  <a:pt x="0" y="6645934"/>
                </a:cubicBezTo>
                <a:cubicBezTo>
                  <a:pt x="0" y="6645934"/>
                  <a:pt x="0" y="6645934"/>
                  <a:pt x="1050029" y="6094413"/>
                </a:cubicBezTo>
                <a:close/>
                <a:moveTo>
                  <a:pt x="1050029" y="4730750"/>
                </a:moveTo>
                <a:cubicBezTo>
                  <a:pt x="2409664" y="5260657"/>
                  <a:pt x="2524285" y="5260657"/>
                  <a:pt x="3883920" y="4730750"/>
                </a:cubicBezTo>
                <a:cubicBezTo>
                  <a:pt x="3883920" y="4730750"/>
                  <a:pt x="3883920" y="4730750"/>
                  <a:pt x="4933949" y="5283066"/>
                </a:cubicBezTo>
                <a:cubicBezTo>
                  <a:pt x="4933949" y="5283066"/>
                  <a:pt x="4933949" y="5283066"/>
                  <a:pt x="3883920" y="5834063"/>
                </a:cubicBezTo>
                <a:cubicBezTo>
                  <a:pt x="2524285" y="5305475"/>
                  <a:pt x="2409664" y="5305475"/>
                  <a:pt x="1050029" y="5834063"/>
                </a:cubicBezTo>
                <a:cubicBezTo>
                  <a:pt x="1050029" y="5834063"/>
                  <a:pt x="1050029" y="5834063"/>
                  <a:pt x="0" y="5283066"/>
                </a:cubicBezTo>
                <a:cubicBezTo>
                  <a:pt x="0" y="5283066"/>
                  <a:pt x="0" y="5283066"/>
                  <a:pt x="1050029" y="4730750"/>
                </a:cubicBezTo>
                <a:close/>
                <a:moveTo>
                  <a:pt x="1050029" y="3368675"/>
                </a:moveTo>
                <a:cubicBezTo>
                  <a:pt x="2409664" y="3898582"/>
                  <a:pt x="2524285" y="3898582"/>
                  <a:pt x="3883920" y="3368675"/>
                </a:cubicBezTo>
                <a:cubicBezTo>
                  <a:pt x="3883920" y="3368675"/>
                  <a:pt x="3883920" y="3368675"/>
                  <a:pt x="4933949" y="3920991"/>
                </a:cubicBezTo>
                <a:cubicBezTo>
                  <a:pt x="4933949" y="3920991"/>
                  <a:pt x="4933949" y="3920991"/>
                  <a:pt x="3883920" y="4471988"/>
                </a:cubicBezTo>
                <a:cubicBezTo>
                  <a:pt x="2524285" y="3943400"/>
                  <a:pt x="2409664" y="3943400"/>
                  <a:pt x="1050029" y="4471988"/>
                </a:cubicBezTo>
                <a:cubicBezTo>
                  <a:pt x="1050029" y="4471988"/>
                  <a:pt x="1050029" y="4471988"/>
                  <a:pt x="0" y="3920991"/>
                </a:cubicBezTo>
                <a:cubicBezTo>
                  <a:pt x="0" y="3920991"/>
                  <a:pt x="0" y="3920991"/>
                  <a:pt x="1050029" y="3368675"/>
                </a:cubicBezTo>
                <a:close/>
                <a:moveTo>
                  <a:pt x="678543" y="305710"/>
                </a:moveTo>
                <a:lnTo>
                  <a:pt x="678543" y="2307316"/>
                </a:lnTo>
                <a:cubicBezTo>
                  <a:pt x="678543" y="2307316"/>
                  <a:pt x="678543" y="2307316"/>
                  <a:pt x="909109" y="2307316"/>
                </a:cubicBezTo>
                <a:cubicBezTo>
                  <a:pt x="1011875" y="2307316"/>
                  <a:pt x="1072481" y="2291503"/>
                  <a:pt x="1119911" y="2234842"/>
                </a:cubicBezTo>
                <a:cubicBezTo>
                  <a:pt x="1192375" y="2147873"/>
                  <a:pt x="1198962" y="1971299"/>
                  <a:pt x="1198962" y="1615517"/>
                </a:cubicBezTo>
                <a:cubicBezTo>
                  <a:pt x="1198962" y="1615517"/>
                  <a:pt x="1198962" y="1615517"/>
                  <a:pt x="1198962" y="996191"/>
                </a:cubicBezTo>
                <a:cubicBezTo>
                  <a:pt x="1198962" y="641727"/>
                  <a:pt x="1192375" y="465153"/>
                  <a:pt x="1119911" y="378184"/>
                </a:cubicBezTo>
                <a:cubicBezTo>
                  <a:pt x="1072481" y="321522"/>
                  <a:pt x="1011875" y="305710"/>
                  <a:pt x="909109" y="305710"/>
                </a:cubicBezTo>
                <a:cubicBezTo>
                  <a:pt x="909109" y="305710"/>
                  <a:pt x="909109" y="305710"/>
                  <a:pt x="678543" y="305710"/>
                </a:cubicBezTo>
                <a:close/>
                <a:moveTo>
                  <a:pt x="1842869" y="0"/>
                </a:moveTo>
                <a:cubicBezTo>
                  <a:pt x="1842869" y="0"/>
                  <a:pt x="1842869" y="0"/>
                  <a:pt x="3073618" y="0"/>
                </a:cubicBezTo>
                <a:cubicBezTo>
                  <a:pt x="3093384" y="0"/>
                  <a:pt x="3105243" y="5271"/>
                  <a:pt x="3114467" y="14495"/>
                </a:cubicBezTo>
                <a:cubicBezTo>
                  <a:pt x="3122374" y="22401"/>
                  <a:pt x="3128962" y="34261"/>
                  <a:pt x="3128962" y="54027"/>
                </a:cubicBezTo>
                <a:cubicBezTo>
                  <a:pt x="3128962" y="54027"/>
                  <a:pt x="3128962" y="54027"/>
                  <a:pt x="3128962" y="275402"/>
                </a:cubicBezTo>
                <a:cubicBezTo>
                  <a:pt x="3128962" y="295168"/>
                  <a:pt x="3122374" y="307028"/>
                  <a:pt x="3114467" y="314934"/>
                </a:cubicBezTo>
                <a:cubicBezTo>
                  <a:pt x="3105243" y="324158"/>
                  <a:pt x="3093384" y="329429"/>
                  <a:pt x="3073618" y="329429"/>
                </a:cubicBezTo>
                <a:cubicBezTo>
                  <a:pt x="3073618" y="329429"/>
                  <a:pt x="3073618" y="329429"/>
                  <a:pt x="2679620" y="329429"/>
                </a:cubicBezTo>
                <a:cubicBezTo>
                  <a:pt x="2679620" y="329429"/>
                  <a:pt x="2679620" y="329429"/>
                  <a:pt x="2679620" y="2558999"/>
                </a:cubicBezTo>
                <a:cubicBezTo>
                  <a:pt x="2679620" y="2578765"/>
                  <a:pt x="2674349" y="2590624"/>
                  <a:pt x="2665125" y="2598530"/>
                </a:cubicBezTo>
                <a:cubicBezTo>
                  <a:pt x="2657219" y="2607755"/>
                  <a:pt x="2645360" y="2613025"/>
                  <a:pt x="2625594" y="2613025"/>
                </a:cubicBezTo>
                <a:cubicBezTo>
                  <a:pt x="2625594" y="2613025"/>
                  <a:pt x="2625594" y="2613025"/>
                  <a:pt x="2290893" y="2613025"/>
                </a:cubicBezTo>
                <a:cubicBezTo>
                  <a:pt x="2271128" y="2613025"/>
                  <a:pt x="2259268" y="2607755"/>
                  <a:pt x="2250044" y="2598530"/>
                </a:cubicBezTo>
                <a:cubicBezTo>
                  <a:pt x="2240820" y="2590624"/>
                  <a:pt x="2235549" y="2578765"/>
                  <a:pt x="2235549" y="2558999"/>
                </a:cubicBezTo>
                <a:cubicBezTo>
                  <a:pt x="2235549" y="2558999"/>
                  <a:pt x="2235549" y="2558999"/>
                  <a:pt x="2235549" y="329429"/>
                </a:cubicBezTo>
                <a:cubicBezTo>
                  <a:pt x="2235549" y="329429"/>
                  <a:pt x="2235549" y="329429"/>
                  <a:pt x="1842869" y="329429"/>
                </a:cubicBezTo>
                <a:cubicBezTo>
                  <a:pt x="1823104" y="329429"/>
                  <a:pt x="1811244" y="324158"/>
                  <a:pt x="1802020" y="314934"/>
                </a:cubicBezTo>
                <a:cubicBezTo>
                  <a:pt x="1792796" y="307028"/>
                  <a:pt x="1787525" y="295168"/>
                  <a:pt x="1787525" y="275402"/>
                </a:cubicBezTo>
                <a:cubicBezTo>
                  <a:pt x="1787525" y="275402"/>
                  <a:pt x="1787525" y="275402"/>
                  <a:pt x="1787525" y="54027"/>
                </a:cubicBezTo>
                <a:cubicBezTo>
                  <a:pt x="1787525" y="34261"/>
                  <a:pt x="1792796" y="22401"/>
                  <a:pt x="1802020" y="14495"/>
                </a:cubicBezTo>
                <a:cubicBezTo>
                  <a:pt x="1811244" y="5271"/>
                  <a:pt x="1823104" y="0"/>
                  <a:pt x="1842869" y="0"/>
                </a:cubicBezTo>
                <a:close/>
                <a:moveTo>
                  <a:pt x="317544" y="0"/>
                </a:moveTo>
                <a:cubicBezTo>
                  <a:pt x="317544" y="0"/>
                  <a:pt x="317544" y="0"/>
                  <a:pt x="972349" y="0"/>
                </a:cubicBezTo>
                <a:cubicBezTo>
                  <a:pt x="1226630" y="0"/>
                  <a:pt x="1382097" y="57980"/>
                  <a:pt x="1476958" y="179209"/>
                </a:cubicBezTo>
                <a:cubicBezTo>
                  <a:pt x="1615298" y="345241"/>
                  <a:pt x="1619250" y="614055"/>
                  <a:pt x="1619250" y="1025181"/>
                </a:cubicBezTo>
                <a:cubicBezTo>
                  <a:pt x="1619250" y="1025181"/>
                  <a:pt x="1619250" y="1025181"/>
                  <a:pt x="1619250" y="1587845"/>
                </a:cubicBezTo>
                <a:cubicBezTo>
                  <a:pt x="1619250" y="1998971"/>
                  <a:pt x="1615298" y="2267784"/>
                  <a:pt x="1476958" y="2433816"/>
                </a:cubicBezTo>
                <a:cubicBezTo>
                  <a:pt x="1382097" y="2555046"/>
                  <a:pt x="1226630" y="2613025"/>
                  <a:pt x="972349" y="2613025"/>
                </a:cubicBezTo>
                <a:cubicBezTo>
                  <a:pt x="972349" y="2613025"/>
                  <a:pt x="972349" y="2613025"/>
                  <a:pt x="317544" y="2613025"/>
                </a:cubicBezTo>
                <a:cubicBezTo>
                  <a:pt x="297781" y="2613025"/>
                  <a:pt x="285923" y="2607755"/>
                  <a:pt x="278018" y="2598530"/>
                </a:cubicBezTo>
                <a:cubicBezTo>
                  <a:pt x="268795" y="2590624"/>
                  <a:pt x="263525" y="2578765"/>
                  <a:pt x="263525" y="2558999"/>
                </a:cubicBezTo>
                <a:cubicBezTo>
                  <a:pt x="263525" y="2558999"/>
                  <a:pt x="263525" y="2558999"/>
                  <a:pt x="263525" y="54027"/>
                </a:cubicBezTo>
                <a:cubicBezTo>
                  <a:pt x="263525" y="34261"/>
                  <a:pt x="268795" y="22401"/>
                  <a:pt x="278018" y="14495"/>
                </a:cubicBezTo>
                <a:cubicBezTo>
                  <a:pt x="285923" y="5271"/>
                  <a:pt x="297781" y="0"/>
                  <a:pt x="317544" y="0"/>
                </a:cubicBezTo>
                <a:close/>
                <a:moveTo>
                  <a:pt x="3359213" y="0"/>
                </a:moveTo>
                <a:cubicBezTo>
                  <a:pt x="3359213" y="0"/>
                  <a:pt x="3359213" y="0"/>
                  <a:pt x="3664991" y="0"/>
                </a:cubicBezTo>
                <a:cubicBezTo>
                  <a:pt x="3684762" y="0"/>
                  <a:pt x="3696624" y="5272"/>
                  <a:pt x="3705850" y="14497"/>
                </a:cubicBezTo>
                <a:cubicBezTo>
                  <a:pt x="3715076" y="22405"/>
                  <a:pt x="3720348" y="34266"/>
                  <a:pt x="3720348" y="54035"/>
                </a:cubicBezTo>
                <a:cubicBezTo>
                  <a:pt x="3720348" y="54035"/>
                  <a:pt x="3720348" y="54035"/>
                  <a:pt x="3720348" y="1903062"/>
                </a:cubicBezTo>
                <a:cubicBezTo>
                  <a:pt x="3720348" y="2103384"/>
                  <a:pt x="3738800" y="2214089"/>
                  <a:pt x="3798111" y="2279984"/>
                </a:cubicBezTo>
                <a:cubicBezTo>
                  <a:pt x="3841605" y="2328747"/>
                  <a:pt x="3899597" y="2349833"/>
                  <a:pt x="3976042" y="2349833"/>
                </a:cubicBezTo>
                <a:cubicBezTo>
                  <a:pt x="4060395" y="2349833"/>
                  <a:pt x="4121023" y="2326111"/>
                  <a:pt x="4163200" y="2279984"/>
                </a:cubicBezTo>
                <a:cubicBezTo>
                  <a:pt x="4226464" y="2211453"/>
                  <a:pt x="4240963" y="2096795"/>
                  <a:pt x="4240963" y="1903062"/>
                </a:cubicBezTo>
                <a:cubicBezTo>
                  <a:pt x="4240963" y="1903062"/>
                  <a:pt x="4240963" y="1903062"/>
                  <a:pt x="4240963" y="54035"/>
                </a:cubicBezTo>
                <a:cubicBezTo>
                  <a:pt x="4240963" y="34266"/>
                  <a:pt x="4246235" y="22405"/>
                  <a:pt x="4255461" y="14497"/>
                </a:cubicBezTo>
                <a:cubicBezTo>
                  <a:pt x="4263369" y="5272"/>
                  <a:pt x="4276549" y="0"/>
                  <a:pt x="4295001" y="0"/>
                </a:cubicBezTo>
                <a:cubicBezTo>
                  <a:pt x="4295001" y="0"/>
                  <a:pt x="4295001" y="0"/>
                  <a:pt x="4602098" y="0"/>
                </a:cubicBezTo>
                <a:cubicBezTo>
                  <a:pt x="4621868" y="0"/>
                  <a:pt x="4633730" y="5272"/>
                  <a:pt x="4641638" y="14497"/>
                </a:cubicBezTo>
                <a:cubicBezTo>
                  <a:pt x="4650864" y="22405"/>
                  <a:pt x="4656136" y="34266"/>
                  <a:pt x="4656136" y="54035"/>
                </a:cubicBezTo>
                <a:cubicBezTo>
                  <a:pt x="4656136" y="54035"/>
                  <a:pt x="4656136" y="54035"/>
                  <a:pt x="4656136" y="1904380"/>
                </a:cubicBezTo>
                <a:cubicBezTo>
                  <a:pt x="4656136" y="2153465"/>
                  <a:pt x="4627140" y="2319521"/>
                  <a:pt x="4507201" y="2459220"/>
                </a:cubicBezTo>
                <a:cubicBezTo>
                  <a:pt x="4405714" y="2577832"/>
                  <a:pt x="4239645" y="2646363"/>
                  <a:pt x="3981314" y="2646363"/>
                </a:cubicBezTo>
                <a:cubicBezTo>
                  <a:pt x="3726938" y="2646363"/>
                  <a:pt x="3559550" y="2581786"/>
                  <a:pt x="3447519" y="2459220"/>
                </a:cubicBezTo>
                <a:cubicBezTo>
                  <a:pt x="3340760" y="2341926"/>
                  <a:pt x="3305174" y="2173233"/>
                  <a:pt x="3305174" y="1904380"/>
                </a:cubicBezTo>
                <a:cubicBezTo>
                  <a:pt x="3305174" y="1904380"/>
                  <a:pt x="3305174" y="1904380"/>
                  <a:pt x="3305174" y="54035"/>
                </a:cubicBezTo>
                <a:cubicBezTo>
                  <a:pt x="3305174" y="34266"/>
                  <a:pt x="3310446" y="22405"/>
                  <a:pt x="3318354" y="14497"/>
                </a:cubicBezTo>
                <a:cubicBezTo>
                  <a:pt x="3327580" y="5272"/>
                  <a:pt x="3339442" y="0"/>
                  <a:pt x="3359213" y="0"/>
                </a:cubicBezTo>
                <a:close/>
              </a:path>
            </a:pathLst>
          </a:custGeom>
          <a:solidFill>
            <a:srgbClr val="008737"/>
          </a:solidFill>
          <a:ln>
            <a:noFill/>
          </a:ln>
        </p:spPr>
        <p:txBody>
          <a:bodyPr vert="horz" wrap="square" lIns="91440" tIns="45720" rIns="91440" bIns="45720" numCol="1" anchor="t" anchorCtr="0" compatLnSpc="1">
            <a:prstTxWarp prst="textNoShape">
              <a:avLst/>
            </a:prstTxWarp>
            <a:noAutofit/>
          </a:bodyPr>
          <a:lstStyle/>
          <a:p>
            <a:endParaRPr lang="da-DK"/>
          </a:p>
        </p:txBody>
      </p:sp>
      <p:sp>
        <p:nvSpPr>
          <p:cNvPr id="11" name="Bottom bar">
            <a:extLst>
              <a:ext uri="{FF2B5EF4-FFF2-40B4-BE49-F238E27FC236}">
                <a16:creationId xmlns:a16="http://schemas.microsoft.com/office/drawing/2014/main" id="{FFFFD011-0D94-46EE-B45C-787FE82C3B5E}"/>
              </a:ext>
            </a:extLst>
          </p:cNvPr>
          <p:cNvSpPr/>
          <p:nvPr userDrawn="1"/>
        </p:nvSpPr>
        <p:spPr bwMode="auto">
          <a:xfrm>
            <a:off x="0" y="6541200"/>
            <a:ext cx="12193200" cy="316800"/>
          </a:xfrm>
          <a:prstGeom prst="rect">
            <a:avLst/>
          </a:prstGeom>
          <a:solidFill>
            <a:srgbClr val="008737"/>
          </a:solidFill>
          <a:ln w="9525" cap="flat" cmpd="sng" algn="ctr">
            <a:noFill/>
            <a:prstDash val="solid"/>
            <a:miter lim="800000"/>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432"/>
              </a:spcBef>
              <a:spcAft>
                <a:spcPct val="0"/>
              </a:spcAft>
              <a:buClrTx/>
              <a:buSzTx/>
              <a:buFontTx/>
              <a:buNone/>
              <a:tabLst/>
            </a:pPr>
            <a:endParaRPr kumimoji="0" lang="da-DK" sz="1600" b="0" i="0" u="none" strike="noStrike" cap="none" normalizeH="0" baseline="0" dirty="0" err="1">
              <a:ln>
                <a:noFill/>
              </a:ln>
              <a:solidFill>
                <a:srgbClr val="FFFFFF"/>
              </a:solidFill>
              <a:effectLst/>
              <a:latin typeface="+mn-lt"/>
              <a:ea typeface="ＭＳ Ｐゴシック" pitchFamily="-80" charset="-128"/>
            </a:endParaRPr>
          </a:p>
        </p:txBody>
      </p:sp>
      <p:sp>
        <p:nvSpPr>
          <p:cNvPr id="3" name="FLD_Presentation Title"/>
          <p:cNvSpPr>
            <a:spLocks noGrp="1"/>
          </p:cNvSpPr>
          <p:nvPr>
            <p:ph type="ftr" sz="quarter" idx="3"/>
          </p:nvPr>
        </p:nvSpPr>
        <p:spPr>
          <a:xfrm>
            <a:off x="0" y="6912000"/>
            <a:ext cx="0" cy="0"/>
          </a:xfrm>
          <a:prstGeom prst="rect">
            <a:avLst/>
          </a:prstGeom>
        </p:spPr>
        <p:txBody>
          <a:bodyPr vert="horz" lIns="0" tIns="0" rIns="0" bIns="0" rtlCol="0" anchor="t" anchorCtr="0"/>
          <a:lstStyle>
            <a:lvl1pPr algn="l">
              <a:spcBef>
                <a:spcPts val="0"/>
              </a:spcBef>
              <a:defRPr sz="700" b="0">
                <a:noFill/>
                <a:latin typeface="+mn-lt"/>
              </a:defRPr>
            </a:lvl1pPr>
          </a:lstStyle>
          <a:p>
            <a:endParaRPr lang="da-DK" dirty="0"/>
          </a:p>
        </p:txBody>
      </p:sp>
      <p:sp>
        <p:nvSpPr>
          <p:cNvPr id="4" name="Slide Number Placeholder 3"/>
          <p:cNvSpPr>
            <a:spLocks noGrp="1"/>
          </p:cNvSpPr>
          <p:nvPr>
            <p:ph type="sldNum" sz="quarter" idx="4"/>
          </p:nvPr>
        </p:nvSpPr>
        <p:spPr>
          <a:xfrm>
            <a:off x="11506450" y="6541200"/>
            <a:ext cx="432600" cy="316800"/>
          </a:xfrm>
          <a:prstGeom prst="rect">
            <a:avLst/>
          </a:prstGeom>
        </p:spPr>
        <p:txBody>
          <a:bodyPr vert="horz" lIns="0" tIns="0" rIns="0" bIns="0" rtlCol="0" anchor="ctr" anchorCtr="0"/>
          <a:lstStyle>
            <a:lvl1pPr algn="l">
              <a:defRPr sz="700" b="1">
                <a:solidFill>
                  <a:schemeClr val="bg1"/>
                </a:solidFill>
                <a:latin typeface="+mn-lt"/>
              </a:defRPr>
            </a:lvl1pPr>
          </a:lstStyle>
          <a:p>
            <a:fld id="{103EA872-A674-449B-A120-B97244F8E91D}" type="slidenum">
              <a:rPr lang="da-DK" smtClean="0"/>
              <a:pPr/>
              <a:t>‹#›</a:t>
            </a:fld>
            <a:endParaRPr lang="da-DK" dirty="0"/>
          </a:p>
        </p:txBody>
      </p:sp>
      <p:sp>
        <p:nvSpPr>
          <p:cNvPr id="113666" name="Rectangle 2"/>
          <p:cNvSpPr>
            <a:spLocks noGrp="1" noChangeArrowheads="1"/>
          </p:cNvSpPr>
          <p:nvPr>
            <p:ph type="title"/>
          </p:nvPr>
        </p:nvSpPr>
        <p:spPr bwMode="auto">
          <a:xfrm>
            <a:off x="1774726" y="426127"/>
            <a:ext cx="9312374" cy="9727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b" anchorCtr="0" compatLnSpc="1">
            <a:prstTxWarp prst="textNoShape">
              <a:avLst/>
            </a:prstTxWarp>
          </a:bodyPr>
          <a:lstStyle/>
          <a:p>
            <a:pPr lvl="0"/>
            <a:r>
              <a:rPr lang="da-DK" dirty="0"/>
              <a:t>Click to edit Master title style</a:t>
            </a:r>
          </a:p>
        </p:txBody>
      </p:sp>
      <p:sp>
        <p:nvSpPr>
          <p:cNvPr id="113667" name="Rectangle 3"/>
          <p:cNvSpPr>
            <a:spLocks noGrp="1" noChangeArrowheads="1"/>
          </p:cNvSpPr>
          <p:nvPr>
            <p:ph type="body" idx="1"/>
          </p:nvPr>
        </p:nvSpPr>
        <p:spPr bwMode="auto">
          <a:xfrm>
            <a:off x="1774726" y="1706328"/>
            <a:ext cx="9312374" cy="45455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da-DK" dirty="0"/>
              <a:t>Edit Master text styles</a:t>
            </a:r>
            <a:endParaRPr lang="da-DK"/>
          </a:p>
          <a:p>
            <a:pPr lvl="1"/>
            <a:r>
              <a:rPr lang="da-DK" dirty="0"/>
              <a:t>Second level</a:t>
            </a:r>
            <a:endParaRPr lang="da-DK"/>
          </a:p>
          <a:p>
            <a:pPr lvl="2"/>
            <a:r>
              <a:rPr lang="da-DK" dirty="0"/>
              <a:t>Third level</a:t>
            </a:r>
            <a:endParaRPr lang="da-DK"/>
          </a:p>
          <a:p>
            <a:pPr lvl="3"/>
            <a:r>
              <a:rPr lang="da-DK" dirty="0"/>
              <a:t>Fourth level</a:t>
            </a:r>
            <a:endParaRPr lang="da-DK"/>
          </a:p>
          <a:p>
            <a:pPr lvl="4"/>
            <a:r>
              <a:rPr lang="da-DK" dirty="0"/>
              <a:t>Fifth level</a:t>
            </a:r>
            <a:endParaRPr lang="da-DK"/>
          </a:p>
          <a:p>
            <a:pPr lvl="5"/>
            <a:endParaRPr lang="da-DK" dirty="0"/>
          </a:p>
        </p:txBody>
      </p:sp>
      <p:sp>
        <p:nvSpPr>
          <p:cNvPr id="113676" name="text" descr="{&quot;templafy&quot;:{&quot;id&quot;:&quot;8cf2e96c-c3c6-487e-ae6c-210f45769fae&quot;}}" title="UserProfile.Offices.Workarea_{{DocumentLanguage}}"/>
          <p:cNvSpPr>
            <a:spLocks noChangeArrowheads="1"/>
          </p:cNvSpPr>
          <p:nvPr userDrawn="1"/>
        </p:nvSpPr>
        <p:spPr bwMode="auto">
          <a:xfrm>
            <a:off x="1774726" y="6541200"/>
            <a:ext cx="3397071" cy="316800"/>
          </a:xfrm>
          <a:prstGeom prst="rect">
            <a:avLst/>
          </a:prstGeom>
          <a:noFill/>
          <a:ln>
            <a:noFill/>
          </a:ln>
        </p:spPr>
        <p:txBody>
          <a:bodyPr lIns="0" tIns="0" rIns="0" bIns="0" anchor="ctr" anchorCtr="0"/>
          <a:lstStyle/>
          <a:p>
            <a:pPr algn="l" eaLnBrk="0" hangingPunct="0">
              <a:spcBef>
                <a:spcPct val="0"/>
              </a:spcBef>
            </a:pPr>
            <a:r>
              <a:rPr lang="da-DK" sz="700" b="1" dirty="0">
                <a:solidFill>
                  <a:schemeClr val="bg1"/>
                </a:solidFill>
                <a:latin typeface="+mn-lt"/>
              </a:rPr>
              <a:t>DTU Sustain</a:t>
            </a:r>
          </a:p>
        </p:txBody>
      </p:sp>
      <p:sp>
        <p:nvSpPr>
          <p:cNvPr id="5" name="date" descr="{&quot;templafy&quot;:{&quot;id&quot;:&quot;c694f2bc-e91e-45f4-9377-10f9e301ba2b&quot;}}" title="Form.Date">
            <a:extLst>
              <a:ext uri="{FF2B5EF4-FFF2-40B4-BE49-F238E27FC236}">
                <a16:creationId xmlns:a16="http://schemas.microsoft.com/office/drawing/2014/main" id="{792B975C-625D-4095-8E1D-63F20A11B57C}"/>
              </a:ext>
            </a:extLst>
          </p:cNvPr>
          <p:cNvSpPr/>
          <p:nvPr userDrawn="1"/>
        </p:nvSpPr>
        <p:spPr bwMode="auto">
          <a:xfrm>
            <a:off x="251363" y="6541200"/>
            <a:ext cx="1104013" cy="316800"/>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r" defTabSz="914400" rtl="0" eaLnBrk="1" fontAlgn="base" latinLnBrk="0" hangingPunct="1">
              <a:lnSpc>
                <a:spcPct val="100000"/>
              </a:lnSpc>
              <a:spcBef>
                <a:spcPct val="50000"/>
              </a:spcBef>
              <a:spcAft>
                <a:spcPct val="0"/>
              </a:spcAft>
              <a:buClrTx/>
              <a:buSzTx/>
              <a:buFontTx/>
              <a:buNone/>
              <a:tabLst/>
            </a:pPr>
            <a:r>
              <a:rPr kumimoji="0" lang="en-US" sz="700" b="1" i="0" u="none" strike="noStrike" cap="none" normalizeH="0" baseline="0" noProof="0" dirty="0">
                <a:ln>
                  <a:noFill/>
                </a:ln>
                <a:solidFill>
                  <a:schemeClr val="bg1"/>
                </a:solidFill>
                <a:effectLst/>
                <a:latin typeface="+mn-lt"/>
                <a:ea typeface="ＭＳ Ｐゴシック" pitchFamily="-80" charset="-128"/>
              </a:rPr>
              <a:t>October 26th  2022</a:t>
            </a:r>
          </a:p>
        </p:txBody>
      </p:sp>
      <p:sp>
        <p:nvSpPr>
          <p:cNvPr id="7" name="text" descr="{&quot;templafy&quot;:{&quot;id&quot;:&quot;fdd608ec-f9d0-4ee9-a283-7caeac1a3be2&quot;}}" title="Form.PresentationTitle">
            <a:extLst>
              <a:ext uri="{FF2B5EF4-FFF2-40B4-BE49-F238E27FC236}">
                <a16:creationId xmlns:a16="http://schemas.microsoft.com/office/drawing/2014/main" id="{06B09BDB-1C7D-4F8A-8F1B-82D88054A428}"/>
              </a:ext>
            </a:extLst>
          </p:cNvPr>
          <p:cNvSpPr txBox="1"/>
          <p:nvPr userDrawn="1"/>
        </p:nvSpPr>
        <p:spPr>
          <a:xfrm>
            <a:off x="5591149" y="6541200"/>
            <a:ext cx="5495949" cy="316800"/>
          </a:xfrm>
          <a:prstGeom prst="rect">
            <a:avLst/>
          </a:prstGeom>
          <a:noFill/>
        </p:spPr>
        <p:txBody>
          <a:bodyPr wrap="square" lIns="0" tIns="0" rIns="0" bIns="0" rtlCol="0" anchor="ctr" anchorCtr="0">
            <a:noAutofit/>
          </a:bodyPr>
          <a:lstStyle/>
          <a:p>
            <a:pPr algn="r"/>
            <a:endParaRPr lang="da-DK" sz="700" dirty="0">
              <a:solidFill>
                <a:schemeClr val="bg1"/>
              </a:solidFill>
              <a:latin typeface="+mn-lt"/>
            </a:endParaRPr>
          </a:p>
        </p:txBody>
      </p:sp>
      <p:sp>
        <p:nvSpPr>
          <p:cNvPr id="2" name="Top bar">
            <a:extLst>
              <a:ext uri="{FF2B5EF4-FFF2-40B4-BE49-F238E27FC236}">
                <a16:creationId xmlns:a16="http://schemas.microsoft.com/office/drawing/2014/main" id="{35912424-89BF-4A93-9096-3282916C71FE}"/>
              </a:ext>
            </a:extLst>
          </p:cNvPr>
          <p:cNvSpPr/>
          <p:nvPr userDrawn="1"/>
        </p:nvSpPr>
        <p:spPr bwMode="auto">
          <a:xfrm>
            <a:off x="0" y="0"/>
            <a:ext cx="12193200" cy="50400"/>
          </a:xfrm>
          <a:prstGeom prst="rect">
            <a:avLst/>
          </a:prstGeom>
          <a:solidFill>
            <a:srgbClr val="008737"/>
          </a:solidFill>
          <a:ln w="9525" cap="flat" cmpd="sng" algn="ctr">
            <a:noFill/>
            <a:prstDash val="solid"/>
            <a:miter lim="800000"/>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432"/>
              </a:spcBef>
              <a:spcAft>
                <a:spcPct val="0"/>
              </a:spcAft>
              <a:buClrTx/>
              <a:buSzTx/>
              <a:buFontTx/>
              <a:buNone/>
              <a:tabLst/>
            </a:pPr>
            <a:endParaRPr kumimoji="0" lang="da-DK" sz="1600" b="0" i="0" u="none" strike="noStrike" cap="none" normalizeH="0" baseline="0" dirty="0" err="1">
              <a:ln>
                <a:noFill/>
              </a:ln>
              <a:solidFill>
                <a:srgbClr val="FFFFFF"/>
              </a:solidFill>
              <a:effectLst/>
              <a:latin typeface="+mn-lt"/>
              <a:ea typeface="ＭＳ Ｐゴシック" pitchFamily="-80" charset="-128"/>
            </a:endParaRPr>
          </a:p>
        </p:txBody>
      </p:sp>
    </p:spTree>
    <p:extLst>
      <p:ext uri="{BB962C8B-B14F-4D97-AF65-F5344CB8AC3E}">
        <p14:creationId xmlns:p14="http://schemas.microsoft.com/office/powerpoint/2010/main" val="2995140310"/>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 id="2147483775" r:id="rId9"/>
    <p:sldLayoutId id="2147483776" r:id="rId10"/>
    <p:sldLayoutId id="2147483777" r:id="rId11"/>
    <p:sldLayoutId id="2147483778" r:id="rId12"/>
  </p:sldLayoutIdLst>
  <p:hf hdr="0"/>
  <p:txStyles>
    <p:titleStyle>
      <a:lvl1pPr algn="l" rtl="0" eaLnBrk="1" fontAlgn="base" hangingPunct="1">
        <a:spcBef>
          <a:spcPct val="0"/>
        </a:spcBef>
        <a:spcAft>
          <a:spcPct val="0"/>
        </a:spcAft>
        <a:defRPr sz="3000" b="1">
          <a:solidFill>
            <a:srgbClr val="000000"/>
          </a:solidFill>
          <a:latin typeface="+mj-lt"/>
          <a:ea typeface="+mj-ea"/>
          <a:cs typeface="+mj-cs"/>
        </a:defRPr>
      </a:lvl1pPr>
      <a:lvl2pPr algn="l" rtl="0" eaLnBrk="1" fontAlgn="base" hangingPunct="1">
        <a:spcBef>
          <a:spcPct val="0"/>
        </a:spcBef>
        <a:spcAft>
          <a:spcPct val="0"/>
        </a:spcAft>
        <a:defRPr sz="2400" b="1">
          <a:solidFill>
            <a:schemeClr val="tx1"/>
          </a:solidFill>
          <a:latin typeface="Verdana" pitchFamily="34" charset="0"/>
          <a:ea typeface="ＭＳ Ｐゴシック" pitchFamily="-80" charset="-128"/>
        </a:defRPr>
      </a:lvl2pPr>
      <a:lvl3pPr algn="l" rtl="0" eaLnBrk="1" fontAlgn="base" hangingPunct="1">
        <a:spcBef>
          <a:spcPct val="0"/>
        </a:spcBef>
        <a:spcAft>
          <a:spcPct val="0"/>
        </a:spcAft>
        <a:defRPr sz="2400" b="1">
          <a:solidFill>
            <a:schemeClr val="tx1"/>
          </a:solidFill>
          <a:latin typeface="Verdana" pitchFamily="34" charset="0"/>
          <a:ea typeface="ＭＳ Ｐゴシック" pitchFamily="-80" charset="-128"/>
        </a:defRPr>
      </a:lvl3pPr>
      <a:lvl4pPr algn="l" rtl="0" eaLnBrk="1" fontAlgn="base" hangingPunct="1">
        <a:spcBef>
          <a:spcPct val="0"/>
        </a:spcBef>
        <a:spcAft>
          <a:spcPct val="0"/>
        </a:spcAft>
        <a:defRPr sz="2400" b="1">
          <a:solidFill>
            <a:schemeClr val="tx1"/>
          </a:solidFill>
          <a:latin typeface="Verdana" pitchFamily="34" charset="0"/>
          <a:ea typeface="ＭＳ Ｐゴシック" pitchFamily="-80" charset="-128"/>
        </a:defRPr>
      </a:lvl4pPr>
      <a:lvl5pPr algn="l" rtl="0" eaLnBrk="1" fontAlgn="base" hangingPunct="1">
        <a:spcBef>
          <a:spcPct val="0"/>
        </a:spcBef>
        <a:spcAft>
          <a:spcPct val="0"/>
        </a:spcAft>
        <a:defRPr sz="2400" b="1">
          <a:solidFill>
            <a:schemeClr val="tx1"/>
          </a:solidFill>
          <a:latin typeface="Verdana" pitchFamily="34" charset="0"/>
          <a:ea typeface="ＭＳ Ｐゴシック" pitchFamily="-80" charset="-128"/>
        </a:defRPr>
      </a:lvl5pPr>
      <a:lvl6pPr marL="457200" algn="l" rtl="0" eaLnBrk="1" fontAlgn="base" hangingPunct="1">
        <a:spcBef>
          <a:spcPct val="0"/>
        </a:spcBef>
        <a:spcAft>
          <a:spcPct val="0"/>
        </a:spcAft>
        <a:defRPr sz="2400" b="1">
          <a:solidFill>
            <a:schemeClr val="tx1"/>
          </a:solidFill>
          <a:latin typeface="Verdana" pitchFamily="34" charset="0"/>
          <a:ea typeface="ＭＳ Ｐゴシック" pitchFamily="-80" charset="-128"/>
        </a:defRPr>
      </a:lvl6pPr>
      <a:lvl7pPr marL="914400" algn="l" rtl="0" eaLnBrk="1" fontAlgn="base" hangingPunct="1">
        <a:spcBef>
          <a:spcPct val="0"/>
        </a:spcBef>
        <a:spcAft>
          <a:spcPct val="0"/>
        </a:spcAft>
        <a:defRPr sz="2400" b="1">
          <a:solidFill>
            <a:schemeClr val="tx1"/>
          </a:solidFill>
          <a:latin typeface="Verdana" pitchFamily="34" charset="0"/>
          <a:ea typeface="ＭＳ Ｐゴシック" pitchFamily="-80" charset="-128"/>
        </a:defRPr>
      </a:lvl7pPr>
      <a:lvl8pPr marL="1371600" algn="l" rtl="0" eaLnBrk="1" fontAlgn="base" hangingPunct="1">
        <a:spcBef>
          <a:spcPct val="0"/>
        </a:spcBef>
        <a:spcAft>
          <a:spcPct val="0"/>
        </a:spcAft>
        <a:defRPr sz="2400" b="1">
          <a:solidFill>
            <a:schemeClr val="tx1"/>
          </a:solidFill>
          <a:latin typeface="Verdana" pitchFamily="34" charset="0"/>
          <a:ea typeface="ＭＳ Ｐゴシック" pitchFamily="-80" charset="-128"/>
        </a:defRPr>
      </a:lvl8pPr>
      <a:lvl9pPr marL="1828800" algn="l" rtl="0" eaLnBrk="1" fontAlgn="base" hangingPunct="1">
        <a:spcBef>
          <a:spcPct val="0"/>
        </a:spcBef>
        <a:spcAft>
          <a:spcPct val="0"/>
        </a:spcAft>
        <a:defRPr sz="2400" b="1">
          <a:solidFill>
            <a:schemeClr val="tx1"/>
          </a:solidFill>
          <a:latin typeface="Verdana" pitchFamily="34" charset="0"/>
          <a:ea typeface="ＭＳ Ｐゴシック" pitchFamily="-80" charset="-128"/>
        </a:defRPr>
      </a:lvl9pPr>
    </p:titleStyle>
    <p:bodyStyle>
      <a:lvl1pPr marL="198000" indent="-198000" algn="l" rtl="0" eaLnBrk="1" fontAlgn="base" hangingPunct="1">
        <a:spcBef>
          <a:spcPct val="20000"/>
        </a:spcBef>
        <a:spcAft>
          <a:spcPct val="0"/>
        </a:spcAft>
        <a:buChar char="•"/>
        <a:defRPr sz="1800">
          <a:solidFill>
            <a:schemeClr val="tx1"/>
          </a:solidFill>
          <a:latin typeface="+mn-lt"/>
          <a:ea typeface="+mn-ea"/>
          <a:cs typeface="+mn-cs"/>
        </a:defRPr>
      </a:lvl1pPr>
      <a:lvl2pPr marL="414000" indent="-198000" algn="l" rtl="0" eaLnBrk="1" fontAlgn="base" hangingPunct="1">
        <a:spcBef>
          <a:spcPct val="20000"/>
        </a:spcBef>
        <a:spcAft>
          <a:spcPct val="0"/>
        </a:spcAft>
        <a:buChar char="–"/>
        <a:defRPr sz="1800">
          <a:solidFill>
            <a:schemeClr val="tx1"/>
          </a:solidFill>
          <a:latin typeface="+mn-lt"/>
          <a:ea typeface="+mn-ea"/>
        </a:defRPr>
      </a:lvl2pPr>
      <a:lvl3pPr marL="615600" indent="-198000" algn="l" rtl="0" eaLnBrk="1" fontAlgn="base" hangingPunct="1">
        <a:spcBef>
          <a:spcPct val="20000"/>
        </a:spcBef>
        <a:spcAft>
          <a:spcPct val="0"/>
        </a:spcAft>
        <a:buChar char="•"/>
        <a:defRPr sz="1800">
          <a:solidFill>
            <a:schemeClr val="tx1"/>
          </a:solidFill>
          <a:latin typeface="+mn-lt"/>
          <a:ea typeface="+mn-ea"/>
        </a:defRPr>
      </a:lvl3pPr>
      <a:lvl4pPr marL="828000" indent="-198000" algn="l" rtl="0" eaLnBrk="1" fontAlgn="base" hangingPunct="1">
        <a:spcBef>
          <a:spcPct val="20000"/>
        </a:spcBef>
        <a:spcAft>
          <a:spcPct val="0"/>
        </a:spcAft>
        <a:buChar char="–"/>
        <a:defRPr sz="1800">
          <a:solidFill>
            <a:schemeClr val="tx1"/>
          </a:solidFill>
          <a:latin typeface="+mn-lt"/>
          <a:ea typeface="+mn-ea"/>
        </a:defRPr>
      </a:lvl4pPr>
      <a:lvl5pPr marL="1026000" indent="-198000" algn="l" rtl="0" eaLnBrk="1" fontAlgn="base" hangingPunct="1">
        <a:spcBef>
          <a:spcPct val="20000"/>
        </a:spcBef>
        <a:spcAft>
          <a:spcPct val="0"/>
        </a:spcAft>
        <a:buChar char="»"/>
        <a:defRPr sz="1800">
          <a:solidFill>
            <a:schemeClr val="tx1"/>
          </a:solidFill>
          <a:latin typeface="+mn-lt"/>
          <a:ea typeface="+mn-ea"/>
        </a:defRPr>
      </a:lvl5pPr>
      <a:lvl6pPr marL="1026000" indent="-198000" algn="l" rtl="0" eaLnBrk="1" fontAlgn="base" hangingPunct="1">
        <a:spcBef>
          <a:spcPct val="20000"/>
        </a:spcBef>
        <a:spcAft>
          <a:spcPct val="0"/>
        </a:spcAft>
        <a:buChar char="»"/>
        <a:defRPr sz="1800">
          <a:solidFill>
            <a:schemeClr val="tx1"/>
          </a:solidFill>
          <a:latin typeface="+mn-lt"/>
          <a:ea typeface="+mn-ea"/>
        </a:defRPr>
      </a:lvl6pPr>
      <a:lvl7pPr marL="1026000" indent="-198000" algn="l" rtl="0" eaLnBrk="1" fontAlgn="base" hangingPunct="1">
        <a:spcBef>
          <a:spcPct val="20000"/>
        </a:spcBef>
        <a:spcAft>
          <a:spcPct val="0"/>
        </a:spcAft>
        <a:buChar char="»"/>
        <a:defRPr sz="1800">
          <a:solidFill>
            <a:schemeClr val="tx1"/>
          </a:solidFill>
          <a:latin typeface="+mn-lt"/>
          <a:ea typeface="+mn-ea"/>
        </a:defRPr>
      </a:lvl7pPr>
      <a:lvl8pPr marL="1026000" indent="-198000" algn="l" rtl="0" eaLnBrk="1" fontAlgn="base" hangingPunct="1">
        <a:spcBef>
          <a:spcPct val="20000"/>
        </a:spcBef>
        <a:spcAft>
          <a:spcPct val="0"/>
        </a:spcAft>
        <a:buChar char="»"/>
        <a:defRPr sz="1800">
          <a:solidFill>
            <a:schemeClr val="tx1"/>
          </a:solidFill>
          <a:latin typeface="+mn-lt"/>
          <a:ea typeface="+mn-ea"/>
        </a:defRPr>
      </a:lvl8pPr>
      <a:lvl9pPr marL="1026000" indent="-198000" algn="l" rtl="0" eaLnBrk="1" fontAlgn="base" hangingPunct="1">
        <a:spcBef>
          <a:spcPct val="20000"/>
        </a:spcBef>
        <a:spcAft>
          <a:spcPct val="0"/>
        </a:spcAft>
        <a:buChar char="»"/>
        <a:defRPr sz="1800">
          <a:solidFill>
            <a:schemeClr val="tx1"/>
          </a:solidFill>
          <a:latin typeface="+mn-lt"/>
          <a:ea typeface="+mn-ea"/>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68">
          <p15:clr>
            <a:srgbClr val="F26B43"/>
          </p15:clr>
        </p15:guide>
        <p15:guide id="4" orient="horz" pos="881">
          <p15:clr>
            <a:srgbClr val="F26B43"/>
          </p15:clr>
        </p15:guide>
        <p15:guide id="5" orient="horz" pos="1074">
          <p15:clr>
            <a:srgbClr val="F26B43"/>
          </p15:clr>
        </p15:guide>
        <p15:guide id="6" orient="horz" pos="393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9" name="Logo color">
            <a:extLst>
              <a:ext uri="{FF2B5EF4-FFF2-40B4-BE49-F238E27FC236}">
                <a16:creationId xmlns:a16="http://schemas.microsoft.com/office/drawing/2014/main" id="{ADC92552-7939-46C1-AAFE-B97F51EBFFE9}"/>
              </a:ext>
            </a:extLst>
          </p:cNvPr>
          <p:cNvSpPr>
            <a:spLocks noChangeAspect="1"/>
          </p:cNvSpPr>
          <p:nvPr userDrawn="1">
            <p:custDataLst>
              <p:tags r:id="rId18"/>
            </p:custDataLst>
          </p:nvPr>
        </p:nvSpPr>
        <p:spPr bwMode="auto">
          <a:xfrm>
            <a:off x="252000" y="252000"/>
            <a:ext cx="419611" cy="612000"/>
          </a:xfrm>
          <a:custGeom>
            <a:avLst/>
            <a:gdLst>
              <a:gd name="connsiteX0" fmla="*/ 1050029 w 4933949"/>
              <a:gd name="connsiteY0" fmla="*/ 6094413 h 7196138"/>
              <a:gd name="connsiteX1" fmla="*/ 3883920 w 4933949"/>
              <a:gd name="connsiteY1" fmla="*/ 6094413 h 7196138"/>
              <a:gd name="connsiteX2" fmla="*/ 4933949 w 4933949"/>
              <a:gd name="connsiteY2" fmla="*/ 6645934 h 7196138"/>
              <a:gd name="connsiteX3" fmla="*/ 3883920 w 4933949"/>
              <a:gd name="connsiteY3" fmla="*/ 7196138 h 7196138"/>
              <a:gd name="connsiteX4" fmla="*/ 1050029 w 4933949"/>
              <a:gd name="connsiteY4" fmla="*/ 7196138 h 7196138"/>
              <a:gd name="connsiteX5" fmla="*/ 0 w 4933949"/>
              <a:gd name="connsiteY5" fmla="*/ 6645934 h 7196138"/>
              <a:gd name="connsiteX6" fmla="*/ 1050029 w 4933949"/>
              <a:gd name="connsiteY6" fmla="*/ 6094413 h 7196138"/>
              <a:gd name="connsiteX7" fmla="*/ 1050029 w 4933949"/>
              <a:gd name="connsiteY7" fmla="*/ 4730750 h 7196138"/>
              <a:gd name="connsiteX8" fmla="*/ 3883920 w 4933949"/>
              <a:gd name="connsiteY8" fmla="*/ 4730750 h 7196138"/>
              <a:gd name="connsiteX9" fmla="*/ 4933949 w 4933949"/>
              <a:gd name="connsiteY9" fmla="*/ 5283066 h 7196138"/>
              <a:gd name="connsiteX10" fmla="*/ 3883920 w 4933949"/>
              <a:gd name="connsiteY10" fmla="*/ 5834063 h 7196138"/>
              <a:gd name="connsiteX11" fmla="*/ 1050029 w 4933949"/>
              <a:gd name="connsiteY11" fmla="*/ 5834063 h 7196138"/>
              <a:gd name="connsiteX12" fmla="*/ 0 w 4933949"/>
              <a:gd name="connsiteY12" fmla="*/ 5283066 h 7196138"/>
              <a:gd name="connsiteX13" fmla="*/ 1050029 w 4933949"/>
              <a:gd name="connsiteY13" fmla="*/ 4730750 h 7196138"/>
              <a:gd name="connsiteX14" fmla="*/ 1050029 w 4933949"/>
              <a:gd name="connsiteY14" fmla="*/ 3368675 h 7196138"/>
              <a:gd name="connsiteX15" fmla="*/ 3883920 w 4933949"/>
              <a:gd name="connsiteY15" fmla="*/ 3368675 h 7196138"/>
              <a:gd name="connsiteX16" fmla="*/ 4933949 w 4933949"/>
              <a:gd name="connsiteY16" fmla="*/ 3920991 h 7196138"/>
              <a:gd name="connsiteX17" fmla="*/ 3883920 w 4933949"/>
              <a:gd name="connsiteY17" fmla="*/ 4471988 h 7196138"/>
              <a:gd name="connsiteX18" fmla="*/ 1050029 w 4933949"/>
              <a:gd name="connsiteY18" fmla="*/ 4471988 h 7196138"/>
              <a:gd name="connsiteX19" fmla="*/ 0 w 4933949"/>
              <a:gd name="connsiteY19" fmla="*/ 3920991 h 7196138"/>
              <a:gd name="connsiteX20" fmla="*/ 1050029 w 4933949"/>
              <a:gd name="connsiteY20" fmla="*/ 3368675 h 7196138"/>
              <a:gd name="connsiteX21" fmla="*/ 678543 w 4933949"/>
              <a:gd name="connsiteY21" fmla="*/ 305710 h 7196138"/>
              <a:gd name="connsiteX22" fmla="*/ 678543 w 4933949"/>
              <a:gd name="connsiteY22" fmla="*/ 2307316 h 7196138"/>
              <a:gd name="connsiteX23" fmla="*/ 909109 w 4933949"/>
              <a:gd name="connsiteY23" fmla="*/ 2307316 h 7196138"/>
              <a:gd name="connsiteX24" fmla="*/ 1119911 w 4933949"/>
              <a:gd name="connsiteY24" fmla="*/ 2234842 h 7196138"/>
              <a:gd name="connsiteX25" fmla="*/ 1198962 w 4933949"/>
              <a:gd name="connsiteY25" fmla="*/ 1615517 h 7196138"/>
              <a:gd name="connsiteX26" fmla="*/ 1198962 w 4933949"/>
              <a:gd name="connsiteY26" fmla="*/ 996191 h 7196138"/>
              <a:gd name="connsiteX27" fmla="*/ 1119911 w 4933949"/>
              <a:gd name="connsiteY27" fmla="*/ 378184 h 7196138"/>
              <a:gd name="connsiteX28" fmla="*/ 909109 w 4933949"/>
              <a:gd name="connsiteY28" fmla="*/ 305710 h 7196138"/>
              <a:gd name="connsiteX29" fmla="*/ 678543 w 4933949"/>
              <a:gd name="connsiteY29" fmla="*/ 305710 h 7196138"/>
              <a:gd name="connsiteX30" fmla="*/ 1842869 w 4933949"/>
              <a:gd name="connsiteY30" fmla="*/ 0 h 7196138"/>
              <a:gd name="connsiteX31" fmla="*/ 3073618 w 4933949"/>
              <a:gd name="connsiteY31" fmla="*/ 0 h 7196138"/>
              <a:gd name="connsiteX32" fmla="*/ 3114467 w 4933949"/>
              <a:gd name="connsiteY32" fmla="*/ 14495 h 7196138"/>
              <a:gd name="connsiteX33" fmla="*/ 3128962 w 4933949"/>
              <a:gd name="connsiteY33" fmla="*/ 54027 h 7196138"/>
              <a:gd name="connsiteX34" fmla="*/ 3128962 w 4933949"/>
              <a:gd name="connsiteY34" fmla="*/ 275402 h 7196138"/>
              <a:gd name="connsiteX35" fmla="*/ 3114467 w 4933949"/>
              <a:gd name="connsiteY35" fmla="*/ 314934 h 7196138"/>
              <a:gd name="connsiteX36" fmla="*/ 3073618 w 4933949"/>
              <a:gd name="connsiteY36" fmla="*/ 329429 h 7196138"/>
              <a:gd name="connsiteX37" fmla="*/ 2679620 w 4933949"/>
              <a:gd name="connsiteY37" fmla="*/ 329429 h 7196138"/>
              <a:gd name="connsiteX38" fmla="*/ 2679620 w 4933949"/>
              <a:gd name="connsiteY38" fmla="*/ 2558999 h 7196138"/>
              <a:gd name="connsiteX39" fmla="*/ 2665125 w 4933949"/>
              <a:gd name="connsiteY39" fmla="*/ 2598530 h 7196138"/>
              <a:gd name="connsiteX40" fmla="*/ 2625594 w 4933949"/>
              <a:gd name="connsiteY40" fmla="*/ 2613025 h 7196138"/>
              <a:gd name="connsiteX41" fmla="*/ 2290893 w 4933949"/>
              <a:gd name="connsiteY41" fmla="*/ 2613025 h 7196138"/>
              <a:gd name="connsiteX42" fmla="*/ 2250044 w 4933949"/>
              <a:gd name="connsiteY42" fmla="*/ 2598530 h 7196138"/>
              <a:gd name="connsiteX43" fmla="*/ 2235549 w 4933949"/>
              <a:gd name="connsiteY43" fmla="*/ 2558999 h 7196138"/>
              <a:gd name="connsiteX44" fmla="*/ 2235549 w 4933949"/>
              <a:gd name="connsiteY44" fmla="*/ 329429 h 7196138"/>
              <a:gd name="connsiteX45" fmla="*/ 1842869 w 4933949"/>
              <a:gd name="connsiteY45" fmla="*/ 329429 h 7196138"/>
              <a:gd name="connsiteX46" fmla="*/ 1802020 w 4933949"/>
              <a:gd name="connsiteY46" fmla="*/ 314934 h 7196138"/>
              <a:gd name="connsiteX47" fmla="*/ 1787525 w 4933949"/>
              <a:gd name="connsiteY47" fmla="*/ 275402 h 7196138"/>
              <a:gd name="connsiteX48" fmla="*/ 1787525 w 4933949"/>
              <a:gd name="connsiteY48" fmla="*/ 54027 h 7196138"/>
              <a:gd name="connsiteX49" fmla="*/ 1802020 w 4933949"/>
              <a:gd name="connsiteY49" fmla="*/ 14495 h 7196138"/>
              <a:gd name="connsiteX50" fmla="*/ 1842869 w 4933949"/>
              <a:gd name="connsiteY50" fmla="*/ 0 h 7196138"/>
              <a:gd name="connsiteX51" fmla="*/ 317544 w 4933949"/>
              <a:gd name="connsiteY51" fmla="*/ 0 h 7196138"/>
              <a:gd name="connsiteX52" fmla="*/ 972349 w 4933949"/>
              <a:gd name="connsiteY52" fmla="*/ 0 h 7196138"/>
              <a:gd name="connsiteX53" fmla="*/ 1476958 w 4933949"/>
              <a:gd name="connsiteY53" fmla="*/ 179209 h 7196138"/>
              <a:gd name="connsiteX54" fmla="*/ 1619250 w 4933949"/>
              <a:gd name="connsiteY54" fmla="*/ 1025181 h 7196138"/>
              <a:gd name="connsiteX55" fmla="*/ 1619250 w 4933949"/>
              <a:gd name="connsiteY55" fmla="*/ 1587845 h 7196138"/>
              <a:gd name="connsiteX56" fmla="*/ 1476958 w 4933949"/>
              <a:gd name="connsiteY56" fmla="*/ 2433816 h 7196138"/>
              <a:gd name="connsiteX57" fmla="*/ 972349 w 4933949"/>
              <a:gd name="connsiteY57" fmla="*/ 2613025 h 7196138"/>
              <a:gd name="connsiteX58" fmla="*/ 317544 w 4933949"/>
              <a:gd name="connsiteY58" fmla="*/ 2613025 h 7196138"/>
              <a:gd name="connsiteX59" fmla="*/ 278018 w 4933949"/>
              <a:gd name="connsiteY59" fmla="*/ 2598530 h 7196138"/>
              <a:gd name="connsiteX60" fmla="*/ 263525 w 4933949"/>
              <a:gd name="connsiteY60" fmla="*/ 2558999 h 7196138"/>
              <a:gd name="connsiteX61" fmla="*/ 263525 w 4933949"/>
              <a:gd name="connsiteY61" fmla="*/ 54027 h 7196138"/>
              <a:gd name="connsiteX62" fmla="*/ 278018 w 4933949"/>
              <a:gd name="connsiteY62" fmla="*/ 14495 h 7196138"/>
              <a:gd name="connsiteX63" fmla="*/ 317544 w 4933949"/>
              <a:gd name="connsiteY63" fmla="*/ 0 h 7196138"/>
              <a:gd name="connsiteX64" fmla="*/ 3359213 w 4933949"/>
              <a:gd name="connsiteY64" fmla="*/ 0 h 7196138"/>
              <a:gd name="connsiteX65" fmla="*/ 3664991 w 4933949"/>
              <a:gd name="connsiteY65" fmla="*/ 0 h 7196138"/>
              <a:gd name="connsiteX66" fmla="*/ 3705850 w 4933949"/>
              <a:gd name="connsiteY66" fmla="*/ 14497 h 7196138"/>
              <a:gd name="connsiteX67" fmla="*/ 3720348 w 4933949"/>
              <a:gd name="connsiteY67" fmla="*/ 54035 h 7196138"/>
              <a:gd name="connsiteX68" fmla="*/ 3720348 w 4933949"/>
              <a:gd name="connsiteY68" fmla="*/ 1903062 h 7196138"/>
              <a:gd name="connsiteX69" fmla="*/ 3798111 w 4933949"/>
              <a:gd name="connsiteY69" fmla="*/ 2279984 h 7196138"/>
              <a:gd name="connsiteX70" fmla="*/ 3976042 w 4933949"/>
              <a:gd name="connsiteY70" fmla="*/ 2349833 h 7196138"/>
              <a:gd name="connsiteX71" fmla="*/ 4163200 w 4933949"/>
              <a:gd name="connsiteY71" fmla="*/ 2279984 h 7196138"/>
              <a:gd name="connsiteX72" fmla="*/ 4240963 w 4933949"/>
              <a:gd name="connsiteY72" fmla="*/ 1903062 h 7196138"/>
              <a:gd name="connsiteX73" fmla="*/ 4240963 w 4933949"/>
              <a:gd name="connsiteY73" fmla="*/ 54035 h 7196138"/>
              <a:gd name="connsiteX74" fmla="*/ 4255461 w 4933949"/>
              <a:gd name="connsiteY74" fmla="*/ 14497 h 7196138"/>
              <a:gd name="connsiteX75" fmla="*/ 4295001 w 4933949"/>
              <a:gd name="connsiteY75" fmla="*/ 0 h 7196138"/>
              <a:gd name="connsiteX76" fmla="*/ 4602098 w 4933949"/>
              <a:gd name="connsiteY76" fmla="*/ 0 h 7196138"/>
              <a:gd name="connsiteX77" fmla="*/ 4641638 w 4933949"/>
              <a:gd name="connsiteY77" fmla="*/ 14497 h 7196138"/>
              <a:gd name="connsiteX78" fmla="*/ 4656136 w 4933949"/>
              <a:gd name="connsiteY78" fmla="*/ 54035 h 7196138"/>
              <a:gd name="connsiteX79" fmla="*/ 4656136 w 4933949"/>
              <a:gd name="connsiteY79" fmla="*/ 1904380 h 7196138"/>
              <a:gd name="connsiteX80" fmla="*/ 4507201 w 4933949"/>
              <a:gd name="connsiteY80" fmla="*/ 2459220 h 7196138"/>
              <a:gd name="connsiteX81" fmla="*/ 3981314 w 4933949"/>
              <a:gd name="connsiteY81" fmla="*/ 2646363 h 7196138"/>
              <a:gd name="connsiteX82" fmla="*/ 3447519 w 4933949"/>
              <a:gd name="connsiteY82" fmla="*/ 2459220 h 7196138"/>
              <a:gd name="connsiteX83" fmla="*/ 3305174 w 4933949"/>
              <a:gd name="connsiteY83" fmla="*/ 1904380 h 7196138"/>
              <a:gd name="connsiteX84" fmla="*/ 3305174 w 4933949"/>
              <a:gd name="connsiteY84" fmla="*/ 54035 h 7196138"/>
              <a:gd name="connsiteX85" fmla="*/ 3318354 w 4933949"/>
              <a:gd name="connsiteY85" fmla="*/ 14497 h 7196138"/>
              <a:gd name="connsiteX86" fmla="*/ 3359213 w 4933949"/>
              <a:gd name="connsiteY86" fmla="*/ 0 h 7196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933949" h="7196138">
                <a:moveTo>
                  <a:pt x="1050029" y="6094413"/>
                </a:moveTo>
                <a:cubicBezTo>
                  <a:pt x="2409664" y="6623557"/>
                  <a:pt x="2524285" y="6623557"/>
                  <a:pt x="3883920" y="6094413"/>
                </a:cubicBezTo>
                <a:cubicBezTo>
                  <a:pt x="3883920" y="6094413"/>
                  <a:pt x="3883920" y="6094413"/>
                  <a:pt x="4933949" y="6645934"/>
                </a:cubicBezTo>
                <a:cubicBezTo>
                  <a:pt x="4933949" y="6645934"/>
                  <a:pt x="4933949" y="6645934"/>
                  <a:pt x="3883920" y="7196138"/>
                </a:cubicBezTo>
                <a:cubicBezTo>
                  <a:pt x="2524285" y="6668311"/>
                  <a:pt x="2409664" y="6668311"/>
                  <a:pt x="1050029" y="7196138"/>
                </a:cubicBezTo>
                <a:cubicBezTo>
                  <a:pt x="1050029" y="7196138"/>
                  <a:pt x="1050029" y="7196138"/>
                  <a:pt x="0" y="6645934"/>
                </a:cubicBezTo>
                <a:cubicBezTo>
                  <a:pt x="0" y="6645934"/>
                  <a:pt x="0" y="6645934"/>
                  <a:pt x="1050029" y="6094413"/>
                </a:cubicBezTo>
                <a:close/>
                <a:moveTo>
                  <a:pt x="1050029" y="4730750"/>
                </a:moveTo>
                <a:cubicBezTo>
                  <a:pt x="2409664" y="5260657"/>
                  <a:pt x="2524285" y="5260657"/>
                  <a:pt x="3883920" y="4730750"/>
                </a:cubicBezTo>
                <a:cubicBezTo>
                  <a:pt x="3883920" y="4730750"/>
                  <a:pt x="3883920" y="4730750"/>
                  <a:pt x="4933949" y="5283066"/>
                </a:cubicBezTo>
                <a:cubicBezTo>
                  <a:pt x="4933949" y="5283066"/>
                  <a:pt x="4933949" y="5283066"/>
                  <a:pt x="3883920" y="5834063"/>
                </a:cubicBezTo>
                <a:cubicBezTo>
                  <a:pt x="2524285" y="5305475"/>
                  <a:pt x="2409664" y="5305475"/>
                  <a:pt x="1050029" y="5834063"/>
                </a:cubicBezTo>
                <a:cubicBezTo>
                  <a:pt x="1050029" y="5834063"/>
                  <a:pt x="1050029" y="5834063"/>
                  <a:pt x="0" y="5283066"/>
                </a:cubicBezTo>
                <a:cubicBezTo>
                  <a:pt x="0" y="5283066"/>
                  <a:pt x="0" y="5283066"/>
                  <a:pt x="1050029" y="4730750"/>
                </a:cubicBezTo>
                <a:close/>
                <a:moveTo>
                  <a:pt x="1050029" y="3368675"/>
                </a:moveTo>
                <a:cubicBezTo>
                  <a:pt x="2409664" y="3898582"/>
                  <a:pt x="2524285" y="3898582"/>
                  <a:pt x="3883920" y="3368675"/>
                </a:cubicBezTo>
                <a:cubicBezTo>
                  <a:pt x="3883920" y="3368675"/>
                  <a:pt x="3883920" y="3368675"/>
                  <a:pt x="4933949" y="3920991"/>
                </a:cubicBezTo>
                <a:cubicBezTo>
                  <a:pt x="4933949" y="3920991"/>
                  <a:pt x="4933949" y="3920991"/>
                  <a:pt x="3883920" y="4471988"/>
                </a:cubicBezTo>
                <a:cubicBezTo>
                  <a:pt x="2524285" y="3943400"/>
                  <a:pt x="2409664" y="3943400"/>
                  <a:pt x="1050029" y="4471988"/>
                </a:cubicBezTo>
                <a:cubicBezTo>
                  <a:pt x="1050029" y="4471988"/>
                  <a:pt x="1050029" y="4471988"/>
                  <a:pt x="0" y="3920991"/>
                </a:cubicBezTo>
                <a:cubicBezTo>
                  <a:pt x="0" y="3920991"/>
                  <a:pt x="0" y="3920991"/>
                  <a:pt x="1050029" y="3368675"/>
                </a:cubicBezTo>
                <a:close/>
                <a:moveTo>
                  <a:pt x="678543" y="305710"/>
                </a:moveTo>
                <a:lnTo>
                  <a:pt x="678543" y="2307316"/>
                </a:lnTo>
                <a:cubicBezTo>
                  <a:pt x="678543" y="2307316"/>
                  <a:pt x="678543" y="2307316"/>
                  <a:pt x="909109" y="2307316"/>
                </a:cubicBezTo>
                <a:cubicBezTo>
                  <a:pt x="1011875" y="2307316"/>
                  <a:pt x="1072481" y="2291503"/>
                  <a:pt x="1119911" y="2234842"/>
                </a:cubicBezTo>
                <a:cubicBezTo>
                  <a:pt x="1192375" y="2147873"/>
                  <a:pt x="1198962" y="1971299"/>
                  <a:pt x="1198962" y="1615517"/>
                </a:cubicBezTo>
                <a:cubicBezTo>
                  <a:pt x="1198962" y="1615517"/>
                  <a:pt x="1198962" y="1615517"/>
                  <a:pt x="1198962" y="996191"/>
                </a:cubicBezTo>
                <a:cubicBezTo>
                  <a:pt x="1198962" y="641727"/>
                  <a:pt x="1192375" y="465153"/>
                  <a:pt x="1119911" y="378184"/>
                </a:cubicBezTo>
                <a:cubicBezTo>
                  <a:pt x="1072481" y="321522"/>
                  <a:pt x="1011875" y="305710"/>
                  <a:pt x="909109" y="305710"/>
                </a:cubicBezTo>
                <a:cubicBezTo>
                  <a:pt x="909109" y="305710"/>
                  <a:pt x="909109" y="305710"/>
                  <a:pt x="678543" y="305710"/>
                </a:cubicBezTo>
                <a:close/>
                <a:moveTo>
                  <a:pt x="1842869" y="0"/>
                </a:moveTo>
                <a:cubicBezTo>
                  <a:pt x="1842869" y="0"/>
                  <a:pt x="1842869" y="0"/>
                  <a:pt x="3073618" y="0"/>
                </a:cubicBezTo>
                <a:cubicBezTo>
                  <a:pt x="3093384" y="0"/>
                  <a:pt x="3105243" y="5271"/>
                  <a:pt x="3114467" y="14495"/>
                </a:cubicBezTo>
                <a:cubicBezTo>
                  <a:pt x="3122374" y="22401"/>
                  <a:pt x="3128962" y="34261"/>
                  <a:pt x="3128962" y="54027"/>
                </a:cubicBezTo>
                <a:cubicBezTo>
                  <a:pt x="3128962" y="54027"/>
                  <a:pt x="3128962" y="54027"/>
                  <a:pt x="3128962" y="275402"/>
                </a:cubicBezTo>
                <a:cubicBezTo>
                  <a:pt x="3128962" y="295168"/>
                  <a:pt x="3122374" y="307028"/>
                  <a:pt x="3114467" y="314934"/>
                </a:cubicBezTo>
                <a:cubicBezTo>
                  <a:pt x="3105243" y="324158"/>
                  <a:pt x="3093384" y="329429"/>
                  <a:pt x="3073618" y="329429"/>
                </a:cubicBezTo>
                <a:cubicBezTo>
                  <a:pt x="3073618" y="329429"/>
                  <a:pt x="3073618" y="329429"/>
                  <a:pt x="2679620" y="329429"/>
                </a:cubicBezTo>
                <a:cubicBezTo>
                  <a:pt x="2679620" y="329429"/>
                  <a:pt x="2679620" y="329429"/>
                  <a:pt x="2679620" y="2558999"/>
                </a:cubicBezTo>
                <a:cubicBezTo>
                  <a:pt x="2679620" y="2578765"/>
                  <a:pt x="2674349" y="2590624"/>
                  <a:pt x="2665125" y="2598530"/>
                </a:cubicBezTo>
                <a:cubicBezTo>
                  <a:pt x="2657219" y="2607755"/>
                  <a:pt x="2645360" y="2613025"/>
                  <a:pt x="2625594" y="2613025"/>
                </a:cubicBezTo>
                <a:cubicBezTo>
                  <a:pt x="2625594" y="2613025"/>
                  <a:pt x="2625594" y="2613025"/>
                  <a:pt x="2290893" y="2613025"/>
                </a:cubicBezTo>
                <a:cubicBezTo>
                  <a:pt x="2271128" y="2613025"/>
                  <a:pt x="2259268" y="2607755"/>
                  <a:pt x="2250044" y="2598530"/>
                </a:cubicBezTo>
                <a:cubicBezTo>
                  <a:pt x="2240820" y="2590624"/>
                  <a:pt x="2235549" y="2578765"/>
                  <a:pt x="2235549" y="2558999"/>
                </a:cubicBezTo>
                <a:cubicBezTo>
                  <a:pt x="2235549" y="2558999"/>
                  <a:pt x="2235549" y="2558999"/>
                  <a:pt x="2235549" y="329429"/>
                </a:cubicBezTo>
                <a:cubicBezTo>
                  <a:pt x="2235549" y="329429"/>
                  <a:pt x="2235549" y="329429"/>
                  <a:pt x="1842869" y="329429"/>
                </a:cubicBezTo>
                <a:cubicBezTo>
                  <a:pt x="1823104" y="329429"/>
                  <a:pt x="1811244" y="324158"/>
                  <a:pt x="1802020" y="314934"/>
                </a:cubicBezTo>
                <a:cubicBezTo>
                  <a:pt x="1792796" y="307028"/>
                  <a:pt x="1787525" y="295168"/>
                  <a:pt x="1787525" y="275402"/>
                </a:cubicBezTo>
                <a:cubicBezTo>
                  <a:pt x="1787525" y="275402"/>
                  <a:pt x="1787525" y="275402"/>
                  <a:pt x="1787525" y="54027"/>
                </a:cubicBezTo>
                <a:cubicBezTo>
                  <a:pt x="1787525" y="34261"/>
                  <a:pt x="1792796" y="22401"/>
                  <a:pt x="1802020" y="14495"/>
                </a:cubicBezTo>
                <a:cubicBezTo>
                  <a:pt x="1811244" y="5271"/>
                  <a:pt x="1823104" y="0"/>
                  <a:pt x="1842869" y="0"/>
                </a:cubicBezTo>
                <a:close/>
                <a:moveTo>
                  <a:pt x="317544" y="0"/>
                </a:moveTo>
                <a:cubicBezTo>
                  <a:pt x="317544" y="0"/>
                  <a:pt x="317544" y="0"/>
                  <a:pt x="972349" y="0"/>
                </a:cubicBezTo>
                <a:cubicBezTo>
                  <a:pt x="1226630" y="0"/>
                  <a:pt x="1382097" y="57980"/>
                  <a:pt x="1476958" y="179209"/>
                </a:cubicBezTo>
                <a:cubicBezTo>
                  <a:pt x="1615298" y="345241"/>
                  <a:pt x="1619250" y="614055"/>
                  <a:pt x="1619250" y="1025181"/>
                </a:cubicBezTo>
                <a:cubicBezTo>
                  <a:pt x="1619250" y="1025181"/>
                  <a:pt x="1619250" y="1025181"/>
                  <a:pt x="1619250" y="1587845"/>
                </a:cubicBezTo>
                <a:cubicBezTo>
                  <a:pt x="1619250" y="1998971"/>
                  <a:pt x="1615298" y="2267784"/>
                  <a:pt x="1476958" y="2433816"/>
                </a:cubicBezTo>
                <a:cubicBezTo>
                  <a:pt x="1382097" y="2555046"/>
                  <a:pt x="1226630" y="2613025"/>
                  <a:pt x="972349" y="2613025"/>
                </a:cubicBezTo>
                <a:cubicBezTo>
                  <a:pt x="972349" y="2613025"/>
                  <a:pt x="972349" y="2613025"/>
                  <a:pt x="317544" y="2613025"/>
                </a:cubicBezTo>
                <a:cubicBezTo>
                  <a:pt x="297781" y="2613025"/>
                  <a:pt x="285923" y="2607755"/>
                  <a:pt x="278018" y="2598530"/>
                </a:cubicBezTo>
                <a:cubicBezTo>
                  <a:pt x="268795" y="2590624"/>
                  <a:pt x="263525" y="2578765"/>
                  <a:pt x="263525" y="2558999"/>
                </a:cubicBezTo>
                <a:cubicBezTo>
                  <a:pt x="263525" y="2558999"/>
                  <a:pt x="263525" y="2558999"/>
                  <a:pt x="263525" y="54027"/>
                </a:cubicBezTo>
                <a:cubicBezTo>
                  <a:pt x="263525" y="34261"/>
                  <a:pt x="268795" y="22401"/>
                  <a:pt x="278018" y="14495"/>
                </a:cubicBezTo>
                <a:cubicBezTo>
                  <a:pt x="285923" y="5271"/>
                  <a:pt x="297781" y="0"/>
                  <a:pt x="317544" y="0"/>
                </a:cubicBezTo>
                <a:close/>
                <a:moveTo>
                  <a:pt x="3359213" y="0"/>
                </a:moveTo>
                <a:cubicBezTo>
                  <a:pt x="3359213" y="0"/>
                  <a:pt x="3359213" y="0"/>
                  <a:pt x="3664991" y="0"/>
                </a:cubicBezTo>
                <a:cubicBezTo>
                  <a:pt x="3684762" y="0"/>
                  <a:pt x="3696624" y="5272"/>
                  <a:pt x="3705850" y="14497"/>
                </a:cubicBezTo>
                <a:cubicBezTo>
                  <a:pt x="3715076" y="22405"/>
                  <a:pt x="3720348" y="34266"/>
                  <a:pt x="3720348" y="54035"/>
                </a:cubicBezTo>
                <a:cubicBezTo>
                  <a:pt x="3720348" y="54035"/>
                  <a:pt x="3720348" y="54035"/>
                  <a:pt x="3720348" y="1903062"/>
                </a:cubicBezTo>
                <a:cubicBezTo>
                  <a:pt x="3720348" y="2103384"/>
                  <a:pt x="3738800" y="2214089"/>
                  <a:pt x="3798111" y="2279984"/>
                </a:cubicBezTo>
                <a:cubicBezTo>
                  <a:pt x="3841605" y="2328747"/>
                  <a:pt x="3899597" y="2349833"/>
                  <a:pt x="3976042" y="2349833"/>
                </a:cubicBezTo>
                <a:cubicBezTo>
                  <a:pt x="4060395" y="2349833"/>
                  <a:pt x="4121023" y="2326111"/>
                  <a:pt x="4163200" y="2279984"/>
                </a:cubicBezTo>
                <a:cubicBezTo>
                  <a:pt x="4226464" y="2211453"/>
                  <a:pt x="4240963" y="2096795"/>
                  <a:pt x="4240963" y="1903062"/>
                </a:cubicBezTo>
                <a:cubicBezTo>
                  <a:pt x="4240963" y="1903062"/>
                  <a:pt x="4240963" y="1903062"/>
                  <a:pt x="4240963" y="54035"/>
                </a:cubicBezTo>
                <a:cubicBezTo>
                  <a:pt x="4240963" y="34266"/>
                  <a:pt x="4246235" y="22405"/>
                  <a:pt x="4255461" y="14497"/>
                </a:cubicBezTo>
                <a:cubicBezTo>
                  <a:pt x="4263369" y="5272"/>
                  <a:pt x="4276549" y="0"/>
                  <a:pt x="4295001" y="0"/>
                </a:cubicBezTo>
                <a:cubicBezTo>
                  <a:pt x="4295001" y="0"/>
                  <a:pt x="4295001" y="0"/>
                  <a:pt x="4602098" y="0"/>
                </a:cubicBezTo>
                <a:cubicBezTo>
                  <a:pt x="4621868" y="0"/>
                  <a:pt x="4633730" y="5272"/>
                  <a:pt x="4641638" y="14497"/>
                </a:cubicBezTo>
                <a:cubicBezTo>
                  <a:pt x="4650864" y="22405"/>
                  <a:pt x="4656136" y="34266"/>
                  <a:pt x="4656136" y="54035"/>
                </a:cubicBezTo>
                <a:cubicBezTo>
                  <a:pt x="4656136" y="54035"/>
                  <a:pt x="4656136" y="54035"/>
                  <a:pt x="4656136" y="1904380"/>
                </a:cubicBezTo>
                <a:cubicBezTo>
                  <a:pt x="4656136" y="2153465"/>
                  <a:pt x="4627140" y="2319521"/>
                  <a:pt x="4507201" y="2459220"/>
                </a:cubicBezTo>
                <a:cubicBezTo>
                  <a:pt x="4405714" y="2577832"/>
                  <a:pt x="4239645" y="2646363"/>
                  <a:pt x="3981314" y="2646363"/>
                </a:cubicBezTo>
                <a:cubicBezTo>
                  <a:pt x="3726938" y="2646363"/>
                  <a:pt x="3559550" y="2581786"/>
                  <a:pt x="3447519" y="2459220"/>
                </a:cubicBezTo>
                <a:cubicBezTo>
                  <a:pt x="3340760" y="2341926"/>
                  <a:pt x="3305174" y="2173233"/>
                  <a:pt x="3305174" y="1904380"/>
                </a:cubicBezTo>
                <a:cubicBezTo>
                  <a:pt x="3305174" y="1904380"/>
                  <a:pt x="3305174" y="1904380"/>
                  <a:pt x="3305174" y="54035"/>
                </a:cubicBezTo>
                <a:cubicBezTo>
                  <a:pt x="3305174" y="34266"/>
                  <a:pt x="3310446" y="22405"/>
                  <a:pt x="3318354" y="14497"/>
                </a:cubicBezTo>
                <a:cubicBezTo>
                  <a:pt x="3327580" y="5272"/>
                  <a:pt x="3339442" y="0"/>
                  <a:pt x="3359213" y="0"/>
                </a:cubicBezTo>
                <a:close/>
              </a:path>
            </a:pathLst>
          </a:custGeom>
          <a:solidFill>
            <a:srgbClr val="008737"/>
          </a:solidFill>
          <a:ln>
            <a:noFill/>
          </a:ln>
        </p:spPr>
        <p:txBody>
          <a:bodyPr vert="horz" wrap="square" lIns="91428" tIns="45714" rIns="91428" bIns="45714" numCol="1" anchor="t" anchorCtr="0" compatLnSpc="1">
            <a:prstTxWarp prst="textNoShape">
              <a:avLst/>
            </a:prstTxWarp>
            <a:noAutofit/>
          </a:bodyPr>
          <a:lstStyle/>
          <a:p>
            <a:endParaRPr lang="da-DK" sz="1800"/>
          </a:p>
        </p:txBody>
      </p:sp>
      <p:sp>
        <p:nvSpPr>
          <p:cNvPr id="11" name="Bottom bar">
            <a:extLst>
              <a:ext uri="{FF2B5EF4-FFF2-40B4-BE49-F238E27FC236}">
                <a16:creationId xmlns:a16="http://schemas.microsoft.com/office/drawing/2014/main" id="{FFFFD011-0D94-46EE-B45C-787FE82C3B5E}"/>
              </a:ext>
            </a:extLst>
          </p:cNvPr>
          <p:cNvSpPr/>
          <p:nvPr userDrawn="1"/>
        </p:nvSpPr>
        <p:spPr bwMode="auto">
          <a:xfrm>
            <a:off x="0" y="6541200"/>
            <a:ext cx="12193200" cy="316800"/>
          </a:xfrm>
          <a:prstGeom prst="rect">
            <a:avLst/>
          </a:prstGeom>
          <a:solidFill>
            <a:srgbClr val="008737"/>
          </a:solidFill>
          <a:ln w="9525" cap="flat" cmpd="sng" algn="ctr">
            <a:noFill/>
            <a:prstDash val="solid"/>
            <a:miter lim="800000"/>
            <a:headEnd type="none" w="med" len="med"/>
            <a:tailEnd type="none" w="med" len="med"/>
          </a:ln>
          <a:effectLst/>
        </p:spPr>
        <p:txBody>
          <a:bodyPr vert="horz" wrap="square" lIns="89988" tIns="46794" rIns="89988" bIns="46794" numCol="1" rtlCol="0" anchor="ctr" anchorCtr="0" compatLnSpc="1">
            <a:prstTxWarp prst="textNoShape">
              <a:avLst/>
            </a:prstTxWarp>
          </a:bodyPr>
          <a:lstStyle/>
          <a:p>
            <a:pPr marL="0" marR="0" indent="0" algn="ctr" defTabSz="914309" rtl="0" eaLnBrk="1" fontAlgn="base" latinLnBrk="0" hangingPunct="1">
              <a:lnSpc>
                <a:spcPct val="100000"/>
              </a:lnSpc>
              <a:spcBef>
                <a:spcPts val="432"/>
              </a:spcBef>
              <a:spcAft>
                <a:spcPct val="0"/>
              </a:spcAft>
              <a:buClrTx/>
              <a:buSzTx/>
              <a:buFontTx/>
              <a:buNone/>
              <a:tabLst/>
            </a:pPr>
            <a:endParaRPr kumimoji="0" lang="da-DK" sz="1600" b="0" i="0" u="none" strike="noStrike" cap="none" normalizeH="0" baseline="0" dirty="0" err="1">
              <a:ln>
                <a:noFill/>
              </a:ln>
              <a:solidFill>
                <a:srgbClr val="FFFFFF"/>
              </a:solidFill>
              <a:effectLst/>
              <a:latin typeface="+mn-lt"/>
              <a:ea typeface="ＭＳ Ｐゴシック" pitchFamily="-80" charset="-128"/>
            </a:endParaRPr>
          </a:p>
        </p:txBody>
      </p:sp>
      <p:sp>
        <p:nvSpPr>
          <p:cNvPr id="3" name="FLD_Presentation Title"/>
          <p:cNvSpPr>
            <a:spLocks noGrp="1"/>
          </p:cNvSpPr>
          <p:nvPr>
            <p:ph type="ftr" sz="quarter" idx="3"/>
          </p:nvPr>
        </p:nvSpPr>
        <p:spPr>
          <a:xfrm>
            <a:off x="0" y="6912000"/>
            <a:ext cx="0" cy="0"/>
          </a:xfrm>
          <a:prstGeom prst="rect">
            <a:avLst/>
          </a:prstGeom>
        </p:spPr>
        <p:txBody>
          <a:bodyPr vert="horz" lIns="0" tIns="0" rIns="0" bIns="0" rtlCol="0" anchor="t" anchorCtr="0"/>
          <a:lstStyle>
            <a:lvl1pPr algn="l">
              <a:spcBef>
                <a:spcPts val="0"/>
              </a:spcBef>
              <a:defRPr sz="700" b="0">
                <a:noFill/>
                <a:latin typeface="+mn-lt"/>
              </a:defRPr>
            </a:lvl1pPr>
          </a:lstStyle>
          <a:p>
            <a:endParaRPr lang="da-DK" dirty="0"/>
          </a:p>
        </p:txBody>
      </p:sp>
      <p:sp>
        <p:nvSpPr>
          <p:cNvPr id="4" name="Slide Number Placeholder 3"/>
          <p:cNvSpPr>
            <a:spLocks noGrp="1"/>
          </p:cNvSpPr>
          <p:nvPr>
            <p:ph type="sldNum" sz="quarter" idx="4"/>
          </p:nvPr>
        </p:nvSpPr>
        <p:spPr>
          <a:xfrm>
            <a:off x="11506450" y="6541200"/>
            <a:ext cx="432600" cy="316800"/>
          </a:xfrm>
          <a:prstGeom prst="rect">
            <a:avLst/>
          </a:prstGeom>
        </p:spPr>
        <p:txBody>
          <a:bodyPr vert="horz" lIns="0" tIns="0" rIns="0" bIns="0" rtlCol="0" anchor="ctr" anchorCtr="0"/>
          <a:lstStyle>
            <a:lvl1pPr algn="l">
              <a:defRPr sz="900" b="1">
                <a:solidFill>
                  <a:schemeClr val="bg1"/>
                </a:solidFill>
                <a:latin typeface="+mn-lt"/>
              </a:defRPr>
            </a:lvl1pPr>
          </a:lstStyle>
          <a:p>
            <a:fld id="{103EA872-A674-449B-A120-B97244F8E91D}" type="slidenum">
              <a:rPr lang="da-DK" smtClean="0"/>
              <a:pPr/>
              <a:t>‹#›</a:t>
            </a:fld>
            <a:endParaRPr lang="da-DK" dirty="0"/>
          </a:p>
        </p:txBody>
      </p:sp>
      <p:sp>
        <p:nvSpPr>
          <p:cNvPr id="113666" name="Rectangle 2"/>
          <p:cNvSpPr>
            <a:spLocks noGrp="1" noChangeArrowheads="1"/>
          </p:cNvSpPr>
          <p:nvPr>
            <p:ph type="title"/>
          </p:nvPr>
        </p:nvSpPr>
        <p:spPr bwMode="auto">
          <a:xfrm>
            <a:off x="1774726" y="426127"/>
            <a:ext cx="9312374" cy="9727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b" anchorCtr="0" compatLnSpc="1">
            <a:prstTxWarp prst="textNoShape">
              <a:avLst/>
            </a:prstTxWarp>
          </a:bodyPr>
          <a:lstStyle/>
          <a:p>
            <a:pPr lvl="0"/>
            <a:r>
              <a:rPr lang="da-DK" dirty="0"/>
              <a:t>Click to edit Master title style</a:t>
            </a:r>
          </a:p>
        </p:txBody>
      </p:sp>
      <p:sp>
        <p:nvSpPr>
          <p:cNvPr id="113667" name="Rectangle 3"/>
          <p:cNvSpPr>
            <a:spLocks noGrp="1" noChangeArrowheads="1"/>
          </p:cNvSpPr>
          <p:nvPr>
            <p:ph type="body" idx="1"/>
          </p:nvPr>
        </p:nvSpPr>
        <p:spPr bwMode="auto">
          <a:xfrm>
            <a:off x="1774726" y="1706328"/>
            <a:ext cx="9312374" cy="45455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da-DK" dirty="0"/>
              <a:t>Edit Master text styles</a:t>
            </a:r>
            <a:endParaRPr lang="da-DK"/>
          </a:p>
          <a:p>
            <a:pPr lvl="1"/>
            <a:r>
              <a:rPr lang="da-DK" dirty="0"/>
              <a:t>Second level</a:t>
            </a:r>
            <a:endParaRPr lang="da-DK"/>
          </a:p>
          <a:p>
            <a:pPr lvl="2"/>
            <a:r>
              <a:rPr lang="da-DK" dirty="0"/>
              <a:t>Third level</a:t>
            </a:r>
            <a:endParaRPr lang="da-DK"/>
          </a:p>
          <a:p>
            <a:pPr lvl="3"/>
            <a:r>
              <a:rPr lang="da-DK" dirty="0"/>
              <a:t>Fourth level</a:t>
            </a:r>
            <a:endParaRPr lang="da-DK"/>
          </a:p>
          <a:p>
            <a:pPr lvl="4"/>
            <a:r>
              <a:rPr lang="da-DK" dirty="0"/>
              <a:t>Fifth level</a:t>
            </a:r>
            <a:endParaRPr lang="da-DK"/>
          </a:p>
          <a:p>
            <a:pPr lvl="5"/>
            <a:endParaRPr lang="da-DK" dirty="0"/>
          </a:p>
        </p:txBody>
      </p:sp>
      <p:sp>
        <p:nvSpPr>
          <p:cNvPr id="113676" name="text" descr="{&quot;templafy&quot;:{&quot;id&quot;:&quot;8cf2e96c-c3c6-487e-ae6c-210f45769fae&quot;}}" title="UserProfile.Offices.Workarea_{{DocumentLanguage}}"/>
          <p:cNvSpPr>
            <a:spLocks noChangeArrowheads="1"/>
          </p:cNvSpPr>
          <p:nvPr userDrawn="1"/>
        </p:nvSpPr>
        <p:spPr bwMode="auto">
          <a:xfrm>
            <a:off x="1774726" y="6541200"/>
            <a:ext cx="8834951" cy="316800"/>
          </a:xfrm>
          <a:prstGeom prst="rect">
            <a:avLst/>
          </a:prstGeom>
          <a:noFill/>
          <a:ln>
            <a:noFill/>
          </a:ln>
        </p:spPr>
        <p:txBody>
          <a:bodyPr lIns="0" tIns="0" rIns="0" bIns="0" anchor="ctr" anchorCtr="0"/>
          <a:lstStyle/>
          <a:p>
            <a:pPr algn="l" eaLnBrk="0" hangingPunct="0">
              <a:spcBef>
                <a:spcPct val="0"/>
              </a:spcBef>
            </a:pPr>
            <a:r>
              <a:rPr lang="da-DK" sz="900" b="1" baseline="0" dirty="0">
                <a:solidFill>
                  <a:schemeClr val="bg1"/>
                </a:solidFill>
                <a:latin typeface="+mn-lt"/>
              </a:rPr>
              <a:t>Mikkelsen, P.S. </a:t>
            </a:r>
            <a:r>
              <a:rPr lang="en-US" sz="900" b="1" baseline="0" dirty="0">
                <a:solidFill>
                  <a:schemeClr val="bg1"/>
                </a:solidFill>
                <a:latin typeface="+mn-lt"/>
              </a:rPr>
              <a:t>–</a:t>
            </a:r>
            <a:r>
              <a:rPr lang="da-DK" sz="900" b="1" baseline="0" dirty="0">
                <a:solidFill>
                  <a:schemeClr val="bg1"/>
                </a:solidFill>
                <a:latin typeface="+mn-lt"/>
              </a:rPr>
              <a:t>    Fremtidens vandsektor er datadrevet – åbningsforedrag ved ”Data og </a:t>
            </a:r>
            <a:r>
              <a:rPr lang="da-DK" sz="900" b="1" baseline="0" dirty="0" err="1">
                <a:solidFill>
                  <a:schemeClr val="bg1"/>
                </a:solidFill>
                <a:latin typeface="+mn-lt"/>
              </a:rPr>
              <a:t>Digitsalisering</a:t>
            </a:r>
            <a:r>
              <a:rPr lang="da-DK" sz="900" b="1" baseline="0" dirty="0">
                <a:solidFill>
                  <a:schemeClr val="bg1"/>
                </a:solidFill>
                <a:latin typeface="+mn-lt"/>
              </a:rPr>
              <a:t> i Vandsektoren”, Ingeniøren WATERTECH</a:t>
            </a:r>
            <a:endParaRPr lang="da-DK" sz="900" b="1" dirty="0">
              <a:solidFill>
                <a:schemeClr val="bg1"/>
              </a:solidFill>
              <a:latin typeface="+mn-lt"/>
            </a:endParaRPr>
          </a:p>
        </p:txBody>
      </p:sp>
      <p:sp>
        <p:nvSpPr>
          <p:cNvPr id="5" name="date" descr="{&quot;templafy&quot;:{&quot;id&quot;:&quot;c694f2bc-e91e-45f4-9377-10f9e301ba2b&quot;}}" title="Form.Date">
            <a:extLst>
              <a:ext uri="{FF2B5EF4-FFF2-40B4-BE49-F238E27FC236}">
                <a16:creationId xmlns:a16="http://schemas.microsoft.com/office/drawing/2014/main" id="{792B975C-625D-4095-8E1D-63F20A11B57C}"/>
              </a:ext>
            </a:extLst>
          </p:cNvPr>
          <p:cNvSpPr/>
          <p:nvPr userDrawn="1"/>
        </p:nvSpPr>
        <p:spPr bwMode="auto">
          <a:xfrm>
            <a:off x="251364" y="6541200"/>
            <a:ext cx="1104013" cy="316800"/>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r" defTabSz="914309" rtl="0" eaLnBrk="1" fontAlgn="base" latinLnBrk="0" hangingPunct="1">
              <a:lnSpc>
                <a:spcPct val="100000"/>
              </a:lnSpc>
              <a:spcBef>
                <a:spcPct val="50000"/>
              </a:spcBef>
              <a:spcAft>
                <a:spcPct val="0"/>
              </a:spcAft>
              <a:buClrTx/>
              <a:buSzTx/>
              <a:buFontTx/>
              <a:buNone/>
              <a:tabLst/>
            </a:pPr>
            <a:r>
              <a:rPr kumimoji="0" lang="da-DK" sz="900" b="1" i="0" u="none" strike="noStrike" cap="none" normalizeH="0" baseline="0" dirty="0">
                <a:ln>
                  <a:noFill/>
                </a:ln>
                <a:solidFill>
                  <a:schemeClr val="bg1"/>
                </a:solidFill>
                <a:effectLst/>
                <a:latin typeface="+mn-lt"/>
                <a:ea typeface="ＭＳ Ｐゴシック" pitchFamily="-80" charset="-128"/>
              </a:rPr>
              <a:t>26. maj 2025</a:t>
            </a:r>
          </a:p>
        </p:txBody>
      </p:sp>
      <p:sp>
        <p:nvSpPr>
          <p:cNvPr id="2" name="Top bar">
            <a:extLst>
              <a:ext uri="{FF2B5EF4-FFF2-40B4-BE49-F238E27FC236}">
                <a16:creationId xmlns:a16="http://schemas.microsoft.com/office/drawing/2014/main" id="{35912424-89BF-4A93-9096-3282916C71FE}"/>
              </a:ext>
            </a:extLst>
          </p:cNvPr>
          <p:cNvSpPr/>
          <p:nvPr userDrawn="1"/>
        </p:nvSpPr>
        <p:spPr bwMode="auto">
          <a:xfrm>
            <a:off x="0" y="0"/>
            <a:ext cx="12193200" cy="50400"/>
          </a:xfrm>
          <a:prstGeom prst="rect">
            <a:avLst/>
          </a:prstGeom>
          <a:solidFill>
            <a:srgbClr val="008737"/>
          </a:solidFill>
          <a:ln w="9525" cap="flat" cmpd="sng" algn="ctr">
            <a:noFill/>
            <a:prstDash val="solid"/>
            <a:miter lim="800000"/>
            <a:headEnd type="none" w="med" len="med"/>
            <a:tailEnd type="none" w="med" len="med"/>
          </a:ln>
          <a:effectLst/>
        </p:spPr>
        <p:txBody>
          <a:bodyPr vert="horz" wrap="square" lIns="89988" tIns="46794" rIns="89988" bIns="46794" numCol="1" rtlCol="0" anchor="ctr" anchorCtr="0" compatLnSpc="1">
            <a:prstTxWarp prst="textNoShape">
              <a:avLst/>
            </a:prstTxWarp>
          </a:bodyPr>
          <a:lstStyle/>
          <a:p>
            <a:pPr marL="0" marR="0" indent="0" algn="ctr" defTabSz="914309" rtl="0" eaLnBrk="1" fontAlgn="base" latinLnBrk="0" hangingPunct="1">
              <a:lnSpc>
                <a:spcPct val="100000"/>
              </a:lnSpc>
              <a:spcBef>
                <a:spcPts val="432"/>
              </a:spcBef>
              <a:spcAft>
                <a:spcPct val="0"/>
              </a:spcAft>
              <a:buClrTx/>
              <a:buSzTx/>
              <a:buFontTx/>
              <a:buNone/>
              <a:tabLst/>
            </a:pPr>
            <a:endParaRPr kumimoji="0" lang="da-DK" sz="1600" b="0" i="0" u="none" strike="noStrike" cap="none" normalizeH="0" baseline="0" dirty="0" err="1">
              <a:ln>
                <a:noFill/>
              </a:ln>
              <a:solidFill>
                <a:srgbClr val="FFFFFF"/>
              </a:solidFill>
              <a:effectLst/>
              <a:latin typeface="+mn-lt"/>
              <a:ea typeface="ＭＳ Ｐゴシック" pitchFamily="-80" charset="-128"/>
            </a:endParaRPr>
          </a:p>
        </p:txBody>
      </p:sp>
    </p:spTree>
    <p:extLst>
      <p:ext uri="{BB962C8B-B14F-4D97-AF65-F5344CB8AC3E}">
        <p14:creationId xmlns:p14="http://schemas.microsoft.com/office/powerpoint/2010/main" val="837179088"/>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 id="2147483791" r:id="rId12"/>
    <p:sldLayoutId id="2147483792" r:id="rId13"/>
    <p:sldLayoutId id="2147483793" r:id="rId14"/>
    <p:sldLayoutId id="2147483794" r:id="rId15"/>
    <p:sldLayoutId id="2147483795" r:id="rId16"/>
  </p:sldLayoutIdLst>
  <p:hf hdr="0" dt="0"/>
  <p:txStyles>
    <p:titleStyle>
      <a:lvl1pPr algn="l" rtl="0" eaLnBrk="1" fontAlgn="base" hangingPunct="1">
        <a:spcBef>
          <a:spcPct val="0"/>
        </a:spcBef>
        <a:spcAft>
          <a:spcPct val="0"/>
        </a:spcAft>
        <a:defRPr sz="3000" b="1">
          <a:solidFill>
            <a:srgbClr val="000000"/>
          </a:solidFill>
          <a:latin typeface="+mj-lt"/>
          <a:ea typeface="+mj-ea"/>
          <a:cs typeface="+mj-cs"/>
        </a:defRPr>
      </a:lvl1pPr>
      <a:lvl2pPr algn="l" rtl="0" eaLnBrk="1" fontAlgn="base" hangingPunct="1">
        <a:spcBef>
          <a:spcPct val="0"/>
        </a:spcBef>
        <a:spcAft>
          <a:spcPct val="0"/>
        </a:spcAft>
        <a:defRPr sz="2400" b="1">
          <a:solidFill>
            <a:schemeClr val="tx1"/>
          </a:solidFill>
          <a:latin typeface="Verdana" pitchFamily="34" charset="0"/>
          <a:ea typeface="ＭＳ Ｐゴシック" pitchFamily="-80" charset="-128"/>
        </a:defRPr>
      </a:lvl2pPr>
      <a:lvl3pPr algn="l" rtl="0" eaLnBrk="1" fontAlgn="base" hangingPunct="1">
        <a:spcBef>
          <a:spcPct val="0"/>
        </a:spcBef>
        <a:spcAft>
          <a:spcPct val="0"/>
        </a:spcAft>
        <a:defRPr sz="2400" b="1">
          <a:solidFill>
            <a:schemeClr val="tx1"/>
          </a:solidFill>
          <a:latin typeface="Verdana" pitchFamily="34" charset="0"/>
          <a:ea typeface="ＭＳ Ｐゴシック" pitchFamily="-80" charset="-128"/>
        </a:defRPr>
      </a:lvl3pPr>
      <a:lvl4pPr algn="l" rtl="0" eaLnBrk="1" fontAlgn="base" hangingPunct="1">
        <a:spcBef>
          <a:spcPct val="0"/>
        </a:spcBef>
        <a:spcAft>
          <a:spcPct val="0"/>
        </a:spcAft>
        <a:defRPr sz="2400" b="1">
          <a:solidFill>
            <a:schemeClr val="tx1"/>
          </a:solidFill>
          <a:latin typeface="Verdana" pitchFamily="34" charset="0"/>
          <a:ea typeface="ＭＳ Ｐゴシック" pitchFamily="-80" charset="-128"/>
        </a:defRPr>
      </a:lvl4pPr>
      <a:lvl5pPr algn="l" rtl="0" eaLnBrk="1" fontAlgn="base" hangingPunct="1">
        <a:spcBef>
          <a:spcPct val="0"/>
        </a:spcBef>
        <a:spcAft>
          <a:spcPct val="0"/>
        </a:spcAft>
        <a:defRPr sz="2400" b="1">
          <a:solidFill>
            <a:schemeClr val="tx1"/>
          </a:solidFill>
          <a:latin typeface="Verdana" pitchFamily="34" charset="0"/>
          <a:ea typeface="ＭＳ Ｐゴシック" pitchFamily="-80" charset="-128"/>
        </a:defRPr>
      </a:lvl5pPr>
      <a:lvl6pPr marL="457154" algn="l" rtl="0" eaLnBrk="1" fontAlgn="base" hangingPunct="1">
        <a:spcBef>
          <a:spcPct val="0"/>
        </a:spcBef>
        <a:spcAft>
          <a:spcPct val="0"/>
        </a:spcAft>
        <a:defRPr sz="2400" b="1">
          <a:solidFill>
            <a:schemeClr val="tx1"/>
          </a:solidFill>
          <a:latin typeface="Verdana" pitchFamily="34" charset="0"/>
          <a:ea typeface="ＭＳ Ｐゴシック" pitchFamily="-80" charset="-128"/>
        </a:defRPr>
      </a:lvl6pPr>
      <a:lvl7pPr marL="914309" algn="l" rtl="0" eaLnBrk="1" fontAlgn="base" hangingPunct="1">
        <a:spcBef>
          <a:spcPct val="0"/>
        </a:spcBef>
        <a:spcAft>
          <a:spcPct val="0"/>
        </a:spcAft>
        <a:defRPr sz="2400" b="1">
          <a:solidFill>
            <a:schemeClr val="tx1"/>
          </a:solidFill>
          <a:latin typeface="Verdana" pitchFamily="34" charset="0"/>
          <a:ea typeface="ＭＳ Ｐゴシック" pitchFamily="-80" charset="-128"/>
        </a:defRPr>
      </a:lvl7pPr>
      <a:lvl8pPr marL="1371463" algn="l" rtl="0" eaLnBrk="1" fontAlgn="base" hangingPunct="1">
        <a:spcBef>
          <a:spcPct val="0"/>
        </a:spcBef>
        <a:spcAft>
          <a:spcPct val="0"/>
        </a:spcAft>
        <a:defRPr sz="2400" b="1">
          <a:solidFill>
            <a:schemeClr val="tx1"/>
          </a:solidFill>
          <a:latin typeface="Verdana" pitchFamily="34" charset="0"/>
          <a:ea typeface="ＭＳ Ｐゴシック" pitchFamily="-80" charset="-128"/>
        </a:defRPr>
      </a:lvl8pPr>
      <a:lvl9pPr marL="1828617" algn="l" rtl="0" eaLnBrk="1" fontAlgn="base" hangingPunct="1">
        <a:spcBef>
          <a:spcPct val="0"/>
        </a:spcBef>
        <a:spcAft>
          <a:spcPct val="0"/>
        </a:spcAft>
        <a:defRPr sz="2400" b="1">
          <a:solidFill>
            <a:schemeClr val="tx1"/>
          </a:solidFill>
          <a:latin typeface="Verdana" pitchFamily="34" charset="0"/>
          <a:ea typeface="ＭＳ Ｐゴシック" pitchFamily="-80" charset="-128"/>
        </a:defRPr>
      </a:lvl9pPr>
    </p:titleStyle>
    <p:bodyStyle>
      <a:lvl1pPr marL="197980" indent="-197980" algn="l" rtl="0" eaLnBrk="1" fontAlgn="base" hangingPunct="1">
        <a:spcBef>
          <a:spcPct val="20000"/>
        </a:spcBef>
        <a:spcAft>
          <a:spcPct val="0"/>
        </a:spcAft>
        <a:buChar char="•"/>
        <a:defRPr sz="1800">
          <a:solidFill>
            <a:schemeClr val="tx1"/>
          </a:solidFill>
          <a:latin typeface="+mn-lt"/>
          <a:ea typeface="+mn-ea"/>
          <a:cs typeface="+mn-cs"/>
        </a:defRPr>
      </a:lvl1pPr>
      <a:lvl2pPr marL="413959" indent="-197980" algn="l" rtl="0" eaLnBrk="1" fontAlgn="base" hangingPunct="1">
        <a:spcBef>
          <a:spcPct val="20000"/>
        </a:spcBef>
        <a:spcAft>
          <a:spcPct val="0"/>
        </a:spcAft>
        <a:buChar char="–"/>
        <a:defRPr sz="1800">
          <a:solidFill>
            <a:schemeClr val="tx1"/>
          </a:solidFill>
          <a:latin typeface="+mn-lt"/>
          <a:ea typeface="+mn-ea"/>
        </a:defRPr>
      </a:lvl2pPr>
      <a:lvl3pPr marL="615538" indent="-197980" algn="l" rtl="0" eaLnBrk="1" fontAlgn="base" hangingPunct="1">
        <a:spcBef>
          <a:spcPct val="20000"/>
        </a:spcBef>
        <a:spcAft>
          <a:spcPct val="0"/>
        </a:spcAft>
        <a:buChar char="•"/>
        <a:defRPr sz="1800">
          <a:solidFill>
            <a:schemeClr val="tx1"/>
          </a:solidFill>
          <a:latin typeface="+mn-lt"/>
          <a:ea typeface="+mn-ea"/>
        </a:defRPr>
      </a:lvl3pPr>
      <a:lvl4pPr marL="827917" indent="-197980" algn="l" rtl="0" eaLnBrk="1" fontAlgn="base" hangingPunct="1">
        <a:spcBef>
          <a:spcPct val="20000"/>
        </a:spcBef>
        <a:spcAft>
          <a:spcPct val="0"/>
        </a:spcAft>
        <a:buChar char="–"/>
        <a:defRPr sz="1800">
          <a:solidFill>
            <a:schemeClr val="tx1"/>
          </a:solidFill>
          <a:latin typeface="+mn-lt"/>
          <a:ea typeface="+mn-ea"/>
        </a:defRPr>
      </a:lvl4pPr>
      <a:lvl5pPr marL="1025897" indent="-197980" algn="l" rtl="0" eaLnBrk="1" fontAlgn="base" hangingPunct="1">
        <a:spcBef>
          <a:spcPct val="20000"/>
        </a:spcBef>
        <a:spcAft>
          <a:spcPct val="0"/>
        </a:spcAft>
        <a:buChar char="»"/>
        <a:defRPr sz="1800">
          <a:solidFill>
            <a:schemeClr val="tx1"/>
          </a:solidFill>
          <a:latin typeface="+mn-lt"/>
          <a:ea typeface="+mn-ea"/>
        </a:defRPr>
      </a:lvl5pPr>
      <a:lvl6pPr marL="1025897" indent="-197980" algn="l" rtl="0" eaLnBrk="1" fontAlgn="base" hangingPunct="1">
        <a:spcBef>
          <a:spcPct val="20000"/>
        </a:spcBef>
        <a:spcAft>
          <a:spcPct val="0"/>
        </a:spcAft>
        <a:buChar char="»"/>
        <a:defRPr sz="1800">
          <a:solidFill>
            <a:schemeClr val="tx1"/>
          </a:solidFill>
          <a:latin typeface="+mn-lt"/>
          <a:ea typeface="+mn-ea"/>
        </a:defRPr>
      </a:lvl6pPr>
      <a:lvl7pPr marL="1025897" indent="-197980" algn="l" rtl="0" eaLnBrk="1" fontAlgn="base" hangingPunct="1">
        <a:spcBef>
          <a:spcPct val="20000"/>
        </a:spcBef>
        <a:spcAft>
          <a:spcPct val="0"/>
        </a:spcAft>
        <a:buChar char="»"/>
        <a:defRPr sz="1800">
          <a:solidFill>
            <a:schemeClr val="tx1"/>
          </a:solidFill>
          <a:latin typeface="+mn-lt"/>
          <a:ea typeface="+mn-ea"/>
        </a:defRPr>
      </a:lvl7pPr>
      <a:lvl8pPr marL="1025897" indent="-197980" algn="l" rtl="0" eaLnBrk="1" fontAlgn="base" hangingPunct="1">
        <a:spcBef>
          <a:spcPct val="20000"/>
        </a:spcBef>
        <a:spcAft>
          <a:spcPct val="0"/>
        </a:spcAft>
        <a:buChar char="»"/>
        <a:defRPr sz="1800">
          <a:solidFill>
            <a:schemeClr val="tx1"/>
          </a:solidFill>
          <a:latin typeface="+mn-lt"/>
          <a:ea typeface="+mn-ea"/>
        </a:defRPr>
      </a:lvl8pPr>
      <a:lvl9pPr marL="1025897" indent="-197980" algn="l" rtl="0" eaLnBrk="1" fontAlgn="base" hangingPunct="1">
        <a:spcBef>
          <a:spcPct val="20000"/>
        </a:spcBef>
        <a:spcAft>
          <a:spcPct val="0"/>
        </a:spcAft>
        <a:buChar char="»"/>
        <a:defRPr sz="1800">
          <a:solidFill>
            <a:schemeClr val="tx1"/>
          </a:solidFill>
          <a:latin typeface="+mn-lt"/>
          <a:ea typeface="+mn-ea"/>
        </a:defRPr>
      </a:lvl9pPr>
    </p:bodyStyle>
    <p:otherStyle>
      <a:defPPr>
        <a:defRPr lang="da-DK"/>
      </a:defPPr>
      <a:lvl1pPr marL="0" algn="l" defTabSz="914309" rtl="0" eaLnBrk="1" latinLnBrk="0" hangingPunct="1">
        <a:defRPr sz="1800" kern="1200">
          <a:solidFill>
            <a:schemeClr val="tx1"/>
          </a:solidFill>
          <a:latin typeface="+mn-lt"/>
          <a:ea typeface="+mn-ea"/>
          <a:cs typeface="+mn-cs"/>
        </a:defRPr>
      </a:lvl1pPr>
      <a:lvl2pPr marL="457154"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3" algn="l" defTabSz="914309" rtl="0" eaLnBrk="1" latinLnBrk="0" hangingPunct="1">
        <a:defRPr sz="1800" kern="1200">
          <a:solidFill>
            <a:schemeClr val="tx1"/>
          </a:solidFill>
          <a:latin typeface="+mn-lt"/>
          <a:ea typeface="+mn-ea"/>
          <a:cs typeface="+mn-cs"/>
        </a:defRPr>
      </a:lvl4pPr>
      <a:lvl5pPr marL="1828617" algn="l" defTabSz="914309" rtl="0" eaLnBrk="1" latinLnBrk="0" hangingPunct="1">
        <a:defRPr sz="1800" kern="1200">
          <a:solidFill>
            <a:schemeClr val="tx1"/>
          </a:solidFill>
          <a:latin typeface="+mn-lt"/>
          <a:ea typeface="+mn-ea"/>
          <a:cs typeface="+mn-cs"/>
        </a:defRPr>
      </a:lvl5pPr>
      <a:lvl6pPr marL="2285771"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4" algn="l" defTabSz="91430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68">
          <p15:clr>
            <a:srgbClr val="F26B43"/>
          </p15:clr>
        </p15:guide>
        <p15:guide id="4" orient="horz" pos="881">
          <p15:clr>
            <a:srgbClr val="F26B43"/>
          </p15:clr>
        </p15:guide>
        <p15:guide id="5" orient="horz" pos="1074">
          <p15:clr>
            <a:srgbClr val="F26B43"/>
          </p15:clr>
        </p15:guide>
        <p15:guide id="6" orient="horz" pos="393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10.png"/><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9.xml"/><Relationship Id="rId1" Type="http://schemas.openxmlformats.org/officeDocument/2006/relationships/slideLayout" Target="../slideLayouts/slideLayout9.xml"/><Relationship Id="rId5" Type="http://schemas.openxmlformats.org/officeDocument/2006/relationships/image" Target="../media/image40.jpeg"/><Relationship Id="rId4" Type="http://schemas.openxmlformats.org/officeDocument/2006/relationships/image" Target="../media/image39.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image" Target="../media/image43.png"/><Relationship Id="rId1" Type="http://schemas.openxmlformats.org/officeDocument/2006/relationships/slideLayout" Target="../slideLayouts/slideLayout43.xml"/><Relationship Id="rId6" Type="http://schemas.openxmlformats.org/officeDocument/2006/relationships/image" Target="../media/image47.png"/><Relationship Id="rId5" Type="http://schemas.openxmlformats.org/officeDocument/2006/relationships/image" Target="../media/image46.emf"/><Relationship Id="rId4" Type="http://schemas.openxmlformats.org/officeDocument/2006/relationships/image" Target="../media/image45.png"/></Relationships>
</file>

<file path=ppt/slides/_rels/slide17.xml.rels><?xml version="1.0" encoding="UTF-8" standalone="yes"?>
<Relationships xmlns="http://schemas.openxmlformats.org/package/2006/relationships"><Relationship Id="rId2" Type="http://schemas.openxmlformats.org/officeDocument/2006/relationships/image" Target="../media/image49.wmf"/><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4.png"/><Relationship Id="rId1" Type="http://schemas.openxmlformats.org/officeDocument/2006/relationships/slideLayout" Target="../slideLayouts/slideLayout102.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45.png"/></Relationships>
</file>

<file path=ppt/slides/_rels/slide2.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tiff"/><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image" Target="../media/image14.jpeg"/><Relationship Id="rId11" Type="http://schemas.openxmlformats.org/officeDocument/2006/relationships/image" Target="../media/image19.jpeg"/><Relationship Id="rId5" Type="http://schemas.openxmlformats.org/officeDocument/2006/relationships/image" Target="../media/image13.jpeg"/><Relationship Id="rId10" Type="http://schemas.openxmlformats.org/officeDocument/2006/relationships/image" Target="../media/image18.tiff"/><Relationship Id="rId4" Type="http://schemas.openxmlformats.org/officeDocument/2006/relationships/image" Target="../media/image12.jpeg"/><Relationship Id="rId9" Type="http://schemas.openxmlformats.org/officeDocument/2006/relationships/image" Target="../media/image17.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12.xml"/><Relationship Id="rId4" Type="http://schemas.openxmlformats.org/officeDocument/2006/relationships/image" Target="../media/image22.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6.xml"/><Relationship Id="rId1" Type="http://schemas.openxmlformats.org/officeDocument/2006/relationships/slideLayout" Target="../slideLayouts/slideLayout54.xml"/><Relationship Id="rId4" Type="http://schemas.openxmlformats.org/officeDocument/2006/relationships/image" Target="../media/image24.jpeg"/></Relationships>
</file>

<file path=ppt/slides/_rels/slide7.xml.rels><?xml version="1.0" encoding="UTF-8" standalone="yes"?>
<Relationships xmlns="http://schemas.openxmlformats.org/package/2006/relationships"><Relationship Id="rId3" Type="http://schemas.openxmlformats.org/officeDocument/2006/relationships/image" Target="../media/image25.jpeg"/><Relationship Id="rId7" Type="http://schemas.openxmlformats.org/officeDocument/2006/relationships/image" Target="../media/image28.jpeg"/><Relationship Id="rId2" Type="http://schemas.openxmlformats.org/officeDocument/2006/relationships/notesSlide" Target="../notesSlides/notesSlide7.xml"/><Relationship Id="rId1" Type="http://schemas.openxmlformats.org/officeDocument/2006/relationships/slideLayout" Target="../slideLayouts/slideLayout8.xml"/><Relationship Id="rId6" Type="http://schemas.openxmlformats.org/officeDocument/2006/relationships/image" Target="../media/image12.jpeg"/><Relationship Id="rId5" Type="http://schemas.openxmlformats.org/officeDocument/2006/relationships/image" Target="../media/image27.tiff"/><Relationship Id="rId4" Type="http://schemas.openxmlformats.org/officeDocument/2006/relationships/image" Target="../media/image26.jpeg"/></Relationships>
</file>

<file path=ppt/slides/_rels/slide8.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jpeg"/><Relationship Id="rId7" Type="http://schemas.openxmlformats.org/officeDocument/2006/relationships/image" Target="../media/image33.jpeg"/><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image" Target="../media/image32.png"/><Relationship Id="rId5" Type="http://schemas.openxmlformats.org/officeDocument/2006/relationships/image" Target="../media/image31.jpeg"/><Relationship Id="rId10" Type="http://schemas.openxmlformats.org/officeDocument/2006/relationships/image" Target="../media/image35.wmf"/><Relationship Id="rId4" Type="http://schemas.openxmlformats.org/officeDocument/2006/relationships/image" Target="../media/image30.jpeg"/><Relationship Id="rId9" Type="http://schemas.openxmlformats.org/officeDocument/2006/relationships/oleObject" Target="../embeddings/oleObject2.bin"/></Relationships>
</file>

<file path=ppt/slides/_rels/slide9.xml.rels><?xml version="1.0" encoding="UTF-8" standalone="yes"?>
<Relationships xmlns="http://schemas.openxmlformats.org/package/2006/relationships"><Relationship Id="rId3" Type="http://schemas.openxmlformats.org/officeDocument/2006/relationships/image" Target="../media/image37.wmf"/><Relationship Id="rId2" Type="http://schemas.openxmlformats.org/officeDocument/2006/relationships/image" Target="../media/image36.wmf"/><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43939" y="2120965"/>
            <a:ext cx="11322818" cy="1152128"/>
          </a:xfrm>
        </p:spPr>
        <p:txBody>
          <a:bodyPr/>
          <a:lstStyle/>
          <a:p>
            <a:r>
              <a:rPr lang="en-US" sz="3600" dirty="0"/>
              <a:t>Understanding the role of water data space imaginaries in shaping the twin (green and digital) transition for the water multiverse</a:t>
            </a:r>
            <a:endParaRPr lang="da-DK" sz="3600" dirty="0"/>
          </a:p>
        </p:txBody>
      </p:sp>
      <p:sp>
        <p:nvSpPr>
          <p:cNvPr id="3" name="Subtitle 2"/>
          <p:cNvSpPr>
            <a:spLocks noGrp="1"/>
          </p:cNvSpPr>
          <p:nvPr>
            <p:ph type="subTitle" idx="1"/>
          </p:nvPr>
        </p:nvSpPr>
        <p:spPr>
          <a:xfrm>
            <a:off x="532292" y="5584770"/>
            <a:ext cx="10840028" cy="1012582"/>
          </a:xfrm>
        </p:spPr>
        <p:txBody>
          <a:bodyPr/>
          <a:lstStyle/>
          <a:p>
            <a:pPr>
              <a:lnSpc>
                <a:spcPct val="100000"/>
              </a:lnSpc>
            </a:pPr>
            <a:r>
              <a:rPr lang="en-US" sz="2000" dirty="0"/>
              <a:t>Chiara Farné Fratini &amp; Peter Steen Mikkelsen</a:t>
            </a:r>
          </a:p>
          <a:p>
            <a:pPr>
              <a:lnSpc>
                <a:spcPct val="100000"/>
              </a:lnSpc>
            </a:pPr>
            <a:r>
              <a:rPr lang="en-US" sz="2000" dirty="0"/>
              <a:t>DTU Sustain, Department of Environmental and Resource Engineering</a:t>
            </a:r>
          </a:p>
          <a:p>
            <a:pPr>
              <a:lnSpc>
                <a:spcPct val="100000"/>
              </a:lnSpc>
            </a:pPr>
            <a:r>
              <a:rPr lang="en-US" sz="2000" dirty="0"/>
              <a:t>Technical University of Denmark</a:t>
            </a:r>
          </a:p>
          <a:p>
            <a:pPr>
              <a:lnSpc>
                <a:spcPct val="100000"/>
              </a:lnSpc>
              <a:spcBef>
                <a:spcPts val="600"/>
              </a:spcBef>
            </a:pPr>
            <a:r>
              <a:rPr lang="en-US" sz="2000" dirty="0"/>
              <a:t>AESOP, July 7</a:t>
            </a:r>
            <a:r>
              <a:rPr lang="en-US" sz="2000" baseline="30000" dirty="0"/>
              <a:t>th</a:t>
            </a:r>
            <a:r>
              <a:rPr lang="en-US" sz="2000" dirty="0"/>
              <a:t>, 2025</a:t>
            </a:r>
          </a:p>
          <a:p>
            <a:pPr>
              <a:lnSpc>
                <a:spcPct val="100000"/>
              </a:lnSpc>
            </a:pPr>
            <a:endParaRPr lang="en-US" sz="2000" dirty="0"/>
          </a:p>
        </p:txBody>
      </p:sp>
      <p:pic>
        <p:nvPicPr>
          <p:cNvPr id="4" name="Billede 8">
            <a:extLst>
              <a:ext uri="{FF2B5EF4-FFF2-40B4-BE49-F238E27FC236}">
                <a16:creationId xmlns:a16="http://schemas.microsoft.com/office/drawing/2014/main" id="{19E5F2C2-9591-4425-8405-08831D45EDE6}"/>
              </a:ext>
            </a:extLst>
          </p:cNvPr>
          <p:cNvPicPr/>
          <p:nvPr/>
        </p:nvPicPr>
        <p:blipFill>
          <a:blip r:embed="rId3" cstate="email">
            <a:extLst>
              <a:ext uri="{28A0092B-C50C-407E-A947-70E740481C1C}">
                <a14:useLocalDpi xmlns:a14="http://schemas.microsoft.com/office/drawing/2010/main"/>
              </a:ext>
            </a:extLst>
          </a:blip>
          <a:stretch>
            <a:fillRect/>
          </a:stretch>
        </p:blipFill>
        <p:spPr>
          <a:xfrm>
            <a:off x="8975526" y="127002"/>
            <a:ext cx="2808312" cy="834415"/>
          </a:xfrm>
          <a:prstGeom prst="rect">
            <a:avLst/>
          </a:prstGeom>
        </p:spPr>
      </p:pic>
      <p:pic>
        <p:nvPicPr>
          <p:cNvPr id="7" name="Billede 6">
            <a:extLst>
              <a:ext uri="{FF2B5EF4-FFF2-40B4-BE49-F238E27FC236}">
                <a16:creationId xmlns:a16="http://schemas.microsoft.com/office/drawing/2014/main" id="{E7997FDF-B20A-425E-83A7-587D5B1B9BCB}"/>
              </a:ext>
            </a:extLst>
          </p:cNvPr>
          <p:cNvPicPr/>
          <p:nvPr/>
        </p:nvPicPr>
        <p:blipFill>
          <a:blip r:embed="rId4" cstate="email">
            <a:extLst>
              <a:ext uri="{28A0092B-C50C-407E-A947-70E740481C1C}">
                <a14:useLocalDpi xmlns:a14="http://schemas.microsoft.com/office/drawing/2010/main"/>
              </a:ext>
            </a:extLst>
          </a:blip>
          <a:stretch>
            <a:fillRect/>
          </a:stretch>
        </p:blipFill>
        <p:spPr>
          <a:xfrm>
            <a:off x="10116524" y="4816971"/>
            <a:ext cx="1599565" cy="1279525"/>
          </a:xfrm>
          <a:prstGeom prst="rect">
            <a:avLst/>
          </a:prstGeom>
        </p:spPr>
      </p:pic>
      <p:pic>
        <p:nvPicPr>
          <p:cNvPr id="8" name="Billede 5" descr="Et billede, der indeholder tekst&#10;&#10;Automatisk genereret beskrivelse">
            <a:extLst>
              <a:ext uri="{FF2B5EF4-FFF2-40B4-BE49-F238E27FC236}">
                <a16:creationId xmlns:a16="http://schemas.microsoft.com/office/drawing/2014/main" id="{3C37950A-FA05-491C-BE1E-B129C9D2246E}"/>
              </a:ext>
            </a:extLst>
          </p:cNvPr>
          <p:cNvPicPr/>
          <p:nvPr/>
        </p:nvPicPr>
        <p:blipFill>
          <a:blip r:embed="rId5" cstate="email">
            <a:extLst>
              <a:ext uri="{28A0092B-C50C-407E-A947-70E740481C1C}">
                <a14:useLocalDpi xmlns:a14="http://schemas.microsoft.com/office/drawing/2010/main"/>
              </a:ext>
            </a:extLst>
          </a:blip>
          <a:stretch>
            <a:fillRect/>
          </a:stretch>
        </p:blipFill>
        <p:spPr>
          <a:xfrm>
            <a:off x="10004144" y="6119390"/>
            <a:ext cx="1696085" cy="523875"/>
          </a:xfrm>
          <a:prstGeom prst="rect">
            <a:avLst/>
          </a:prstGeom>
        </p:spPr>
      </p:pic>
    </p:spTree>
    <p:extLst>
      <p:ext uri="{BB962C8B-B14F-4D97-AF65-F5344CB8AC3E}">
        <p14:creationId xmlns:p14="http://schemas.microsoft.com/office/powerpoint/2010/main" val="39391225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61578" y="-27384"/>
            <a:ext cx="13407410" cy="6885384"/>
          </a:xfrm>
          <a:prstGeom prst="rect">
            <a:avLst/>
          </a:prstGeom>
        </p:spPr>
      </p:pic>
      <p:sp>
        <p:nvSpPr>
          <p:cNvPr id="4" name="TextBox 3"/>
          <p:cNvSpPr txBox="1"/>
          <p:nvPr/>
        </p:nvSpPr>
        <p:spPr>
          <a:xfrm>
            <a:off x="3588664" y="346150"/>
            <a:ext cx="8244631" cy="7402026"/>
          </a:xfrm>
          <a:prstGeom prst="rect">
            <a:avLst/>
          </a:prstGeom>
          <a:noFill/>
        </p:spPr>
        <p:txBody>
          <a:bodyPr wrap="square" rtlCol="0">
            <a:spAutoFit/>
          </a:bodyPr>
          <a:lstStyle/>
          <a:p>
            <a:pPr fontAlgn="base">
              <a:spcBef>
                <a:spcPct val="50000"/>
              </a:spcBef>
              <a:spcAft>
                <a:spcPct val="0"/>
              </a:spcAft>
              <a:defRPr/>
            </a:pPr>
            <a:r>
              <a:rPr lang="da-DK" sz="2800" b="1" dirty="0">
                <a:solidFill>
                  <a:srgbClr val="99CCFF"/>
                </a:solidFill>
              </a:rPr>
              <a:t>The </a:t>
            </a:r>
            <a:r>
              <a:rPr lang="da-DK" sz="2800" b="1" dirty="0" err="1">
                <a:solidFill>
                  <a:srgbClr val="99CCFF"/>
                </a:solidFill>
              </a:rPr>
              <a:t>promises</a:t>
            </a:r>
            <a:r>
              <a:rPr lang="da-DK" sz="2800" b="1" dirty="0">
                <a:solidFill>
                  <a:srgbClr val="99CCFF"/>
                </a:solidFill>
              </a:rPr>
              <a:t> of the Digital Transition…</a:t>
            </a:r>
          </a:p>
          <a:p>
            <a:pPr fontAlgn="base">
              <a:spcBef>
                <a:spcPct val="50000"/>
              </a:spcBef>
              <a:spcAft>
                <a:spcPct val="0"/>
              </a:spcAft>
              <a:defRPr/>
            </a:pPr>
            <a:r>
              <a:rPr lang="en-US" sz="2800" dirty="0">
                <a:solidFill>
                  <a:srgbClr val="99CCFF"/>
                </a:solidFill>
              </a:rPr>
              <a:t>  - More effective governance </a:t>
            </a:r>
          </a:p>
          <a:p>
            <a:pPr>
              <a:spcBef>
                <a:spcPts val="600"/>
              </a:spcBef>
              <a:defRPr/>
            </a:pPr>
            <a:r>
              <a:rPr lang="en-US" sz="2800" dirty="0">
                <a:solidFill>
                  <a:srgbClr val="99CCFF"/>
                </a:solidFill>
              </a:rPr>
              <a:t>   - More innovation </a:t>
            </a:r>
          </a:p>
          <a:p>
            <a:pPr>
              <a:spcBef>
                <a:spcPts val="600"/>
              </a:spcBef>
              <a:defRPr/>
            </a:pPr>
            <a:r>
              <a:rPr lang="en-US" sz="2800" dirty="0">
                <a:solidFill>
                  <a:srgbClr val="99CCFF"/>
                </a:solidFill>
              </a:rPr>
              <a:t>    - Less fragmentation</a:t>
            </a:r>
          </a:p>
          <a:p>
            <a:pPr>
              <a:spcBef>
                <a:spcPts val="600"/>
              </a:spcBef>
              <a:defRPr/>
            </a:pPr>
            <a:r>
              <a:rPr lang="en-US" sz="2800" dirty="0">
                <a:solidFill>
                  <a:srgbClr val="99CCFF"/>
                </a:solidFill>
              </a:rPr>
              <a:t>     - Supporting Sustainability Transition</a:t>
            </a:r>
          </a:p>
          <a:p>
            <a:pPr lvl="1" algn="ctr">
              <a:spcBef>
                <a:spcPts val="600"/>
              </a:spcBef>
              <a:defRPr/>
            </a:pPr>
            <a:endParaRPr lang="en-US" sz="2800" b="1" dirty="0">
              <a:solidFill>
                <a:srgbClr val="99CCFF"/>
              </a:solidFill>
            </a:endParaRPr>
          </a:p>
          <a:p>
            <a:pPr lvl="1" algn="ctr">
              <a:spcBef>
                <a:spcPts val="600"/>
              </a:spcBef>
              <a:defRPr/>
            </a:pPr>
            <a:r>
              <a:rPr lang="en-US" sz="2800" b="1" dirty="0">
                <a:solidFill>
                  <a:srgbClr val="99CCFF"/>
                </a:solidFill>
              </a:rPr>
              <a:t>BUT…what are the challenges?</a:t>
            </a:r>
          </a:p>
          <a:p>
            <a:pPr marL="1371600" lvl="2" indent="-274320" algn="ctr">
              <a:spcBef>
                <a:spcPts val="600"/>
              </a:spcBef>
              <a:buFontTx/>
              <a:buChar char="-"/>
              <a:defRPr/>
            </a:pPr>
            <a:r>
              <a:rPr lang="en-US" sz="2800" dirty="0">
                <a:solidFill>
                  <a:srgbClr val="99CCFF"/>
                </a:solidFill>
              </a:rPr>
              <a:t>Social disruptions and polarization</a:t>
            </a:r>
          </a:p>
          <a:p>
            <a:pPr marL="457200" indent="-274320" algn="ctr">
              <a:spcBef>
                <a:spcPts val="600"/>
              </a:spcBef>
              <a:buFontTx/>
              <a:buChar char="-"/>
              <a:defRPr/>
            </a:pPr>
            <a:r>
              <a:rPr lang="en-US" sz="2800" dirty="0">
                <a:solidFill>
                  <a:srgbClr val="99CCFF"/>
                </a:solidFill>
              </a:rPr>
              <a:t>Increasing inequality</a:t>
            </a:r>
          </a:p>
          <a:p>
            <a:pPr marL="457200" indent="-274320" algn="ctr">
              <a:spcBef>
                <a:spcPts val="600"/>
              </a:spcBef>
              <a:buFontTx/>
              <a:buChar char="-"/>
              <a:defRPr/>
            </a:pPr>
            <a:r>
              <a:rPr lang="en-US" sz="2800" dirty="0">
                <a:solidFill>
                  <a:srgbClr val="99CCFF"/>
                </a:solidFill>
              </a:rPr>
              <a:t>Security risks</a:t>
            </a:r>
          </a:p>
          <a:p>
            <a:pPr marL="2743200" lvl="5" indent="-274320" algn="ctr">
              <a:spcBef>
                <a:spcPts val="600"/>
              </a:spcBef>
              <a:buFontTx/>
              <a:buChar char="-"/>
              <a:defRPr/>
            </a:pPr>
            <a:r>
              <a:rPr lang="en-US" sz="2800" dirty="0">
                <a:solidFill>
                  <a:srgbClr val="99CCFF"/>
                </a:solidFill>
              </a:rPr>
              <a:t>Mis- and disinformation</a:t>
            </a:r>
            <a:endParaRPr lang="en-US" sz="2800" b="1" dirty="0">
              <a:solidFill>
                <a:srgbClr val="99CCFF"/>
              </a:solidFill>
            </a:endParaRPr>
          </a:p>
          <a:p>
            <a:pPr marL="1828800" lvl="3" indent="-457200" algn="ctr">
              <a:spcBef>
                <a:spcPts val="600"/>
              </a:spcBef>
              <a:buFont typeface="Arial" panose="020B0604020202020204" pitchFamily="34" charset="0"/>
              <a:buChar char="•"/>
              <a:defRPr/>
            </a:pPr>
            <a:endParaRPr lang="en-US" sz="2800" b="1" dirty="0">
              <a:solidFill>
                <a:srgbClr val="99CCFF"/>
              </a:solidFill>
            </a:endParaRPr>
          </a:p>
          <a:p>
            <a:pPr algn="ctr">
              <a:spcBef>
                <a:spcPts val="600"/>
              </a:spcBef>
              <a:defRPr/>
            </a:pPr>
            <a:r>
              <a:rPr lang="en-US" sz="2800" dirty="0">
                <a:solidFill>
                  <a:srgbClr val="99CCFF"/>
                </a:solidFill>
              </a:rPr>
              <a:t> </a:t>
            </a:r>
            <a:endParaRPr lang="da-DK" sz="2800" dirty="0">
              <a:solidFill>
                <a:srgbClr val="99CCFF"/>
              </a:solidFill>
            </a:endParaRPr>
          </a:p>
          <a:p>
            <a:pPr fontAlgn="base">
              <a:spcBef>
                <a:spcPct val="50000"/>
              </a:spcBef>
              <a:spcAft>
                <a:spcPct val="0"/>
              </a:spcAft>
              <a:defRPr/>
            </a:pPr>
            <a:endParaRPr lang="en-US" sz="2800" dirty="0">
              <a:solidFill>
                <a:srgbClr val="99CCFF"/>
              </a:solidFill>
            </a:endParaRPr>
          </a:p>
        </p:txBody>
      </p:sp>
      <p:sp>
        <p:nvSpPr>
          <p:cNvPr id="6" name="Rectangle 5"/>
          <p:cNvSpPr/>
          <p:nvPr/>
        </p:nvSpPr>
        <p:spPr>
          <a:xfrm>
            <a:off x="191282" y="3627021"/>
            <a:ext cx="2807580" cy="954107"/>
          </a:xfrm>
          <a:prstGeom prst="rect">
            <a:avLst/>
          </a:prstGeom>
        </p:spPr>
        <p:txBody>
          <a:bodyPr wrap="square">
            <a:spAutoFit/>
          </a:bodyPr>
          <a:lstStyle/>
          <a:p>
            <a:r>
              <a:rPr lang="en-US" dirty="0">
                <a:solidFill>
                  <a:schemeClr val="bg1"/>
                </a:solidFill>
              </a:rPr>
              <a:t>Presented at  </a:t>
            </a:r>
            <a:r>
              <a:rPr lang="en-US" dirty="0" err="1">
                <a:solidFill>
                  <a:schemeClr val="bg1"/>
                </a:solidFill>
              </a:rPr>
              <a:t>Christianborg</a:t>
            </a:r>
            <a:endParaRPr lang="en-US" dirty="0">
              <a:solidFill>
                <a:schemeClr val="bg1"/>
              </a:solidFill>
            </a:endParaRPr>
          </a:p>
          <a:p>
            <a:r>
              <a:rPr lang="en-US" dirty="0">
                <a:solidFill>
                  <a:schemeClr val="bg1"/>
                </a:solidFill>
              </a:rPr>
              <a:t>25th marts 2019</a:t>
            </a:r>
          </a:p>
        </p:txBody>
      </p:sp>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692947">
            <a:off x="426271" y="208165"/>
            <a:ext cx="2484859" cy="3452121"/>
          </a:xfrm>
          <a:prstGeom prst="rect">
            <a:avLst/>
          </a:prstGeom>
          <a:ln>
            <a:solidFill>
              <a:schemeClr val="tx1"/>
            </a:solidFill>
          </a:ln>
        </p:spPr>
      </p:pic>
      <p:pic>
        <p:nvPicPr>
          <p:cNvPr id="8" name="Picture 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rot="21038322">
            <a:off x="2088775" y="3033168"/>
            <a:ext cx="2444601" cy="3650320"/>
          </a:xfrm>
          <a:prstGeom prst="rect">
            <a:avLst/>
          </a:prstGeom>
          <a:ln w="9525">
            <a:solidFill>
              <a:schemeClr val="tx1"/>
            </a:solidFill>
          </a:ln>
        </p:spPr>
      </p:pic>
      <p:sp>
        <p:nvSpPr>
          <p:cNvPr id="9" name="Rectangle 8"/>
          <p:cNvSpPr/>
          <p:nvPr/>
        </p:nvSpPr>
        <p:spPr>
          <a:xfrm>
            <a:off x="0" y="5445224"/>
            <a:ext cx="2807946" cy="584699"/>
          </a:xfrm>
          <a:prstGeom prst="rect">
            <a:avLst/>
          </a:prstGeom>
        </p:spPr>
        <p:txBody>
          <a:bodyPr wrap="square">
            <a:spAutoFit/>
          </a:bodyPr>
          <a:lstStyle/>
          <a:p>
            <a:r>
              <a:rPr lang="en-US" dirty="0">
                <a:solidFill>
                  <a:schemeClr val="bg1"/>
                </a:solidFill>
              </a:rPr>
              <a:t>EC Joint Research Centre, 2022</a:t>
            </a:r>
          </a:p>
        </p:txBody>
      </p:sp>
    </p:spTree>
    <p:extLst>
      <p:ext uri="{BB962C8B-B14F-4D97-AF65-F5344CB8AC3E}">
        <p14:creationId xmlns:p14="http://schemas.microsoft.com/office/powerpoint/2010/main" val="3106472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par>
                                <p:cTn id="14" presetID="10" presetClass="entr" presetSubtype="0"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4">
                                            <p:txEl>
                                              <p:pRg st="1" end="1"/>
                                            </p:txEl>
                                          </p:spTgt>
                                        </p:tgtEl>
                                        <p:attrNameLst>
                                          <p:attrName>style.visibility</p:attrName>
                                        </p:attrNameLst>
                                      </p:cBhvr>
                                      <p:to>
                                        <p:strVal val="visible"/>
                                      </p:to>
                                    </p:set>
                                    <p:animEffect transition="in" filter="fade">
                                      <p:cBhvr>
                                        <p:cTn id="21" dur="500"/>
                                        <p:tgtEl>
                                          <p:spTgt spid="4">
                                            <p:txEl>
                                              <p:pRg st="1" end="1"/>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4">
                                            <p:txEl>
                                              <p:pRg st="2" end="2"/>
                                            </p:txEl>
                                          </p:spTgt>
                                        </p:tgtEl>
                                        <p:attrNameLst>
                                          <p:attrName>style.visibility</p:attrName>
                                        </p:attrNameLst>
                                      </p:cBhvr>
                                      <p:to>
                                        <p:strVal val="visible"/>
                                      </p:to>
                                    </p:set>
                                    <p:animEffect transition="in" filter="fade">
                                      <p:cBhvr>
                                        <p:cTn id="26" dur="500"/>
                                        <p:tgtEl>
                                          <p:spTgt spid="4">
                                            <p:txEl>
                                              <p:pRg st="2" end="2"/>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4">
                                            <p:txEl>
                                              <p:pRg st="3" end="3"/>
                                            </p:txEl>
                                          </p:spTgt>
                                        </p:tgtEl>
                                        <p:attrNameLst>
                                          <p:attrName>style.visibility</p:attrName>
                                        </p:attrNameLst>
                                      </p:cBhvr>
                                      <p:to>
                                        <p:strVal val="visible"/>
                                      </p:to>
                                    </p:set>
                                    <p:animEffect transition="in" filter="fade">
                                      <p:cBhvr>
                                        <p:cTn id="31" dur="500"/>
                                        <p:tgtEl>
                                          <p:spTgt spid="4">
                                            <p:txEl>
                                              <p:pRg st="3" end="3"/>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4">
                                            <p:txEl>
                                              <p:pRg st="4" end="4"/>
                                            </p:txEl>
                                          </p:spTgt>
                                        </p:tgtEl>
                                        <p:attrNameLst>
                                          <p:attrName>style.visibility</p:attrName>
                                        </p:attrNameLst>
                                      </p:cBhvr>
                                      <p:to>
                                        <p:strVal val="visible"/>
                                      </p:to>
                                    </p:set>
                                    <p:animEffect transition="in" filter="fade">
                                      <p:cBhvr>
                                        <p:cTn id="36" dur="500"/>
                                        <p:tgtEl>
                                          <p:spTgt spid="4">
                                            <p:txEl>
                                              <p:pRg st="4" end="4"/>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4">
                                            <p:txEl>
                                              <p:pRg st="6" end="6"/>
                                            </p:txEl>
                                          </p:spTgt>
                                        </p:tgtEl>
                                        <p:attrNameLst>
                                          <p:attrName>style.visibility</p:attrName>
                                        </p:attrNameLst>
                                      </p:cBhvr>
                                      <p:to>
                                        <p:strVal val="visible"/>
                                      </p:to>
                                    </p:set>
                                    <p:animEffect transition="in" filter="fade">
                                      <p:cBhvr>
                                        <p:cTn id="41" dur="500"/>
                                        <p:tgtEl>
                                          <p:spTgt spid="4">
                                            <p:txEl>
                                              <p:pRg st="6" end="6"/>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4">
                                            <p:txEl>
                                              <p:pRg st="7" end="7"/>
                                            </p:txEl>
                                          </p:spTgt>
                                        </p:tgtEl>
                                        <p:attrNameLst>
                                          <p:attrName>style.visibility</p:attrName>
                                        </p:attrNameLst>
                                      </p:cBhvr>
                                      <p:to>
                                        <p:strVal val="visible"/>
                                      </p:to>
                                    </p:set>
                                    <p:animEffect transition="in" filter="fade">
                                      <p:cBhvr>
                                        <p:cTn id="46" dur="500"/>
                                        <p:tgtEl>
                                          <p:spTgt spid="4">
                                            <p:txEl>
                                              <p:pRg st="7" end="7"/>
                                            </p:txEl>
                                          </p:spTgt>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4">
                                            <p:txEl>
                                              <p:pRg st="8" end="8"/>
                                            </p:txEl>
                                          </p:spTgt>
                                        </p:tgtEl>
                                        <p:attrNameLst>
                                          <p:attrName>style.visibility</p:attrName>
                                        </p:attrNameLst>
                                      </p:cBhvr>
                                      <p:to>
                                        <p:strVal val="visible"/>
                                      </p:to>
                                    </p:set>
                                    <p:animEffect transition="in" filter="fade">
                                      <p:cBhvr>
                                        <p:cTn id="51" dur="500"/>
                                        <p:tgtEl>
                                          <p:spTgt spid="4">
                                            <p:txEl>
                                              <p:pRg st="8" end="8"/>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grpId="0" nodeType="clickEffect">
                                  <p:stCondLst>
                                    <p:cond delay="0"/>
                                  </p:stCondLst>
                                  <p:childTnLst>
                                    <p:set>
                                      <p:cBhvr>
                                        <p:cTn id="55" dur="1" fill="hold">
                                          <p:stCondLst>
                                            <p:cond delay="0"/>
                                          </p:stCondLst>
                                        </p:cTn>
                                        <p:tgtEl>
                                          <p:spTgt spid="4">
                                            <p:txEl>
                                              <p:pRg st="9" end="9"/>
                                            </p:txEl>
                                          </p:spTgt>
                                        </p:tgtEl>
                                        <p:attrNameLst>
                                          <p:attrName>style.visibility</p:attrName>
                                        </p:attrNameLst>
                                      </p:cBhvr>
                                      <p:to>
                                        <p:strVal val="visible"/>
                                      </p:to>
                                    </p:set>
                                    <p:animEffect transition="in" filter="fade">
                                      <p:cBhvr>
                                        <p:cTn id="56" dur="500"/>
                                        <p:tgtEl>
                                          <p:spTgt spid="4">
                                            <p:txEl>
                                              <p:pRg st="9" end="9"/>
                                            </p:txEl>
                                          </p:spTgt>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4">
                                            <p:txEl>
                                              <p:pRg st="10" end="10"/>
                                            </p:txEl>
                                          </p:spTgt>
                                        </p:tgtEl>
                                        <p:attrNameLst>
                                          <p:attrName>style.visibility</p:attrName>
                                        </p:attrNameLst>
                                      </p:cBhvr>
                                      <p:to>
                                        <p:strVal val="visible"/>
                                      </p:to>
                                    </p:set>
                                    <p:animEffect transition="in" filter="fade">
                                      <p:cBhvr>
                                        <p:cTn id="61" dur="500"/>
                                        <p:tgtEl>
                                          <p:spTgt spid="4">
                                            <p:txEl>
                                              <p:pRg st="10" end="1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4">
                                            <p:txEl>
                                              <p:pRg st="12" end="12"/>
                                            </p:txEl>
                                          </p:spTgt>
                                        </p:tgtEl>
                                        <p:attrNameLst>
                                          <p:attrName>style.visibility</p:attrName>
                                        </p:attrNameLst>
                                      </p:cBhvr>
                                      <p:to>
                                        <p:strVal val="visible"/>
                                      </p:to>
                                    </p:set>
                                    <p:animEffect transition="in" filter="fade">
                                      <p:cBhvr>
                                        <p:cTn id="66" dur="500"/>
                                        <p:tgtEl>
                                          <p:spTgt spid="4">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P spid="6" grpId="0"/>
      <p:bldP spid="9" grpId="0" uiExpand="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982638" y="160338"/>
            <a:ext cx="10774300" cy="708083"/>
          </a:xfrm>
        </p:spPr>
        <p:txBody>
          <a:bodyPr/>
          <a:lstStyle/>
          <a:p>
            <a:r>
              <a:rPr lang="en-US" sz="2900" dirty="0">
                <a:solidFill>
                  <a:schemeClr val="tx1"/>
                </a:solidFill>
              </a:rPr>
              <a:t>The EU Data Strategy– enabling data-driven prosperity in EU </a:t>
            </a:r>
            <a:endParaRPr lang="da-DK" sz="2900" dirty="0">
              <a:solidFill>
                <a:schemeClr val="tx1"/>
              </a:solidFill>
            </a:endParaRPr>
          </a:p>
        </p:txBody>
      </p:sp>
      <p:sp>
        <p:nvSpPr>
          <p:cNvPr id="3" name="Pladsholder til indhold 2"/>
          <p:cNvSpPr>
            <a:spLocks noGrp="1"/>
          </p:cNvSpPr>
          <p:nvPr>
            <p:ph sz="half" idx="1"/>
          </p:nvPr>
        </p:nvSpPr>
        <p:spPr>
          <a:xfrm>
            <a:off x="982638" y="1196752"/>
            <a:ext cx="10873208" cy="5184576"/>
          </a:xfrm>
        </p:spPr>
        <p:txBody>
          <a:bodyPr/>
          <a:lstStyle/>
          <a:p>
            <a:r>
              <a:rPr lang="en-US" sz="2000" dirty="0"/>
              <a:t>Europe is at the heart of a digital revolution affecting almost every domain of the economy, policies and citizens' lifestyles in general.</a:t>
            </a:r>
          </a:p>
          <a:p>
            <a:pPr marL="0" indent="0">
              <a:buNone/>
            </a:pPr>
            <a:endParaRPr lang="en-US" sz="2000" dirty="0"/>
          </a:p>
          <a:p>
            <a:r>
              <a:rPr lang="en-US" sz="2000" dirty="0"/>
              <a:t>Data is an essential resource for the green economy, competitiveness, innovation, job creation and societal progress; therefore, it is important to ensure that the digital transition will be sustainable and beneficial for all (Otto, ten </a:t>
            </a:r>
            <a:r>
              <a:rPr lang="en-US" sz="2000" dirty="0" err="1"/>
              <a:t>Hompel</a:t>
            </a:r>
            <a:r>
              <a:rPr lang="en-US" sz="2000" dirty="0"/>
              <a:t>, and Wrobel 2022)</a:t>
            </a:r>
          </a:p>
          <a:p>
            <a:endParaRPr lang="en-US" sz="2000" dirty="0"/>
          </a:p>
          <a:p>
            <a:r>
              <a:rPr lang="en-US" sz="2000" dirty="0"/>
              <a:t>Despite the exponential growth of data produced and the value potential they bear for society and the economy, the use of this data is suboptimal and therefore its value is not exploited. Three critical reasons:  </a:t>
            </a:r>
          </a:p>
          <a:p>
            <a:pPr marL="760500" lvl="2" indent="-342900">
              <a:buFont typeface="+mj-lt"/>
              <a:buAutoNum type="arabicPeriod"/>
            </a:pPr>
            <a:r>
              <a:rPr lang="en-US" sz="2000" dirty="0"/>
              <a:t>Lack of trust between data providers and data users</a:t>
            </a:r>
          </a:p>
          <a:p>
            <a:pPr marL="760500" lvl="2" indent="-342900">
              <a:buFont typeface="+mj-lt"/>
              <a:buAutoNum type="arabicPeriod"/>
            </a:pPr>
            <a:r>
              <a:rPr lang="en-US" sz="2000" dirty="0"/>
              <a:t>Regulatory and technical issues around reuse of public sector data and around collecting data for the common good </a:t>
            </a:r>
          </a:p>
          <a:p>
            <a:pPr marL="760500" lvl="2" indent="-342900">
              <a:buFont typeface="+mj-lt"/>
              <a:buAutoNum type="arabicPeriod"/>
            </a:pPr>
            <a:r>
              <a:rPr lang="en-US" sz="2000" dirty="0"/>
              <a:t>Limited accessibility and availability of data </a:t>
            </a:r>
          </a:p>
          <a:p>
            <a:endParaRPr lang="en-US" sz="2000" dirty="0"/>
          </a:p>
          <a:p>
            <a:endParaRPr lang="en-US" sz="2000" dirty="0"/>
          </a:p>
        </p:txBody>
      </p:sp>
      <p:sp>
        <p:nvSpPr>
          <p:cNvPr id="4" name="Pladsholder til sidefod 3"/>
          <p:cNvSpPr>
            <a:spLocks noGrp="1"/>
          </p:cNvSpPr>
          <p:nvPr>
            <p:ph type="ftr" sz="quarter" idx="10"/>
          </p:nvPr>
        </p:nvSpPr>
        <p:spPr/>
        <p:txBody>
          <a:bodyPr/>
          <a:lstStyle/>
          <a:p>
            <a:endParaRPr lang="da-DK" dirty="0"/>
          </a:p>
        </p:txBody>
      </p:sp>
      <p:sp>
        <p:nvSpPr>
          <p:cNvPr id="5" name="Pladsholder til slidenummer 4"/>
          <p:cNvSpPr>
            <a:spLocks noGrp="1"/>
          </p:cNvSpPr>
          <p:nvPr>
            <p:ph type="sldNum" sz="quarter" idx="11"/>
          </p:nvPr>
        </p:nvSpPr>
        <p:spPr/>
        <p:txBody>
          <a:bodyPr/>
          <a:lstStyle/>
          <a:p>
            <a:fld id="{103EA872-A674-449B-A120-B97244F8E91D}" type="slidenum">
              <a:rPr lang="da-DK" smtClean="0"/>
              <a:pPr/>
              <a:t>11</a:t>
            </a:fld>
            <a:endParaRPr lang="da-DK" dirty="0"/>
          </a:p>
        </p:txBody>
      </p:sp>
      <p:sp>
        <p:nvSpPr>
          <p:cNvPr id="14" name="AutoShape 2" descr="\\dfs.env.dtu.dk\ENV\Department\Administration\Formidling\Kommunikation\Institutpr%C3%A6sentation\SEESmedia-0552-Web.webp"/>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Tree>
    <p:extLst>
      <p:ext uri="{BB962C8B-B14F-4D97-AF65-F5344CB8AC3E}">
        <p14:creationId xmlns:p14="http://schemas.microsoft.com/office/powerpoint/2010/main" val="16698286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9" name="Straight Arrow Connector 38"/>
          <p:cNvCxnSpPr/>
          <p:nvPr/>
        </p:nvCxnSpPr>
        <p:spPr bwMode="auto">
          <a:xfrm>
            <a:off x="6234692" y="4765085"/>
            <a:ext cx="0" cy="371873"/>
          </a:xfrm>
          <a:prstGeom prst="straightConnector1">
            <a:avLst/>
          </a:prstGeom>
          <a:ln w="38100">
            <a:solidFill>
              <a:srgbClr val="008737"/>
            </a:solidFill>
            <a:headEnd type="none" w="med" len="med"/>
            <a:tailEnd type="triangle"/>
          </a:ln>
        </p:spPr>
        <p:style>
          <a:lnRef idx="1">
            <a:schemeClr val="accent3"/>
          </a:lnRef>
          <a:fillRef idx="0">
            <a:schemeClr val="accent3"/>
          </a:fillRef>
          <a:effectRef idx="0">
            <a:schemeClr val="accent3"/>
          </a:effectRef>
          <a:fontRef idx="minor">
            <a:schemeClr val="tx1"/>
          </a:fontRef>
        </p:style>
      </p:cxnSp>
      <p:sp>
        <p:nvSpPr>
          <p:cNvPr id="31" name="Rounded Rectangle 30"/>
          <p:cNvSpPr/>
          <p:nvPr/>
        </p:nvSpPr>
        <p:spPr bwMode="auto">
          <a:xfrm>
            <a:off x="6718320" y="3859612"/>
            <a:ext cx="3070435" cy="929639"/>
          </a:xfrm>
          <a:prstGeom prst="roundRect">
            <a:avLst/>
          </a:prstGeom>
          <a:solidFill>
            <a:schemeClr val="accent2">
              <a:lumMod val="50000"/>
            </a:schemeClr>
          </a:solidFill>
          <a:ln w="9525" cap="flat" cmpd="sng" algn="ctr">
            <a:solidFill>
              <a:srgbClr val="008737"/>
            </a:solidFill>
            <a:prstDash val="solid"/>
            <a:miter lim="800000"/>
            <a:headEnd type="none" w="med" len="med"/>
            <a:tailEnd type="none" w="med" len="me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ts val="432"/>
              </a:spcBef>
              <a:spcAft>
                <a:spcPct val="0"/>
              </a:spcAft>
              <a:buClrTx/>
              <a:buSzTx/>
              <a:buFontTx/>
              <a:buNone/>
              <a:tabLst/>
            </a:pPr>
            <a:endParaRPr kumimoji="0" lang="da-DK" sz="1600" b="0" i="0" u="none" strike="noStrike" cap="none" normalizeH="0" baseline="0" dirty="0" err="1">
              <a:ln>
                <a:noFill/>
              </a:ln>
              <a:solidFill>
                <a:schemeClr val="bg1"/>
              </a:solidFill>
              <a:effectLst/>
              <a:latin typeface="+mn-lt"/>
              <a:ea typeface="ＭＳ Ｐゴシック" pitchFamily="-80" charset="-128"/>
            </a:endParaRPr>
          </a:p>
        </p:txBody>
      </p:sp>
      <p:sp>
        <p:nvSpPr>
          <p:cNvPr id="22" name="Rounded Rectangle 21"/>
          <p:cNvSpPr/>
          <p:nvPr/>
        </p:nvSpPr>
        <p:spPr bwMode="auto">
          <a:xfrm>
            <a:off x="3585704" y="3873060"/>
            <a:ext cx="3077102" cy="902741"/>
          </a:xfrm>
          <a:prstGeom prst="roundRect">
            <a:avLst/>
          </a:prstGeom>
          <a:solidFill>
            <a:schemeClr val="accent2">
              <a:lumMod val="50000"/>
            </a:schemeClr>
          </a:solidFill>
          <a:ln w="9525" cap="flat" cmpd="sng" algn="ctr">
            <a:solidFill>
              <a:srgbClr val="008737"/>
            </a:solidFill>
            <a:prstDash val="solid"/>
            <a:miter lim="800000"/>
            <a:headEnd type="none" w="med" len="med"/>
            <a:tailEnd type="none" w="med" len="me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ts val="432"/>
              </a:spcBef>
              <a:spcAft>
                <a:spcPct val="0"/>
              </a:spcAft>
              <a:buClrTx/>
              <a:buSzTx/>
              <a:buFontTx/>
              <a:buNone/>
              <a:tabLst/>
            </a:pPr>
            <a:endParaRPr kumimoji="0" lang="da-DK" sz="1600" b="0" i="0" u="none" strike="noStrike" cap="none" normalizeH="0" baseline="0" dirty="0" err="1">
              <a:ln>
                <a:noFill/>
              </a:ln>
              <a:solidFill>
                <a:schemeClr val="bg1"/>
              </a:solidFill>
              <a:effectLst/>
              <a:latin typeface="+mn-lt"/>
              <a:ea typeface="ＭＳ Ｐゴシック" pitchFamily="-80" charset="-128"/>
            </a:endParaRPr>
          </a:p>
        </p:txBody>
      </p:sp>
      <p:sp>
        <p:nvSpPr>
          <p:cNvPr id="2" name="Titel 1"/>
          <p:cNvSpPr>
            <a:spLocks noGrp="1"/>
          </p:cNvSpPr>
          <p:nvPr>
            <p:ph type="title"/>
          </p:nvPr>
        </p:nvSpPr>
        <p:spPr>
          <a:xfrm>
            <a:off x="995223" y="429502"/>
            <a:ext cx="9312374" cy="410585"/>
          </a:xfrm>
        </p:spPr>
        <p:txBody>
          <a:bodyPr/>
          <a:lstStyle/>
          <a:p>
            <a:r>
              <a:rPr lang="en-US" dirty="0">
                <a:solidFill>
                  <a:schemeClr val="tx1"/>
                </a:solidFill>
              </a:rPr>
              <a:t>European Data Strategy: Why needed?</a:t>
            </a:r>
            <a:endParaRPr lang="da-DK" dirty="0">
              <a:solidFill>
                <a:schemeClr val="tx1"/>
              </a:solidFill>
            </a:endParaRPr>
          </a:p>
        </p:txBody>
      </p:sp>
      <p:sp>
        <p:nvSpPr>
          <p:cNvPr id="4" name="Pladsholder til sidefod 3"/>
          <p:cNvSpPr>
            <a:spLocks noGrp="1"/>
          </p:cNvSpPr>
          <p:nvPr>
            <p:ph type="ftr" sz="quarter" idx="10"/>
          </p:nvPr>
        </p:nvSpPr>
        <p:spPr>
          <a:xfrm>
            <a:off x="0" y="7421110"/>
            <a:ext cx="0" cy="0"/>
          </a:xfrm>
        </p:spPr>
        <p:txBody>
          <a:bodyPr/>
          <a:lstStyle/>
          <a:p>
            <a:endParaRPr lang="da-DK" dirty="0"/>
          </a:p>
        </p:txBody>
      </p:sp>
      <p:sp>
        <p:nvSpPr>
          <p:cNvPr id="5" name="Pladsholder til slidenummer 4"/>
          <p:cNvSpPr>
            <a:spLocks noGrp="1"/>
          </p:cNvSpPr>
          <p:nvPr>
            <p:ph type="sldNum" sz="quarter" idx="11"/>
          </p:nvPr>
        </p:nvSpPr>
        <p:spPr>
          <a:xfrm>
            <a:off x="11506450" y="6724593"/>
            <a:ext cx="432600" cy="316800"/>
          </a:xfrm>
        </p:spPr>
        <p:txBody>
          <a:bodyPr/>
          <a:lstStyle/>
          <a:p>
            <a:fld id="{103EA872-A674-449B-A120-B97244F8E91D}" type="slidenum">
              <a:rPr lang="da-DK" smtClean="0"/>
              <a:pPr/>
              <a:t>12</a:t>
            </a:fld>
            <a:endParaRPr lang="da-DK" dirty="0"/>
          </a:p>
        </p:txBody>
      </p:sp>
      <p:sp>
        <p:nvSpPr>
          <p:cNvPr id="8" name="Rounded Rectangle 7"/>
          <p:cNvSpPr/>
          <p:nvPr/>
        </p:nvSpPr>
        <p:spPr bwMode="auto">
          <a:xfrm>
            <a:off x="753738" y="1160577"/>
            <a:ext cx="2592288" cy="914400"/>
          </a:xfrm>
          <a:prstGeom prst="roundRect">
            <a:avLst/>
          </a:prstGeom>
          <a:solidFill>
            <a:srgbClr val="008737"/>
          </a:solidFill>
          <a:ln w="9525" cap="flat" cmpd="sng" algn="ctr">
            <a:solidFill>
              <a:srgbClr val="008737"/>
            </a:solidFill>
            <a:prstDash val="solid"/>
            <a:miter lim="800000"/>
            <a:headEnd type="none" w="med" len="med"/>
            <a:tailEnd type="none" w="med" len="me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lgn="ctr">
              <a:spcBef>
                <a:spcPts val="432"/>
              </a:spcBef>
            </a:pPr>
            <a:r>
              <a:rPr lang="en-US" sz="1800" dirty="0">
                <a:solidFill>
                  <a:schemeClr val="bg1"/>
                </a:solidFill>
              </a:rPr>
              <a:t>Low trust in data sharing  </a:t>
            </a:r>
            <a:endParaRPr lang="da-DK" sz="1800" dirty="0" err="1">
              <a:solidFill>
                <a:schemeClr val="bg1"/>
              </a:solidFill>
            </a:endParaRPr>
          </a:p>
        </p:txBody>
      </p:sp>
      <p:sp>
        <p:nvSpPr>
          <p:cNvPr id="9" name="Rounded Rectangle 8"/>
          <p:cNvSpPr/>
          <p:nvPr/>
        </p:nvSpPr>
        <p:spPr bwMode="auto">
          <a:xfrm>
            <a:off x="3997693" y="1147316"/>
            <a:ext cx="3528392" cy="914400"/>
          </a:xfrm>
          <a:prstGeom prst="roundRect">
            <a:avLst/>
          </a:prstGeom>
          <a:solidFill>
            <a:srgbClr val="008737"/>
          </a:solidFill>
          <a:ln w="9525" cap="flat" cmpd="sng" algn="ctr">
            <a:solidFill>
              <a:srgbClr val="008737"/>
            </a:solidFill>
            <a:prstDash val="solid"/>
            <a:miter lim="800000"/>
            <a:headEnd type="none" w="med" len="med"/>
            <a:tailEnd type="none" w="med" len="me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ts val="432"/>
              </a:spcBef>
              <a:spcAft>
                <a:spcPct val="0"/>
              </a:spcAft>
              <a:buClrTx/>
              <a:buSzTx/>
              <a:buFontTx/>
              <a:buNone/>
              <a:tabLst/>
            </a:pPr>
            <a:r>
              <a:rPr kumimoji="0" lang="en-US" sz="1800" b="0" i="0" u="none" strike="noStrike" cap="none" normalizeH="0" baseline="0" dirty="0">
                <a:ln>
                  <a:noFill/>
                </a:ln>
                <a:solidFill>
                  <a:srgbClr val="FFFFFF"/>
                </a:solidFill>
                <a:effectLst/>
                <a:latin typeface="+mn-lt"/>
                <a:ea typeface="ＭＳ Ｐゴシック" pitchFamily="-80" charset="-128"/>
              </a:rPr>
              <a:t>Issues around reuse of public sector data and collecting data</a:t>
            </a:r>
            <a:r>
              <a:rPr kumimoji="0" lang="en-US" sz="1800" b="0" i="0" u="none" strike="noStrike" cap="none" normalizeH="0" dirty="0">
                <a:ln>
                  <a:noFill/>
                </a:ln>
                <a:solidFill>
                  <a:srgbClr val="FFFFFF"/>
                </a:solidFill>
                <a:effectLst/>
                <a:latin typeface="+mn-lt"/>
                <a:ea typeface="ＭＳ Ｐゴシック" pitchFamily="-80" charset="-128"/>
              </a:rPr>
              <a:t> for the common good</a:t>
            </a:r>
            <a:r>
              <a:rPr kumimoji="0" lang="en-US" sz="1800" b="0" i="0" u="none" strike="noStrike" cap="none" normalizeH="0" baseline="0" dirty="0">
                <a:ln>
                  <a:noFill/>
                </a:ln>
                <a:solidFill>
                  <a:srgbClr val="FFFFFF"/>
                </a:solidFill>
                <a:effectLst/>
                <a:latin typeface="+mn-lt"/>
                <a:ea typeface="ＭＳ Ｐゴシック" pitchFamily="-80" charset="-128"/>
              </a:rPr>
              <a:t> </a:t>
            </a:r>
            <a:endParaRPr kumimoji="0" lang="da-DK" sz="1800" b="0" i="0" u="none" strike="noStrike" cap="none" normalizeH="0" baseline="0" dirty="0" err="1">
              <a:ln>
                <a:noFill/>
              </a:ln>
              <a:solidFill>
                <a:srgbClr val="FFFFFF"/>
              </a:solidFill>
              <a:effectLst/>
              <a:latin typeface="+mn-lt"/>
              <a:ea typeface="ＭＳ Ｐゴシック" pitchFamily="-80" charset="-128"/>
            </a:endParaRPr>
          </a:p>
        </p:txBody>
      </p:sp>
      <p:sp>
        <p:nvSpPr>
          <p:cNvPr id="12" name="Rounded Rectangle 11"/>
          <p:cNvSpPr/>
          <p:nvPr/>
        </p:nvSpPr>
        <p:spPr bwMode="auto">
          <a:xfrm>
            <a:off x="8291979" y="1155636"/>
            <a:ext cx="2952328" cy="914400"/>
          </a:xfrm>
          <a:prstGeom prst="roundRect">
            <a:avLst/>
          </a:prstGeom>
          <a:solidFill>
            <a:srgbClr val="008737"/>
          </a:solidFill>
          <a:ln w="9525" cap="flat" cmpd="sng" algn="ctr">
            <a:solidFill>
              <a:srgbClr val="008737"/>
            </a:solidFill>
            <a:prstDash val="solid"/>
            <a:miter lim="800000"/>
            <a:headEnd type="none" w="med" len="med"/>
            <a:tailEnd type="none" w="med" len="me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lgn="ctr">
              <a:spcBef>
                <a:spcPts val="432"/>
              </a:spcBef>
            </a:pPr>
            <a:r>
              <a:rPr lang="en-US" sz="1800" dirty="0">
                <a:solidFill>
                  <a:schemeClr val="bg1"/>
                </a:solidFill>
              </a:rPr>
              <a:t>Technical obstacles to data  reuse</a:t>
            </a:r>
            <a:endParaRPr lang="da-DK" sz="1800" dirty="0" err="1">
              <a:solidFill>
                <a:schemeClr val="bg1"/>
              </a:solidFill>
            </a:endParaRPr>
          </a:p>
        </p:txBody>
      </p:sp>
      <p:sp>
        <p:nvSpPr>
          <p:cNvPr id="16" name="Rounded Rectangle 15"/>
          <p:cNvSpPr/>
          <p:nvPr/>
        </p:nvSpPr>
        <p:spPr bwMode="auto">
          <a:xfrm>
            <a:off x="753738" y="2494392"/>
            <a:ext cx="10297856" cy="733366"/>
          </a:xfrm>
          <a:prstGeom prst="roundRect">
            <a:avLst/>
          </a:prstGeom>
          <a:solidFill>
            <a:schemeClr val="accent1"/>
          </a:solidFill>
          <a:ln w="9525" cap="flat" cmpd="sng" algn="ctr">
            <a:solidFill>
              <a:srgbClr val="008737"/>
            </a:solidFill>
            <a:prstDash val="solid"/>
            <a:miter lim="800000"/>
            <a:headEnd type="none" w="med" len="med"/>
            <a:tailEnd type="none" w="med" len="me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ts val="432"/>
              </a:spcBef>
              <a:spcAft>
                <a:spcPct val="0"/>
              </a:spcAft>
              <a:buClrTx/>
              <a:buSzTx/>
              <a:buFontTx/>
              <a:buNone/>
              <a:tabLst/>
            </a:pPr>
            <a:r>
              <a:rPr kumimoji="0" lang="en-US" sz="2400" b="0" i="0" u="none" strike="noStrike" cap="none" normalizeH="0" baseline="0" dirty="0">
                <a:ln>
                  <a:noFill/>
                </a:ln>
                <a:solidFill>
                  <a:srgbClr val="FFFFFF"/>
                </a:solidFill>
                <a:effectLst/>
                <a:latin typeface="+mn-lt"/>
                <a:ea typeface="ＭＳ Ｐゴシック" pitchFamily="-80" charset="-128"/>
              </a:rPr>
              <a:t>Limited</a:t>
            </a:r>
            <a:r>
              <a:rPr kumimoji="0" lang="en-US" sz="2400" b="0" i="0" u="none" strike="noStrike" cap="none" normalizeH="0" dirty="0">
                <a:ln>
                  <a:noFill/>
                </a:ln>
                <a:solidFill>
                  <a:srgbClr val="FFFFFF"/>
                </a:solidFill>
                <a:effectLst/>
                <a:latin typeface="+mn-lt"/>
                <a:ea typeface="ＭＳ Ｐゴシック" pitchFamily="-80" charset="-128"/>
              </a:rPr>
              <a:t> data sharing despite its economic and social potentials</a:t>
            </a:r>
            <a:endParaRPr kumimoji="0" lang="da-DK" sz="2400" b="0" i="0" u="none" strike="noStrike" cap="none" normalizeH="0" baseline="0" dirty="0" err="1">
              <a:ln>
                <a:noFill/>
              </a:ln>
              <a:solidFill>
                <a:srgbClr val="FFFFFF"/>
              </a:solidFill>
              <a:effectLst/>
              <a:latin typeface="+mn-lt"/>
              <a:ea typeface="ＭＳ Ｐゴシック" pitchFamily="-80" charset="-128"/>
            </a:endParaRPr>
          </a:p>
        </p:txBody>
      </p:sp>
      <p:grpSp>
        <p:nvGrpSpPr>
          <p:cNvPr id="11" name="Group 10"/>
          <p:cNvGrpSpPr/>
          <p:nvPr/>
        </p:nvGrpSpPr>
        <p:grpSpPr>
          <a:xfrm>
            <a:off x="406549" y="3846063"/>
            <a:ext cx="3131900" cy="919022"/>
            <a:chOff x="419875" y="3686178"/>
            <a:chExt cx="3131900" cy="968474"/>
          </a:xfrm>
        </p:grpSpPr>
        <p:sp>
          <p:nvSpPr>
            <p:cNvPr id="17" name="Rounded Rectangle 16"/>
            <p:cNvSpPr/>
            <p:nvPr/>
          </p:nvSpPr>
          <p:spPr bwMode="auto">
            <a:xfrm>
              <a:off x="419875" y="3686178"/>
              <a:ext cx="3131900" cy="968474"/>
            </a:xfrm>
            <a:prstGeom prst="roundRect">
              <a:avLst/>
            </a:prstGeom>
            <a:solidFill>
              <a:schemeClr val="accent2">
                <a:lumMod val="50000"/>
              </a:schemeClr>
            </a:solidFill>
            <a:ln w="9525" cap="flat" cmpd="sng" algn="ctr">
              <a:solidFill>
                <a:srgbClr val="008737"/>
              </a:solidFill>
              <a:prstDash val="solid"/>
              <a:miter lim="800000"/>
              <a:headEnd type="none" w="med" len="med"/>
              <a:tailEnd type="none" w="med" len="me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ts val="432"/>
                </a:spcBef>
                <a:spcAft>
                  <a:spcPct val="0"/>
                </a:spcAft>
                <a:buClrTx/>
                <a:buSzTx/>
                <a:buFontTx/>
                <a:buNone/>
                <a:tabLst/>
              </a:pPr>
              <a:endParaRPr kumimoji="0" lang="da-DK" sz="1600" b="0" i="0" u="none" strike="noStrike" cap="none" normalizeH="0" baseline="0" dirty="0" err="1">
                <a:ln>
                  <a:noFill/>
                </a:ln>
                <a:solidFill>
                  <a:srgbClr val="FFFFFF"/>
                </a:solidFill>
                <a:effectLst/>
                <a:latin typeface="+mn-lt"/>
                <a:ea typeface="ＭＳ Ｐゴシック" pitchFamily="-80" charset="-128"/>
              </a:endParaRPr>
            </a:p>
          </p:txBody>
        </p:sp>
        <p:sp>
          <p:nvSpPr>
            <p:cNvPr id="18" name="TextBox 17"/>
            <p:cNvSpPr txBox="1"/>
            <p:nvPr/>
          </p:nvSpPr>
          <p:spPr>
            <a:xfrm>
              <a:off x="430214" y="3874953"/>
              <a:ext cx="2986462" cy="553998"/>
            </a:xfrm>
            <a:prstGeom prst="rect">
              <a:avLst/>
            </a:prstGeom>
            <a:noFill/>
          </p:spPr>
          <p:txBody>
            <a:bodyPr wrap="square" lIns="0" tIns="0" rIns="0" bIns="0" rtlCol="0">
              <a:spAutoFit/>
            </a:bodyPr>
            <a:lstStyle/>
            <a:p>
              <a:pPr algn="ctr">
                <a:spcBef>
                  <a:spcPts val="432"/>
                </a:spcBef>
              </a:pPr>
              <a:r>
                <a:rPr lang="en-US" sz="1800" dirty="0">
                  <a:solidFill>
                    <a:schemeClr val="bg1"/>
                  </a:solidFill>
                  <a:latin typeface="+mn-lt"/>
                </a:rPr>
                <a:t>Consolidation of dominant market actors’ power </a:t>
              </a:r>
            </a:p>
          </p:txBody>
        </p:sp>
      </p:grpSp>
      <p:sp>
        <p:nvSpPr>
          <p:cNvPr id="19" name="Rounded Rectangle 18"/>
          <p:cNvSpPr/>
          <p:nvPr/>
        </p:nvSpPr>
        <p:spPr bwMode="auto">
          <a:xfrm>
            <a:off x="308869" y="5116854"/>
            <a:ext cx="1249833" cy="1081019"/>
          </a:xfrm>
          <a:prstGeom prst="roundRect">
            <a:avLst/>
          </a:prstGeom>
          <a:solidFill>
            <a:schemeClr val="accent2"/>
          </a:solidFill>
          <a:ln w="9525" cap="flat" cmpd="sng" algn="ctr">
            <a:solidFill>
              <a:srgbClr val="008737"/>
            </a:solidFill>
            <a:prstDash val="solid"/>
            <a:miter lim="800000"/>
            <a:headEnd type="none" w="med" len="med"/>
            <a:tailEnd type="none" w="med" len="me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ts val="432"/>
              </a:spcBef>
              <a:spcAft>
                <a:spcPct val="0"/>
              </a:spcAft>
              <a:buClrTx/>
              <a:buSzTx/>
              <a:buFontTx/>
              <a:buNone/>
              <a:tabLst/>
            </a:pPr>
            <a:r>
              <a:rPr kumimoji="0" lang="en-US" sz="1200" b="0" i="0" u="none" strike="noStrike" cap="none" normalizeH="0" baseline="0" dirty="0">
                <a:ln>
                  <a:noFill/>
                </a:ln>
                <a:solidFill>
                  <a:srgbClr val="FFFFFF"/>
                </a:solidFill>
                <a:effectLst/>
                <a:latin typeface="+mn-lt"/>
                <a:ea typeface="ＭＳ Ｐゴシック" pitchFamily="-80" charset="-128"/>
              </a:rPr>
              <a:t>Data intermediation services from dominant firms</a:t>
            </a:r>
            <a:endParaRPr kumimoji="0" lang="da-DK" sz="1200" b="0" i="0" u="none" strike="noStrike" cap="none" normalizeH="0" baseline="0" dirty="0" err="1">
              <a:ln>
                <a:noFill/>
              </a:ln>
              <a:solidFill>
                <a:srgbClr val="FFFFFF"/>
              </a:solidFill>
              <a:effectLst/>
              <a:latin typeface="+mn-lt"/>
              <a:ea typeface="ＭＳ Ｐゴシック" pitchFamily="-80" charset="-128"/>
            </a:endParaRPr>
          </a:p>
        </p:txBody>
      </p:sp>
      <p:sp>
        <p:nvSpPr>
          <p:cNvPr id="20" name="Rounded Rectangle 19"/>
          <p:cNvSpPr/>
          <p:nvPr/>
        </p:nvSpPr>
        <p:spPr bwMode="auto">
          <a:xfrm>
            <a:off x="1521560" y="5017886"/>
            <a:ext cx="1045254" cy="1035072"/>
          </a:xfrm>
          <a:prstGeom prst="roundRect">
            <a:avLst/>
          </a:prstGeom>
          <a:solidFill>
            <a:schemeClr val="accent2"/>
          </a:solidFill>
          <a:ln w="9525" cap="flat" cmpd="sng" algn="ctr">
            <a:solidFill>
              <a:srgbClr val="008737"/>
            </a:solidFill>
            <a:prstDash val="solid"/>
            <a:miter lim="800000"/>
            <a:headEnd type="none" w="med" len="med"/>
            <a:tailEnd type="none" w="med" len="me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ts val="432"/>
              </a:spcBef>
              <a:spcAft>
                <a:spcPct val="0"/>
              </a:spcAft>
              <a:buClrTx/>
              <a:buSzTx/>
              <a:buFontTx/>
              <a:buNone/>
              <a:tabLst/>
            </a:pPr>
            <a:r>
              <a:rPr lang="en-US" sz="1200" dirty="0">
                <a:solidFill>
                  <a:srgbClr val="FFFFFF"/>
                </a:solidFill>
                <a:latin typeface="+mn-lt"/>
              </a:rPr>
              <a:t>L</a:t>
            </a:r>
            <a:r>
              <a:rPr kumimoji="0" lang="en-US" sz="1200" b="0" i="0" u="none" strike="noStrike" cap="none" normalizeH="0" baseline="0" dirty="0">
                <a:ln>
                  <a:noFill/>
                </a:ln>
                <a:solidFill>
                  <a:srgbClr val="FFFFFF"/>
                </a:solidFill>
                <a:effectLst/>
                <a:latin typeface="+mn-lt"/>
                <a:ea typeface="ＭＳ Ｐゴシック" pitchFamily="-80" charset="-128"/>
              </a:rPr>
              <a:t>ack of competing offers and </a:t>
            </a:r>
            <a:r>
              <a:rPr kumimoji="0" lang="en-US" sz="1200" b="0" i="0" u="none" strike="noStrike" cap="none" normalizeH="0" dirty="0">
                <a:ln>
                  <a:noFill/>
                </a:ln>
                <a:solidFill>
                  <a:srgbClr val="FFFFFF"/>
                </a:solidFill>
                <a:effectLst/>
                <a:latin typeface="+mn-lt"/>
                <a:ea typeface="ＭＳ Ｐゴシック" pitchFamily="-80" charset="-128"/>
              </a:rPr>
              <a:t>harms to consumers</a:t>
            </a:r>
            <a:endParaRPr kumimoji="0" lang="da-DK" sz="1200" b="0" i="0" u="none" strike="noStrike" cap="none" normalizeH="0" baseline="0" dirty="0" err="1">
              <a:ln>
                <a:noFill/>
              </a:ln>
              <a:solidFill>
                <a:srgbClr val="FFFFFF"/>
              </a:solidFill>
              <a:effectLst/>
              <a:latin typeface="+mn-lt"/>
              <a:ea typeface="ＭＳ Ｐゴシック" pitchFamily="-80" charset="-128"/>
            </a:endParaRPr>
          </a:p>
        </p:txBody>
      </p:sp>
      <p:sp>
        <p:nvSpPr>
          <p:cNvPr id="21" name="Rounded Rectangle 20"/>
          <p:cNvSpPr/>
          <p:nvPr/>
        </p:nvSpPr>
        <p:spPr bwMode="auto">
          <a:xfrm>
            <a:off x="2486895" y="5197761"/>
            <a:ext cx="1133120" cy="1293985"/>
          </a:xfrm>
          <a:prstGeom prst="roundRect">
            <a:avLst/>
          </a:prstGeom>
          <a:solidFill>
            <a:schemeClr val="accent2"/>
          </a:solidFill>
          <a:ln w="9525" cap="flat" cmpd="sng" algn="ctr">
            <a:solidFill>
              <a:srgbClr val="008737"/>
            </a:solidFill>
            <a:prstDash val="solid"/>
            <a:miter lim="800000"/>
            <a:headEnd type="none" w="med" len="med"/>
            <a:tailEnd type="none" w="med" len="me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ts val="432"/>
              </a:spcBef>
              <a:spcAft>
                <a:spcPct val="0"/>
              </a:spcAft>
              <a:buClrTx/>
              <a:buSzTx/>
              <a:buFontTx/>
              <a:buNone/>
              <a:tabLst/>
            </a:pPr>
            <a:r>
              <a:rPr lang="en-US" sz="1200" dirty="0">
                <a:solidFill>
                  <a:srgbClr val="FFFFFF"/>
                </a:solidFill>
                <a:latin typeface="+mn-lt"/>
              </a:rPr>
              <a:t>SMEs not engaged in data sharing due to transaction costs  </a:t>
            </a:r>
            <a:endParaRPr kumimoji="0" lang="da-DK" sz="1200" b="0" i="0" u="none" strike="noStrike" cap="none" normalizeH="0" baseline="0" dirty="0" err="1">
              <a:ln>
                <a:noFill/>
              </a:ln>
              <a:solidFill>
                <a:srgbClr val="FFFFFF"/>
              </a:solidFill>
              <a:effectLst/>
              <a:latin typeface="+mn-lt"/>
            </a:endParaRPr>
          </a:p>
        </p:txBody>
      </p:sp>
      <p:sp>
        <p:nvSpPr>
          <p:cNvPr id="24" name="Rounded Rectangle 23"/>
          <p:cNvSpPr/>
          <p:nvPr/>
        </p:nvSpPr>
        <p:spPr bwMode="auto">
          <a:xfrm>
            <a:off x="3728766" y="5116854"/>
            <a:ext cx="1193930" cy="1257943"/>
          </a:xfrm>
          <a:prstGeom prst="roundRect">
            <a:avLst/>
          </a:prstGeom>
          <a:solidFill>
            <a:schemeClr val="accent2"/>
          </a:solidFill>
          <a:ln w="9525" cap="flat" cmpd="sng" algn="ctr">
            <a:solidFill>
              <a:srgbClr val="008737"/>
            </a:solidFill>
            <a:prstDash val="solid"/>
            <a:miter lim="800000"/>
            <a:headEnd type="none" w="med" len="med"/>
            <a:tailEnd type="none" w="med" len="me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ts val="432"/>
              </a:spcBef>
              <a:spcAft>
                <a:spcPct val="0"/>
              </a:spcAft>
              <a:buClrTx/>
              <a:buSzTx/>
              <a:buFontTx/>
              <a:buNone/>
              <a:tabLst/>
            </a:pPr>
            <a:r>
              <a:rPr lang="en-US" sz="1200" dirty="0">
                <a:solidFill>
                  <a:srgbClr val="FFFFFF"/>
                </a:solidFill>
                <a:latin typeface="+mn-lt"/>
              </a:rPr>
              <a:t>Unfulfilled potential for innovation and technology development</a:t>
            </a:r>
            <a:endParaRPr kumimoji="0" lang="da-DK" sz="1200" b="0" i="0" u="none" strike="noStrike" cap="none" normalizeH="0" baseline="0" dirty="0" err="1">
              <a:ln>
                <a:noFill/>
              </a:ln>
              <a:solidFill>
                <a:srgbClr val="FFFFFF"/>
              </a:solidFill>
              <a:effectLst/>
              <a:latin typeface="+mn-lt"/>
            </a:endParaRPr>
          </a:p>
        </p:txBody>
      </p:sp>
      <p:sp>
        <p:nvSpPr>
          <p:cNvPr id="25" name="Rounded Rectangle 24"/>
          <p:cNvSpPr/>
          <p:nvPr/>
        </p:nvSpPr>
        <p:spPr bwMode="auto">
          <a:xfrm>
            <a:off x="4867763" y="5038042"/>
            <a:ext cx="1094487" cy="1138418"/>
          </a:xfrm>
          <a:prstGeom prst="roundRect">
            <a:avLst/>
          </a:prstGeom>
          <a:solidFill>
            <a:srgbClr val="2F3EEA"/>
          </a:solidFill>
          <a:ln w="9525" cap="flat" cmpd="sng" algn="ctr">
            <a:solidFill>
              <a:srgbClr val="008737"/>
            </a:solidFill>
            <a:prstDash val="solid"/>
            <a:miter lim="800000"/>
            <a:headEnd type="none" w="med" len="med"/>
            <a:tailEnd type="none" w="med" len="me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ts val="432"/>
              </a:spcBef>
              <a:spcAft>
                <a:spcPct val="0"/>
              </a:spcAft>
              <a:buClrTx/>
              <a:buSzTx/>
              <a:buFontTx/>
              <a:buNone/>
              <a:tabLst/>
            </a:pPr>
            <a:r>
              <a:rPr lang="en-US" sz="1200" dirty="0">
                <a:solidFill>
                  <a:srgbClr val="FFFFFF"/>
                </a:solidFill>
                <a:latin typeface="+mn-lt"/>
              </a:rPr>
              <a:t>Insufficient offer of data-based services and products</a:t>
            </a:r>
            <a:endParaRPr kumimoji="0" lang="da-DK" sz="1200" b="0" i="0" u="none" strike="noStrike" cap="none" normalizeH="0" baseline="0" dirty="0" err="1">
              <a:ln>
                <a:noFill/>
              </a:ln>
              <a:solidFill>
                <a:srgbClr val="FFFFFF"/>
              </a:solidFill>
              <a:effectLst/>
              <a:latin typeface="+mn-lt"/>
            </a:endParaRPr>
          </a:p>
        </p:txBody>
      </p:sp>
      <p:sp>
        <p:nvSpPr>
          <p:cNvPr id="26" name="Rounded Rectangle 25"/>
          <p:cNvSpPr/>
          <p:nvPr/>
        </p:nvSpPr>
        <p:spPr bwMode="auto">
          <a:xfrm>
            <a:off x="5925183" y="5100102"/>
            <a:ext cx="1047686" cy="977849"/>
          </a:xfrm>
          <a:prstGeom prst="roundRect">
            <a:avLst/>
          </a:prstGeom>
          <a:solidFill>
            <a:srgbClr val="2F3EEA"/>
          </a:solidFill>
          <a:ln w="9525" cap="flat" cmpd="sng" algn="ctr">
            <a:solidFill>
              <a:srgbClr val="008737"/>
            </a:solidFill>
            <a:prstDash val="solid"/>
            <a:miter lim="800000"/>
            <a:headEnd type="none" w="med" len="med"/>
            <a:tailEnd type="none" w="med" len="me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ts val="432"/>
              </a:spcBef>
              <a:spcAft>
                <a:spcPct val="0"/>
              </a:spcAft>
              <a:buClrTx/>
              <a:buSzTx/>
              <a:buFontTx/>
              <a:buNone/>
              <a:tabLst/>
            </a:pPr>
            <a:r>
              <a:rPr kumimoji="0" lang="en-US" sz="1200" b="0" i="0" u="none" strike="noStrike" cap="none" normalizeH="0" baseline="0" dirty="0">
                <a:ln>
                  <a:noFill/>
                </a:ln>
                <a:solidFill>
                  <a:srgbClr val="FFFFFF"/>
                </a:solidFill>
                <a:effectLst/>
                <a:latin typeface="+mn-lt"/>
              </a:rPr>
              <a:t>Less job</a:t>
            </a:r>
            <a:r>
              <a:rPr kumimoji="0" lang="en-US" sz="1200" b="0" i="0" u="none" strike="noStrike" cap="none" normalizeH="0" dirty="0">
                <a:ln>
                  <a:noFill/>
                </a:ln>
                <a:solidFill>
                  <a:srgbClr val="FFFFFF"/>
                </a:solidFill>
                <a:effectLst/>
                <a:latin typeface="+mn-lt"/>
              </a:rPr>
              <a:t> creation: stagnation of data economy</a:t>
            </a:r>
            <a:endParaRPr kumimoji="0" lang="da-DK" sz="1200" b="0" i="0" u="none" strike="noStrike" cap="none" normalizeH="0" baseline="0" dirty="0" err="1">
              <a:ln>
                <a:noFill/>
              </a:ln>
              <a:solidFill>
                <a:srgbClr val="FFFFFF"/>
              </a:solidFill>
              <a:effectLst/>
              <a:latin typeface="+mn-lt"/>
            </a:endParaRPr>
          </a:p>
        </p:txBody>
      </p:sp>
      <p:sp>
        <p:nvSpPr>
          <p:cNvPr id="27" name="TextBox 26"/>
          <p:cNvSpPr txBox="1"/>
          <p:nvPr/>
        </p:nvSpPr>
        <p:spPr>
          <a:xfrm>
            <a:off x="3749638" y="4003095"/>
            <a:ext cx="2815970" cy="553998"/>
          </a:xfrm>
          <a:prstGeom prst="rect">
            <a:avLst/>
          </a:prstGeom>
          <a:noFill/>
        </p:spPr>
        <p:txBody>
          <a:bodyPr wrap="square" lIns="0" tIns="0" rIns="0" bIns="0" rtlCol="0">
            <a:spAutoFit/>
          </a:bodyPr>
          <a:lstStyle/>
          <a:p>
            <a:pPr algn="ctr">
              <a:spcBef>
                <a:spcPts val="432"/>
              </a:spcBef>
            </a:pPr>
            <a:r>
              <a:rPr lang="en-US" sz="1800" dirty="0">
                <a:solidFill>
                  <a:schemeClr val="bg1"/>
                </a:solidFill>
                <a:latin typeface="+mn-lt"/>
              </a:rPr>
              <a:t>Full economic and societal value is not unlocked </a:t>
            </a:r>
            <a:endParaRPr lang="da-DK" sz="1800" dirty="0" err="1">
              <a:solidFill>
                <a:schemeClr val="bg1"/>
              </a:solidFill>
              <a:latin typeface="+mn-lt"/>
            </a:endParaRPr>
          </a:p>
        </p:txBody>
      </p:sp>
      <p:sp>
        <p:nvSpPr>
          <p:cNvPr id="29" name="Rounded Rectangle 28"/>
          <p:cNvSpPr/>
          <p:nvPr/>
        </p:nvSpPr>
        <p:spPr bwMode="auto">
          <a:xfrm>
            <a:off x="7099165" y="5172664"/>
            <a:ext cx="1337870" cy="1213740"/>
          </a:xfrm>
          <a:prstGeom prst="roundRect">
            <a:avLst/>
          </a:prstGeom>
          <a:solidFill>
            <a:srgbClr val="2F3EEA"/>
          </a:solidFill>
          <a:ln w="9525" cap="flat" cmpd="sng" algn="ctr">
            <a:solidFill>
              <a:srgbClr val="008737"/>
            </a:solidFill>
            <a:prstDash val="solid"/>
            <a:miter lim="800000"/>
            <a:headEnd type="none" w="med" len="med"/>
            <a:tailEnd type="none" w="med" len="me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ts val="432"/>
              </a:spcBef>
              <a:spcAft>
                <a:spcPct val="0"/>
              </a:spcAft>
              <a:buClrTx/>
              <a:buSzTx/>
              <a:buFontTx/>
              <a:buNone/>
              <a:tabLst/>
            </a:pPr>
            <a:r>
              <a:rPr lang="en-US" sz="1200" dirty="0">
                <a:solidFill>
                  <a:srgbClr val="FFFFFF"/>
                </a:solidFill>
                <a:latin typeface="+mn-lt"/>
              </a:rPr>
              <a:t>Internal market not fully developed and economy of scale not achieved </a:t>
            </a:r>
            <a:endParaRPr kumimoji="0" lang="da-DK" sz="1200" b="0" i="0" u="none" strike="noStrike" cap="none" normalizeH="0" baseline="0" dirty="0" err="1">
              <a:ln>
                <a:noFill/>
              </a:ln>
              <a:solidFill>
                <a:srgbClr val="FFFFFF"/>
              </a:solidFill>
              <a:effectLst/>
              <a:latin typeface="+mn-lt"/>
            </a:endParaRPr>
          </a:p>
        </p:txBody>
      </p:sp>
      <p:sp>
        <p:nvSpPr>
          <p:cNvPr id="30" name="Rounded Rectangle 29"/>
          <p:cNvSpPr/>
          <p:nvPr/>
        </p:nvSpPr>
        <p:spPr bwMode="auto">
          <a:xfrm>
            <a:off x="8431288" y="5211106"/>
            <a:ext cx="1207448" cy="1190928"/>
          </a:xfrm>
          <a:prstGeom prst="roundRect">
            <a:avLst/>
          </a:prstGeom>
          <a:solidFill>
            <a:srgbClr val="2F3EEA"/>
          </a:solidFill>
          <a:ln w="9525" cap="flat" cmpd="sng" algn="ctr">
            <a:solidFill>
              <a:srgbClr val="008737"/>
            </a:solidFill>
            <a:prstDash val="solid"/>
            <a:miter lim="800000"/>
            <a:headEnd type="none" w="med" len="med"/>
            <a:tailEnd type="none" w="med" len="me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ts val="432"/>
              </a:spcBef>
              <a:spcAft>
                <a:spcPct val="0"/>
              </a:spcAft>
              <a:buClrTx/>
              <a:buSzTx/>
              <a:buFontTx/>
              <a:buNone/>
              <a:tabLst/>
            </a:pPr>
            <a:r>
              <a:rPr lang="en-US" sz="1200" dirty="0">
                <a:solidFill>
                  <a:srgbClr val="FFFFFF"/>
                </a:solidFill>
                <a:latin typeface="+mn-lt"/>
              </a:rPr>
              <a:t>No EU-wide data-driven products, services and research available</a:t>
            </a:r>
            <a:endParaRPr kumimoji="0" lang="da-DK" sz="1200" b="0" i="0" u="none" strike="noStrike" cap="none" normalizeH="0" baseline="0" dirty="0" err="1">
              <a:ln>
                <a:noFill/>
              </a:ln>
              <a:solidFill>
                <a:srgbClr val="FFFFFF"/>
              </a:solidFill>
              <a:effectLst/>
              <a:latin typeface="+mn-lt"/>
            </a:endParaRPr>
          </a:p>
        </p:txBody>
      </p:sp>
      <p:sp>
        <p:nvSpPr>
          <p:cNvPr id="32" name="TextBox 31"/>
          <p:cNvSpPr txBox="1"/>
          <p:nvPr/>
        </p:nvSpPr>
        <p:spPr>
          <a:xfrm>
            <a:off x="6818446" y="3910315"/>
            <a:ext cx="2820290" cy="830997"/>
          </a:xfrm>
          <a:prstGeom prst="rect">
            <a:avLst/>
          </a:prstGeom>
          <a:noFill/>
        </p:spPr>
        <p:txBody>
          <a:bodyPr wrap="square" lIns="0" tIns="0" rIns="0" bIns="0" rtlCol="0">
            <a:spAutoFit/>
          </a:bodyPr>
          <a:lstStyle/>
          <a:p>
            <a:pPr algn="ctr">
              <a:spcBef>
                <a:spcPts val="432"/>
              </a:spcBef>
            </a:pPr>
            <a:r>
              <a:rPr lang="en-US" sz="1800" dirty="0">
                <a:solidFill>
                  <a:schemeClr val="bg1"/>
                </a:solidFill>
                <a:latin typeface="+mn-lt"/>
              </a:rPr>
              <a:t>Lack of cross-border data driven innovation, products and services  </a:t>
            </a:r>
            <a:endParaRPr lang="da-DK" sz="1800" dirty="0" err="1">
              <a:solidFill>
                <a:schemeClr val="bg1"/>
              </a:solidFill>
              <a:latin typeface="+mn-lt"/>
            </a:endParaRPr>
          </a:p>
        </p:txBody>
      </p:sp>
      <p:sp>
        <p:nvSpPr>
          <p:cNvPr id="28" name="Rounded Rectangle 27"/>
          <p:cNvSpPr/>
          <p:nvPr/>
        </p:nvSpPr>
        <p:spPr bwMode="auto">
          <a:xfrm>
            <a:off x="9829569" y="3836661"/>
            <a:ext cx="2255727" cy="939140"/>
          </a:xfrm>
          <a:prstGeom prst="roundRect">
            <a:avLst/>
          </a:prstGeom>
          <a:solidFill>
            <a:schemeClr val="accent2">
              <a:lumMod val="50000"/>
            </a:schemeClr>
          </a:solidFill>
          <a:ln w="9525" cap="flat" cmpd="sng" algn="ctr">
            <a:solidFill>
              <a:srgbClr val="008737"/>
            </a:solidFill>
            <a:prstDash val="solid"/>
            <a:miter lim="800000"/>
            <a:headEnd type="none" w="med" len="med"/>
            <a:tailEnd type="none" w="med" len="me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ts val="432"/>
              </a:spcBef>
              <a:spcAft>
                <a:spcPct val="0"/>
              </a:spcAft>
              <a:buClrTx/>
              <a:buSzTx/>
              <a:buFontTx/>
              <a:buNone/>
              <a:tabLst/>
            </a:pPr>
            <a:r>
              <a:rPr kumimoji="0" lang="en-US" sz="1800" b="0" i="0" u="none" strike="noStrike" cap="none" normalizeH="0" baseline="0" dirty="0">
                <a:ln>
                  <a:noFill/>
                </a:ln>
                <a:solidFill>
                  <a:schemeClr val="bg1"/>
                </a:solidFill>
                <a:effectLst/>
                <a:latin typeface="+mn-lt"/>
                <a:ea typeface="ＭＳ Ｐゴシック" pitchFamily="-80" charset="-128"/>
              </a:rPr>
              <a:t>Dependency on third countries</a:t>
            </a:r>
            <a:endParaRPr kumimoji="0" lang="da-DK" sz="1800" b="0" i="0" u="none" strike="noStrike" cap="none" normalizeH="0" baseline="0" dirty="0" err="1">
              <a:ln>
                <a:noFill/>
              </a:ln>
              <a:solidFill>
                <a:schemeClr val="bg1"/>
              </a:solidFill>
              <a:effectLst/>
              <a:latin typeface="+mn-lt"/>
              <a:ea typeface="ＭＳ Ｐゴシック" pitchFamily="-80" charset="-128"/>
            </a:endParaRPr>
          </a:p>
        </p:txBody>
      </p:sp>
      <p:sp>
        <p:nvSpPr>
          <p:cNvPr id="33" name="Rounded Rectangle 32"/>
          <p:cNvSpPr/>
          <p:nvPr/>
        </p:nvSpPr>
        <p:spPr bwMode="auto">
          <a:xfrm>
            <a:off x="9805304" y="5179539"/>
            <a:ext cx="1152128" cy="1326173"/>
          </a:xfrm>
          <a:prstGeom prst="roundRect">
            <a:avLst/>
          </a:prstGeom>
          <a:solidFill>
            <a:schemeClr val="accent2"/>
          </a:solidFill>
          <a:ln w="9525" cap="flat" cmpd="sng" algn="ctr">
            <a:solidFill>
              <a:srgbClr val="008737"/>
            </a:solidFill>
            <a:prstDash val="solid"/>
            <a:miter lim="800000"/>
            <a:headEnd type="none" w="med" len="med"/>
            <a:tailEnd type="none" w="med" len="me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ts val="432"/>
              </a:spcBef>
              <a:spcAft>
                <a:spcPct val="0"/>
              </a:spcAft>
              <a:buClrTx/>
              <a:buSzTx/>
              <a:buFontTx/>
              <a:buNone/>
              <a:tabLst/>
            </a:pPr>
            <a:r>
              <a:rPr kumimoji="0" lang="en-US" sz="1200" b="0" i="0" u="none" strike="noStrike" cap="none" normalizeH="0" baseline="0" dirty="0">
                <a:ln>
                  <a:noFill/>
                </a:ln>
                <a:solidFill>
                  <a:srgbClr val="FFFFFF"/>
                </a:solidFill>
                <a:effectLst/>
                <a:latin typeface="+mn-lt"/>
              </a:rPr>
              <a:t>Data and AI R&amp;D</a:t>
            </a:r>
            <a:r>
              <a:rPr kumimoji="0" lang="en-US" sz="1200" b="0" i="0" u="none" strike="noStrike" cap="none" normalizeH="0" dirty="0">
                <a:ln>
                  <a:noFill/>
                </a:ln>
                <a:solidFill>
                  <a:srgbClr val="FFFFFF"/>
                </a:solidFill>
                <a:effectLst/>
                <a:latin typeface="+mn-lt"/>
              </a:rPr>
              <a:t>  move abroad where  rules are less</a:t>
            </a:r>
            <a:endParaRPr kumimoji="0" lang="da-DK" sz="1200" b="0" i="0" u="none" strike="noStrike" cap="none" normalizeH="0" baseline="0" dirty="0" err="1">
              <a:ln>
                <a:noFill/>
              </a:ln>
              <a:solidFill>
                <a:srgbClr val="FFFFFF"/>
              </a:solidFill>
              <a:effectLst/>
              <a:latin typeface="+mn-lt"/>
            </a:endParaRPr>
          </a:p>
        </p:txBody>
      </p:sp>
      <p:sp>
        <p:nvSpPr>
          <p:cNvPr id="34" name="Rounded Rectangle 33"/>
          <p:cNvSpPr/>
          <p:nvPr/>
        </p:nvSpPr>
        <p:spPr bwMode="auto">
          <a:xfrm>
            <a:off x="10910817" y="5004758"/>
            <a:ext cx="1249775" cy="1310046"/>
          </a:xfrm>
          <a:prstGeom prst="roundRect">
            <a:avLst/>
          </a:prstGeom>
          <a:solidFill>
            <a:schemeClr val="accent2"/>
          </a:solidFill>
          <a:ln w="9525" cap="flat" cmpd="sng" algn="ctr">
            <a:solidFill>
              <a:srgbClr val="008737"/>
            </a:solidFill>
            <a:prstDash val="solid"/>
            <a:miter lim="800000"/>
            <a:headEnd type="none" w="med" len="med"/>
            <a:tailEnd type="none" w="med" len="me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ts val="432"/>
              </a:spcBef>
              <a:spcAft>
                <a:spcPct val="0"/>
              </a:spcAft>
              <a:buClrTx/>
              <a:buSzTx/>
              <a:buFontTx/>
              <a:buNone/>
              <a:tabLst/>
            </a:pPr>
            <a:r>
              <a:rPr kumimoji="0" lang="en-US" sz="1200" b="0" i="0" u="none" strike="noStrike" cap="none" normalizeH="0" baseline="0" dirty="0">
                <a:ln>
                  <a:noFill/>
                </a:ln>
                <a:solidFill>
                  <a:srgbClr val="FFFFFF"/>
                </a:solidFill>
                <a:effectLst/>
                <a:latin typeface="+mn-lt"/>
              </a:rPr>
              <a:t>Brain drain of professionals,</a:t>
            </a:r>
            <a:r>
              <a:rPr kumimoji="0" lang="en-US" sz="1200" b="0" i="0" u="none" strike="noStrike" cap="none" normalizeH="0" dirty="0">
                <a:ln>
                  <a:noFill/>
                </a:ln>
                <a:solidFill>
                  <a:srgbClr val="FFFFFF"/>
                </a:solidFill>
                <a:effectLst/>
                <a:latin typeface="+mn-lt"/>
              </a:rPr>
              <a:t> researchers and companies</a:t>
            </a:r>
            <a:endParaRPr kumimoji="0" lang="da-DK" sz="1200" b="0" i="0" u="none" strike="noStrike" cap="none" normalizeH="0" baseline="0" dirty="0" err="1">
              <a:ln>
                <a:noFill/>
              </a:ln>
              <a:solidFill>
                <a:srgbClr val="FFFFFF"/>
              </a:solidFill>
              <a:effectLst/>
              <a:latin typeface="+mn-lt"/>
            </a:endParaRPr>
          </a:p>
        </p:txBody>
      </p:sp>
      <p:cxnSp>
        <p:nvCxnSpPr>
          <p:cNvPr id="7" name="Straight Arrow Connector 6"/>
          <p:cNvCxnSpPr/>
          <p:nvPr/>
        </p:nvCxnSpPr>
        <p:spPr bwMode="auto">
          <a:xfrm>
            <a:off x="1774726" y="2002209"/>
            <a:ext cx="0" cy="432944"/>
          </a:xfrm>
          <a:prstGeom prst="straightConnector1">
            <a:avLst/>
          </a:prstGeom>
          <a:ln w="38100">
            <a:solidFill>
              <a:srgbClr val="008737"/>
            </a:solidFill>
            <a:headEnd type="none" w="med" len="med"/>
            <a:tailEnd type="triangle"/>
          </a:ln>
        </p:spPr>
        <p:style>
          <a:lnRef idx="1">
            <a:schemeClr val="accent3"/>
          </a:lnRef>
          <a:fillRef idx="0">
            <a:schemeClr val="accent3"/>
          </a:fillRef>
          <a:effectRef idx="0">
            <a:schemeClr val="accent3"/>
          </a:effectRef>
          <a:fontRef idx="minor">
            <a:schemeClr val="tx1"/>
          </a:fontRef>
        </p:style>
      </p:cxnSp>
      <p:cxnSp>
        <p:nvCxnSpPr>
          <p:cNvPr id="35" name="Straight Arrow Connector 34"/>
          <p:cNvCxnSpPr/>
          <p:nvPr/>
        </p:nvCxnSpPr>
        <p:spPr bwMode="auto">
          <a:xfrm>
            <a:off x="5738500" y="2063280"/>
            <a:ext cx="0" cy="371873"/>
          </a:xfrm>
          <a:prstGeom prst="straightConnector1">
            <a:avLst/>
          </a:prstGeom>
          <a:ln w="38100">
            <a:solidFill>
              <a:srgbClr val="008737"/>
            </a:solidFill>
            <a:headEnd type="none" w="med" len="med"/>
            <a:tailEnd type="triangle"/>
          </a:ln>
        </p:spPr>
        <p:style>
          <a:lnRef idx="1">
            <a:schemeClr val="accent3"/>
          </a:lnRef>
          <a:fillRef idx="0">
            <a:schemeClr val="accent3"/>
          </a:fillRef>
          <a:effectRef idx="0">
            <a:schemeClr val="accent3"/>
          </a:effectRef>
          <a:fontRef idx="minor">
            <a:schemeClr val="tx1"/>
          </a:fontRef>
        </p:style>
      </p:cxnSp>
      <p:cxnSp>
        <p:nvCxnSpPr>
          <p:cNvPr id="36" name="Straight Arrow Connector 35"/>
          <p:cNvCxnSpPr/>
          <p:nvPr/>
        </p:nvCxnSpPr>
        <p:spPr bwMode="auto">
          <a:xfrm>
            <a:off x="9911630" y="2018555"/>
            <a:ext cx="0" cy="461325"/>
          </a:xfrm>
          <a:prstGeom prst="straightConnector1">
            <a:avLst/>
          </a:prstGeom>
          <a:ln w="38100">
            <a:solidFill>
              <a:srgbClr val="008737"/>
            </a:solidFill>
            <a:headEnd type="none" w="med" len="med"/>
            <a:tailEnd type="triangle"/>
          </a:ln>
        </p:spPr>
        <p:style>
          <a:lnRef idx="1">
            <a:schemeClr val="accent3"/>
          </a:lnRef>
          <a:fillRef idx="0">
            <a:schemeClr val="accent3"/>
          </a:fillRef>
          <a:effectRef idx="0">
            <a:schemeClr val="accent3"/>
          </a:effectRef>
          <a:fontRef idx="minor">
            <a:schemeClr val="tx1"/>
          </a:fontRef>
        </p:style>
      </p:cxnSp>
      <p:cxnSp>
        <p:nvCxnSpPr>
          <p:cNvPr id="49" name="Straight Arrow Connector 48"/>
          <p:cNvCxnSpPr/>
          <p:nvPr/>
        </p:nvCxnSpPr>
        <p:spPr bwMode="auto">
          <a:xfrm>
            <a:off x="5303118" y="4756814"/>
            <a:ext cx="0" cy="262981"/>
          </a:xfrm>
          <a:prstGeom prst="straightConnector1">
            <a:avLst/>
          </a:prstGeom>
          <a:ln w="38100">
            <a:solidFill>
              <a:srgbClr val="008737"/>
            </a:solidFill>
            <a:headEnd type="none" w="med" len="med"/>
            <a:tailEnd type="triangle"/>
          </a:ln>
        </p:spPr>
        <p:style>
          <a:lnRef idx="1">
            <a:schemeClr val="accent3"/>
          </a:lnRef>
          <a:fillRef idx="0">
            <a:schemeClr val="accent3"/>
          </a:fillRef>
          <a:effectRef idx="0">
            <a:schemeClr val="accent3"/>
          </a:effectRef>
          <a:fontRef idx="minor">
            <a:schemeClr val="tx1"/>
          </a:fontRef>
        </p:style>
      </p:cxnSp>
      <p:cxnSp>
        <p:nvCxnSpPr>
          <p:cNvPr id="50" name="Straight Arrow Connector 49"/>
          <p:cNvCxnSpPr/>
          <p:nvPr/>
        </p:nvCxnSpPr>
        <p:spPr bwMode="auto">
          <a:xfrm>
            <a:off x="9068655" y="4789251"/>
            <a:ext cx="0" cy="421855"/>
          </a:xfrm>
          <a:prstGeom prst="straightConnector1">
            <a:avLst/>
          </a:prstGeom>
          <a:ln w="38100">
            <a:solidFill>
              <a:srgbClr val="008737"/>
            </a:solidFill>
            <a:headEnd type="none" w="med" len="med"/>
            <a:tailEnd type="triangle"/>
          </a:ln>
        </p:spPr>
        <p:style>
          <a:lnRef idx="1">
            <a:schemeClr val="accent3"/>
          </a:lnRef>
          <a:fillRef idx="0">
            <a:schemeClr val="accent3"/>
          </a:fillRef>
          <a:effectRef idx="0">
            <a:schemeClr val="accent3"/>
          </a:effectRef>
          <a:fontRef idx="minor">
            <a:schemeClr val="tx1"/>
          </a:fontRef>
        </p:style>
      </p:cxnSp>
      <p:cxnSp>
        <p:nvCxnSpPr>
          <p:cNvPr id="51" name="Straight Arrow Connector 50"/>
          <p:cNvCxnSpPr/>
          <p:nvPr/>
        </p:nvCxnSpPr>
        <p:spPr bwMode="auto">
          <a:xfrm>
            <a:off x="7679382" y="4800791"/>
            <a:ext cx="0" cy="371873"/>
          </a:xfrm>
          <a:prstGeom prst="straightConnector1">
            <a:avLst/>
          </a:prstGeom>
          <a:ln w="38100">
            <a:solidFill>
              <a:srgbClr val="008737"/>
            </a:solidFill>
            <a:headEnd type="none" w="med" len="med"/>
            <a:tailEnd type="triangle"/>
          </a:ln>
        </p:spPr>
        <p:style>
          <a:lnRef idx="1">
            <a:schemeClr val="accent3"/>
          </a:lnRef>
          <a:fillRef idx="0">
            <a:schemeClr val="accent3"/>
          </a:fillRef>
          <a:effectRef idx="0">
            <a:schemeClr val="accent3"/>
          </a:effectRef>
          <a:fontRef idx="minor">
            <a:schemeClr val="tx1"/>
          </a:fontRef>
        </p:style>
      </p:cxnSp>
      <p:cxnSp>
        <p:nvCxnSpPr>
          <p:cNvPr id="59" name="Straight Connector 58"/>
          <p:cNvCxnSpPr/>
          <p:nvPr/>
        </p:nvCxnSpPr>
        <p:spPr bwMode="auto">
          <a:xfrm>
            <a:off x="1923445" y="3449518"/>
            <a:ext cx="8622495" cy="34086"/>
          </a:xfrm>
          <a:prstGeom prst="line">
            <a:avLst/>
          </a:prstGeom>
          <a:solidFill>
            <a:schemeClr val="accent1"/>
          </a:solidFill>
          <a:ln w="38100" cap="flat" cmpd="sng" algn="ctr">
            <a:solidFill>
              <a:srgbClr val="008737"/>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0" name="Straight Arrow Connector 59"/>
          <p:cNvCxnSpPr/>
          <p:nvPr/>
        </p:nvCxnSpPr>
        <p:spPr bwMode="auto">
          <a:xfrm>
            <a:off x="7911037" y="3469102"/>
            <a:ext cx="0" cy="371873"/>
          </a:xfrm>
          <a:prstGeom prst="straightConnector1">
            <a:avLst/>
          </a:prstGeom>
          <a:ln w="38100">
            <a:solidFill>
              <a:srgbClr val="008737"/>
            </a:solidFill>
            <a:headEnd type="none" w="med" len="med"/>
            <a:tailEnd type="triangle"/>
          </a:ln>
        </p:spPr>
        <p:style>
          <a:lnRef idx="1">
            <a:schemeClr val="accent3"/>
          </a:lnRef>
          <a:fillRef idx="0">
            <a:schemeClr val="accent3"/>
          </a:fillRef>
          <a:effectRef idx="0">
            <a:schemeClr val="accent3"/>
          </a:effectRef>
          <a:fontRef idx="minor">
            <a:schemeClr val="tx1"/>
          </a:fontRef>
        </p:style>
      </p:cxnSp>
      <p:cxnSp>
        <p:nvCxnSpPr>
          <p:cNvPr id="61" name="Straight Arrow Connector 60"/>
          <p:cNvCxnSpPr/>
          <p:nvPr/>
        </p:nvCxnSpPr>
        <p:spPr bwMode="auto">
          <a:xfrm>
            <a:off x="5051309" y="3483604"/>
            <a:ext cx="0" cy="371873"/>
          </a:xfrm>
          <a:prstGeom prst="straightConnector1">
            <a:avLst/>
          </a:prstGeom>
          <a:ln w="38100">
            <a:solidFill>
              <a:srgbClr val="008737"/>
            </a:solidFill>
            <a:headEnd type="none" w="med" len="med"/>
            <a:tailEnd type="triangle"/>
          </a:ln>
        </p:spPr>
        <p:style>
          <a:lnRef idx="1">
            <a:schemeClr val="accent3"/>
          </a:lnRef>
          <a:fillRef idx="0">
            <a:schemeClr val="accent3"/>
          </a:fillRef>
          <a:effectRef idx="0">
            <a:schemeClr val="accent3"/>
          </a:effectRef>
          <a:fontRef idx="minor">
            <a:schemeClr val="tx1"/>
          </a:fontRef>
        </p:style>
      </p:cxnSp>
      <p:cxnSp>
        <p:nvCxnSpPr>
          <p:cNvPr id="62" name="Straight Arrow Connector 61"/>
          <p:cNvCxnSpPr/>
          <p:nvPr/>
        </p:nvCxnSpPr>
        <p:spPr bwMode="auto">
          <a:xfrm>
            <a:off x="1923445" y="3448837"/>
            <a:ext cx="0" cy="371873"/>
          </a:xfrm>
          <a:prstGeom prst="straightConnector1">
            <a:avLst/>
          </a:prstGeom>
          <a:ln w="38100">
            <a:solidFill>
              <a:srgbClr val="008737"/>
            </a:solidFill>
            <a:headEnd type="none" w="med" len="med"/>
            <a:tailEnd type="triangle"/>
          </a:ln>
        </p:spPr>
        <p:style>
          <a:lnRef idx="1">
            <a:schemeClr val="accent3"/>
          </a:lnRef>
          <a:fillRef idx="0">
            <a:schemeClr val="accent3"/>
          </a:fillRef>
          <a:effectRef idx="0">
            <a:schemeClr val="accent3"/>
          </a:effectRef>
          <a:fontRef idx="minor">
            <a:schemeClr val="tx1"/>
          </a:fontRef>
        </p:style>
      </p:cxnSp>
      <p:cxnSp>
        <p:nvCxnSpPr>
          <p:cNvPr id="63" name="Straight Arrow Connector 62"/>
          <p:cNvCxnSpPr/>
          <p:nvPr/>
        </p:nvCxnSpPr>
        <p:spPr bwMode="auto">
          <a:xfrm>
            <a:off x="10559702" y="3469102"/>
            <a:ext cx="0" cy="371873"/>
          </a:xfrm>
          <a:prstGeom prst="straightConnector1">
            <a:avLst/>
          </a:prstGeom>
          <a:ln w="38100">
            <a:solidFill>
              <a:srgbClr val="008737"/>
            </a:solidFill>
            <a:headEnd type="none" w="med" len="med"/>
            <a:tailEnd type="triangle"/>
          </a:ln>
        </p:spPr>
        <p:style>
          <a:lnRef idx="1">
            <a:schemeClr val="accent3"/>
          </a:lnRef>
          <a:fillRef idx="0">
            <a:schemeClr val="accent3"/>
          </a:fillRef>
          <a:effectRef idx="0">
            <a:schemeClr val="accent3"/>
          </a:effectRef>
          <a:fontRef idx="minor">
            <a:schemeClr val="tx1"/>
          </a:fontRef>
        </p:style>
      </p:cxnSp>
      <p:cxnSp>
        <p:nvCxnSpPr>
          <p:cNvPr id="69" name="Straight Connector 68"/>
          <p:cNvCxnSpPr/>
          <p:nvPr/>
        </p:nvCxnSpPr>
        <p:spPr bwMode="auto">
          <a:xfrm>
            <a:off x="5748262" y="3218963"/>
            <a:ext cx="0" cy="229874"/>
          </a:xfrm>
          <a:prstGeom prst="line">
            <a:avLst/>
          </a:prstGeom>
          <a:solidFill>
            <a:schemeClr val="accent1"/>
          </a:solidFill>
          <a:ln w="38100" cap="flat" cmpd="sng" algn="ctr">
            <a:solidFill>
              <a:srgbClr val="008737"/>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9" name="TextBox 78"/>
          <p:cNvSpPr txBox="1"/>
          <p:nvPr/>
        </p:nvSpPr>
        <p:spPr>
          <a:xfrm rot="16200000">
            <a:off x="-381261" y="1458948"/>
            <a:ext cx="1142942" cy="307777"/>
          </a:xfrm>
          <a:prstGeom prst="rect">
            <a:avLst/>
          </a:prstGeom>
          <a:noFill/>
        </p:spPr>
        <p:txBody>
          <a:bodyPr wrap="none" lIns="0" tIns="0" rIns="0" bIns="0" rtlCol="0">
            <a:spAutoFit/>
          </a:bodyPr>
          <a:lstStyle/>
          <a:p>
            <a:pPr algn="l">
              <a:spcBef>
                <a:spcPts val="432"/>
              </a:spcBef>
            </a:pPr>
            <a:r>
              <a:rPr lang="en-US" sz="2000" b="1" dirty="0">
                <a:solidFill>
                  <a:srgbClr val="339933"/>
                </a:solidFill>
                <a:latin typeface="+mn-lt"/>
              </a:rPr>
              <a:t>DRIVERS</a:t>
            </a:r>
            <a:endParaRPr lang="da-DK" sz="2000" b="1" dirty="0" err="1">
              <a:solidFill>
                <a:srgbClr val="339933"/>
              </a:solidFill>
              <a:latin typeface="+mn-lt"/>
            </a:endParaRPr>
          </a:p>
        </p:txBody>
      </p:sp>
      <p:sp>
        <p:nvSpPr>
          <p:cNvPr id="81" name="TextBox 80"/>
          <p:cNvSpPr txBox="1"/>
          <p:nvPr/>
        </p:nvSpPr>
        <p:spPr>
          <a:xfrm rot="16200000">
            <a:off x="-431207" y="2836995"/>
            <a:ext cx="1284006" cy="307777"/>
          </a:xfrm>
          <a:prstGeom prst="rect">
            <a:avLst/>
          </a:prstGeom>
          <a:noFill/>
        </p:spPr>
        <p:txBody>
          <a:bodyPr wrap="none" lIns="0" tIns="0" rIns="0" bIns="0" rtlCol="0">
            <a:spAutoFit/>
          </a:bodyPr>
          <a:lstStyle/>
          <a:p>
            <a:pPr algn="l">
              <a:spcBef>
                <a:spcPts val="432"/>
              </a:spcBef>
            </a:pPr>
            <a:r>
              <a:rPr lang="en-US" sz="2000" b="1" dirty="0">
                <a:solidFill>
                  <a:schemeClr val="accent1"/>
                </a:solidFill>
                <a:latin typeface="+mn-lt"/>
              </a:rPr>
              <a:t>PROBLEM</a:t>
            </a:r>
            <a:endParaRPr lang="da-DK" sz="2000" b="1" dirty="0" err="1">
              <a:solidFill>
                <a:schemeClr val="accent1"/>
              </a:solidFill>
              <a:latin typeface="+mn-lt"/>
            </a:endParaRPr>
          </a:p>
        </p:txBody>
      </p:sp>
      <p:sp>
        <p:nvSpPr>
          <p:cNvPr id="82" name="TextBox 81"/>
          <p:cNvSpPr txBox="1"/>
          <p:nvPr/>
        </p:nvSpPr>
        <p:spPr>
          <a:xfrm rot="16200000">
            <a:off x="-888614" y="4871614"/>
            <a:ext cx="2184893" cy="307777"/>
          </a:xfrm>
          <a:prstGeom prst="rect">
            <a:avLst/>
          </a:prstGeom>
          <a:noFill/>
        </p:spPr>
        <p:txBody>
          <a:bodyPr wrap="none" lIns="0" tIns="0" rIns="0" bIns="0" rtlCol="0">
            <a:spAutoFit/>
          </a:bodyPr>
          <a:lstStyle/>
          <a:p>
            <a:pPr algn="l">
              <a:spcBef>
                <a:spcPts val="432"/>
              </a:spcBef>
            </a:pPr>
            <a:r>
              <a:rPr lang="en-US" sz="2000" b="1" dirty="0">
                <a:solidFill>
                  <a:schemeClr val="accent4">
                    <a:lumMod val="75000"/>
                    <a:lumOff val="25000"/>
                  </a:schemeClr>
                </a:solidFill>
                <a:latin typeface="+mn-lt"/>
              </a:rPr>
              <a:t>CONSEQUENCES</a:t>
            </a:r>
            <a:endParaRPr lang="da-DK" sz="2000" b="1" dirty="0" err="1">
              <a:solidFill>
                <a:schemeClr val="accent4">
                  <a:lumMod val="75000"/>
                  <a:lumOff val="25000"/>
                </a:schemeClr>
              </a:solidFill>
              <a:latin typeface="+mn-lt"/>
            </a:endParaRPr>
          </a:p>
        </p:txBody>
      </p:sp>
      <p:cxnSp>
        <p:nvCxnSpPr>
          <p:cNvPr id="55" name="Straight Arrow Connector 54"/>
          <p:cNvCxnSpPr/>
          <p:nvPr/>
        </p:nvCxnSpPr>
        <p:spPr bwMode="auto">
          <a:xfrm>
            <a:off x="10307597" y="4775801"/>
            <a:ext cx="0" cy="421855"/>
          </a:xfrm>
          <a:prstGeom prst="straightConnector1">
            <a:avLst/>
          </a:prstGeom>
          <a:ln w="38100">
            <a:solidFill>
              <a:srgbClr val="008737"/>
            </a:solidFill>
            <a:headEnd type="none" w="med" len="med"/>
            <a:tailEnd type="triangle"/>
          </a:ln>
        </p:spPr>
        <p:style>
          <a:lnRef idx="1">
            <a:schemeClr val="accent3"/>
          </a:lnRef>
          <a:fillRef idx="0">
            <a:schemeClr val="accent3"/>
          </a:fillRef>
          <a:effectRef idx="0">
            <a:schemeClr val="accent3"/>
          </a:effectRef>
          <a:fontRef idx="minor">
            <a:schemeClr val="tx1"/>
          </a:fontRef>
        </p:style>
      </p:cxnSp>
      <p:cxnSp>
        <p:nvCxnSpPr>
          <p:cNvPr id="56" name="Straight Arrow Connector 55"/>
          <p:cNvCxnSpPr/>
          <p:nvPr/>
        </p:nvCxnSpPr>
        <p:spPr bwMode="auto">
          <a:xfrm>
            <a:off x="11451474" y="4775061"/>
            <a:ext cx="0" cy="262981"/>
          </a:xfrm>
          <a:prstGeom prst="straightConnector1">
            <a:avLst/>
          </a:prstGeom>
          <a:ln w="38100">
            <a:solidFill>
              <a:srgbClr val="008737"/>
            </a:solidFill>
            <a:headEnd type="none" w="med" len="med"/>
            <a:tailEnd type="triangle"/>
          </a:ln>
        </p:spPr>
        <p:style>
          <a:lnRef idx="1">
            <a:schemeClr val="accent3"/>
          </a:lnRef>
          <a:fillRef idx="0">
            <a:schemeClr val="accent3"/>
          </a:fillRef>
          <a:effectRef idx="0">
            <a:schemeClr val="accent3"/>
          </a:effectRef>
          <a:fontRef idx="minor">
            <a:schemeClr val="tx1"/>
          </a:fontRef>
        </p:style>
      </p:cxnSp>
      <p:cxnSp>
        <p:nvCxnSpPr>
          <p:cNvPr id="58" name="Straight Arrow Connector 57"/>
          <p:cNvCxnSpPr/>
          <p:nvPr/>
        </p:nvCxnSpPr>
        <p:spPr bwMode="auto">
          <a:xfrm>
            <a:off x="4150990" y="4765085"/>
            <a:ext cx="0" cy="371873"/>
          </a:xfrm>
          <a:prstGeom prst="straightConnector1">
            <a:avLst/>
          </a:prstGeom>
          <a:ln w="38100">
            <a:solidFill>
              <a:srgbClr val="008737"/>
            </a:solidFill>
            <a:headEnd type="none" w="med" len="med"/>
            <a:tailEnd type="triangle"/>
          </a:ln>
        </p:spPr>
        <p:style>
          <a:lnRef idx="1">
            <a:schemeClr val="accent3"/>
          </a:lnRef>
          <a:fillRef idx="0">
            <a:schemeClr val="accent3"/>
          </a:fillRef>
          <a:effectRef idx="0">
            <a:schemeClr val="accent3"/>
          </a:effectRef>
          <a:fontRef idx="minor">
            <a:schemeClr val="tx1"/>
          </a:fontRef>
        </p:style>
      </p:cxnSp>
      <p:cxnSp>
        <p:nvCxnSpPr>
          <p:cNvPr id="64" name="Straight Arrow Connector 63"/>
          <p:cNvCxnSpPr/>
          <p:nvPr/>
        </p:nvCxnSpPr>
        <p:spPr bwMode="auto">
          <a:xfrm>
            <a:off x="1923445" y="4765085"/>
            <a:ext cx="0" cy="262981"/>
          </a:xfrm>
          <a:prstGeom prst="straightConnector1">
            <a:avLst/>
          </a:prstGeom>
          <a:ln w="38100">
            <a:solidFill>
              <a:srgbClr val="008737"/>
            </a:solidFill>
            <a:headEnd type="none" w="med" len="med"/>
            <a:tailEnd type="triangle"/>
          </a:ln>
        </p:spPr>
        <p:style>
          <a:lnRef idx="1">
            <a:schemeClr val="accent3"/>
          </a:lnRef>
          <a:fillRef idx="0">
            <a:schemeClr val="accent3"/>
          </a:fillRef>
          <a:effectRef idx="0">
            <a:schemeClr val="accent3"/>
          </a:effectRef>
          <a:fontRef idx="minor">
            <a:schemeClr val="tx1"/>
          </a:fontRef>
        </p:style>
      </p:cxnSp>
      <p:cxnSp>
        <p:nvCxnSpPr>
          <p:cNvPr id="65" name="Straight Arrow Connector 64"/>
          <p:cNvCxnSpPr/>
          <p:nvPr/>
        </p:nvCxnSpPr>
        <p:spPr bwMode="auto">
          <a:xfrm>
            <a:off x="933785" y="4775061"/>
            <a:ext cx="0" cy="371873"/>
          </a:xfrm>
          <a:prstGeom prst="straightConnector1">
            <a:avLst/>
          </a:prstGeom>
          <a:ln w="38100">
            <a:solidFill>
              <a:srgbClr val="008737"/>
            </a:solidFill>
            <a:headEnd type="none" w="med" len="med"/>
            <a:tailEnd type="triangle"/>
          </a:ln>
        </p:spPr>
        <p:style>
          <a:lnRef idx="1">
            <a:schemeClr val="accent3"/>
          </a:lnRef>
          <a:fillRef idx="0">
            <a:schemeClr val="accent3"/>
          </a:fillRef>
          <a:effectRef idx="0">
            <a:schemeClr val="accent3"/>
          </a:effectRef>
          <a:fontRef idx="minor">
            <a:schemeClr val="tx1"/>
          </a:fontRef>
        </p:style>
      </p:cxnSp>
      <p:cxnSp>
        <p:nvCxnSpPr>
          <p:cNvPr id="66" name="Straight Arrow Connector 65"/>
          <p:cNvCxnSpPr/>
          <p:nvPr/>
        </p:nvCxnSpPr>
        <p:spPr bwMode="auto">
          <a:xfrm>
            <a:off x="3053455" y="4765085"/>
            <a:ext cx="0" cy="421855"/>
          </a:xfrm>
          <a:prstGeom prst="straightConnector1">
            <a:avLst/>
          </a:prstGeom>
          <a:ln w="38100">
            <a:solidFill>
              <a:srgbClr val="008737"/>
            </a:solidFill>
            <a:headEnd type="none" w="med" len="med"/>
            <a:tailEnd type="triangle"/>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9648470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13C499-9A19-1FED-D017-B7BC66696FC1}"/>
              </a:ext>
            </a:extLst>
          </p:cNvPr>
          <p:cNvSpPr>
            <a:spLocks noGrp="1"/>
          </p:cNvSpPr>
          <p:nvPr>
            <p:ph type="title"/>
          </p:nvPr>
        </p:nvSpPr>
        <p:spPr>
          <a:xfrm>
            <a:off x="838622" y="208841"/>
            <a:ext cx="10176470" cy="482593"/>
          </a:xfrm>
        </p:spPr>
        <p:txBody>
          <a:bodyPr/>
          <a:lstStyle/>
          <a:p>
            <a:r>
              <a:rPr lang="en-US" sz="2800" dirty="0"/>
              <a:t>EU Data Spaces - 3 key socio economic goals</a:t>
            </a:r>
            <a:endParaRPr lang="da-DK" dirty="0"/>
          </a:p>
        </p:txBody>
      </p:sp>
      <p:sp>
        <p:nvSpPr>
          <p:cNvPr id="3" name="Content Placeholder 2">
            <a:extLst>
              <a:ext uri="{FF2B5EF4-FFF2-40B4-BE49-F238E27FC236}">
                <a16:creationId xmlns:a16="http://schemas.microsoft.com/office/drawing/2014/main" id="{8BACDD49-6979-7CC6-18C5-F57FE409DCCF}"/>
              </a:ext>
            </a:extLst>
          </p:cNvPr>
          <p:cNvSpPr>
            <a:spLocks noGrp="1"/>
          </p:cNvSpPr>
          <p:nvPr>
            <p:ph idx="1"/>
          </p:nvPr>
        </p:nvSpPr>
        <p:spPr>
          <a:xfrm>
            <a:off x="550590" y="1009435"/>
            <a:ext cx="11388459" cy="4839130"/>
          </a:xfrm>
        </p:spPr>
        <p:txBody>
          <a:bodyPr/>
          <a:lstStyle/>
          <a:p>
            <a:pPr marL="457200" indent="-457200">
              <a:buFont typeface="+mj-lt"/>
              <a:buAutoNum type="arabicPeriod"/>
            </a:pPr>
            <a:r>
              <a:rPr lang="en-US" sz="2000" b="1" dirty="0"/>
              <a:t>EU competitive advantage/sovereignty in the digital transformation</a:t>
            </a:r>
            <a:r>
              <a:rPr lang="en-US" sz="2000" dirty="0"/>
              <a:t> over its non-European competitors (i.e. US, CN): </a:t>
            </a:r>
          </a:p>
          <a:p>
            <a:pPr marL="914309" lvl="1" indent="-457154">
              <a:buFont typeface="Arial" panose="020B0604020202020204" pitchFamily="34" charset="0"/>
              <a:buChar char="•"/>
            </a:pPr>
            <a:r>
              <a:rPr lang="en-US" sz="2000" dirty="0"/>
              <a:t>Estimated ‘Cost of Non-Europe’ in digital transformation equal to € 315 billions already in 2021 (€1.3 trillions by 2033)</a:t>
            </a:r>
          </a:p>
          <a:p>
            <a:pPr marL="914309" lvl="1" indent="-457154">
              <a:buFont typeface="Arial" panose="020B0604020202020204" pitchFamily="34" charset="0"/>
              <a:buChar char="•"/>
            </a:pPr>
            <a:r>
              <a:rPr lang="en-US" sz="2000" dirty="0"/>
              <a:t>Inherent business model logic of Non-EU platforms challenge EU democratic values</a:t>
            </a:r>
          </a:p>
          <a:p>
            <a:pPr marL="914309" lvl="1" indent="-457154">
              <a:buFont typeface="Arial" panose="020B0604020202020204" pitchFamily="34" charset="0"/>
              <a:buChar char="•"/>
            </a:pPr>
            <a:r>
              <a:rPr lang="en-US" sz="2000" dirty="0"/>
              <a:t>To build a fair and sustainable data economy for Europe, driven by EU companies</a:t>
            </a:r>
          </a:p>
          <a:p>
            <a:pPr marL="457200" indent="-457200">
              <a:buFont typeface="+mj-lt"/>
              <a:buAutoNum type="arabicPeriod"/>
            </a:pPr>
            <a:r>
              <a:rPr lang="en-US" sz="2000" b="1" dirty="0"/>
              <a:t>Promoting EU democratic values of the EU Single Market</a:t>
            </a:r>
            <a:r>
              <a:rPr lang="en-US" sz="2000" dirty="0"/>
              <a:t> (e.g. social justice, data protection and privacy) by:</a:t>
            </a:r>
          </a:p>
          <a:p>
            <a:pPr marL="800055" lvl="1" indent="-342900">
              <a:buFont typeface="Arial" panose="020B0604020202020204" pitchFamily="34" charset="0"/>
              <a:buChar char="•"/>
            </a:pPr>
            <a:r>
              <a:rPr lang="en-US" sz="2000" dirty="0"/>
              <a:t>supporting growth and gains for SMEs, </a:t>
            </a:r>
          </a:p>
          <a:p>
            <a:pPr marL="800055" lvl="1" indent="-342900">
              <a:buFont typeface="Arial" panose="020B0604020202020204" pitchFamily="34" charset="0"/>
              <a:buChar char="•"/>
            </a:pPr>
            <a:r>
              <a:rPr lang="en-US" sz="2000" dirty="0"/>
              <a:t>ensuring cybersecurity for institutions and citizens,</a:t>
            </a:r>
          </a:p>
          <a:p>
            <a:pPr marL="800055" lvl="1" indent="-342900">
              <a:buFont typeface="Arial" panose="020B0604020202020204" pitchFamily="34" charset="0"/>
              <a:buChar char="•"/>
            </a:pPr>
            <a:r>
              <a:rPr lang="en-US" sz="2000" dirty="0"/>
              <a:t>protecting users, ensuring equal access to data to all individuals and organizations in EU. </a:t>
            </a:r>
          </a:p>
          <a:p>
            <a:pPr marL="457200" indent="-457200">
              <a:buFont typeface="+mj-lt"/>
              <a:buAutoNum type="arabicPeriod"/>
            </a:pPr>
            <a:r>
              <a:rPr lang="en-US" sz="2000" b="1" dirty="0"/>
              <a:t>Contributing to the Green Transition</a:t>
            </a:r>
            <a:r>
              <a:rPr lang="en-US" sz="2000" dirty="0"/>
              <a:t> (societal-, climate- and environment- related challenges) </a:t>
            </a:r>
          </a:p>
          <a:p>
            <a:pPr lvl="2">
              <a:buFont typeface="Arial" panose="020B0604020202020204" pitchFamily="34" charset="0"/>
              <a:buChar char="•"/>
            </a:pPr>
            <a:r>
              <a:rPr lang="en-GB" sz="2000" dirty="0"/>
              <a:t>Making data available and improving the way in which data is used, leading to </a:t>
            </a:r>
            <a:r>
              <a:rPr lang="en-GB" sz="2000" b="1" dirty="0"/>
              <a:t>better policies for the European Green Deal</a:t>
            </a:r>
            <a:r>
              <a:rPr lang="en-GB" sz="2000" dirty="0"/>
              <a:t>.</a:t>
            </a:r>
          </a:p>
          <a:p>
            <a:pPr lvl="2">
              <a:buFont typeface="Arial" panose="020B0604020202020204" pitchFamily="34" charset="0"/>
              <a:buChar char="•"/>
            </a:pPr>
            <a:r>
              <a:rPr lang="en-US" sz="2000" dirty="0"/>
              <a:t>The EU proposes green transformation measures for the environmental footprint of the ICT sector</a:t>
            </a:r>
            <a:endParaRPr lang="da-DK" dirty="0"/>
          </a:p>
        </p:txBody>
      </p:sp>
      <p:sp>
        <p:nvSpPr>
          <p:cNvPr id="4" name="Footer Placeholder 3">
            <a:extLst>
              <a:ext uri="{FF2B5EF4-FFF2-40B4-BE49-F238E27FC236}">
                <a16:creationId xmlns:a16="http://schemas.microsoft.com/office/drawing/2014/main" id="{FF903AD8-1A7D-8F90-B759-D5A1E9FD54F4}"/>
              </a:ext>
            </a:extLst>
          </p:cNvPr>
          <p:cNvSpPr>
            <a:spLocks noGrp="1"/>
          </p:cNvSpPr>
          <p:nvPr>
            <p:ph type="ftr" sz="quarter" idx="11"/>
          </p:nvPr>
        </p:nvSpPr>
        <p:spPr/>
        <p:txBody>
          <a:bodyPr/>
          <a:lstStyle/>
          <a:p>
            <a:endParaRPr lang="da-DK"/>
          </a:p>
        </p:txBody>
      </p:sp>
      <p:sp>
        <p:nvSpPr>
          <p:cNvPr id="5" name="Slide Number Placeholder 4">
            <a:extLst>
              <a:ext uri="{FF2B5EF4-FFF2-40B4-BE49-F238E27FC236}">
                <a16:creationId xmlns:a16="http://schemas.microsoft.com/office/drawing/2014/main" id="{02B6ECB2-7FEB-F49F-D6D8-6BEAC93CABAC}"/>
              </a:ext>
            </a:extLst>
          </p:cNvPr>
          <p:cNvSpPr>
            <a:spLocks noGrp="1"/>
          </p:cNvSpPr>
          <p:nvPr>
            <p:ph type="sldNum" sz="quarter" idx="12"/>
          </p:nvPr>
        </p:nvSpPr>
        <p:spPr/>
        <p:txBody>
          <a:bodyPr/>
          <a:lstStyle/>
          <a:p>
            <a:fld id="{51B10101-CE5F-44C4-A3FE-7A8EB2967DBE}" type="slidenum">
              <a:rPr lang="da-DK" smtClean="0"/>
              <a:t>13</a:t>
            </a:fld>
            <a:endParaRPr lang="da-DK"/>
          </a:p>
        </p:txBody>
      </p:sp>
    </p:spTree>
    <p:extLst>
      <p:ext uri="{BB962C8B-B14F-4D97-AF65-F5344CB8AC3E}">
        <p14:creationId xmlns:p14="http://schemas.microsoft.com/office/powerpoint/2010/main" val="36889481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p:nvPr/>
        </p:nvPicPr>
        <p:blipFill rotWithShape="1">
          <a:blip r:embed="rId3"/>
          <a:srcRect l="18584" t="38841" r="59950" b="23371"/>
          <a:stretch/>
        </p:blipFill>
        <p:spPr bwMode="auto">
          <a:xfrm>
            <a:off x="3629693" y="2114046"/>
            <a:ext cx="8615486" cy="4248472"/>
          </a:xfrm>
          <a:prstGeom prst="rect">
            <a:avLst/>
          </a:prstGeom>
          <a:ln>
            <a:noFill/>
          </a:ln>
          <a:extLst>
            <a:ext uri="{53640926-AAD7-44D8-BBD7-CCE9431645EC}">
              <a14:shadowObscured xmlns:a14="http://schemas.microsoft.com/office/drawing/2010/main"/>
            </a:ext>
          </a:extLst>
        </p:spPr>
      </p:pic>
      <p:sp>
        <p:nvSpPr>
          <p:cNvPr id="2" name="Titel 1"/>
          <p:cNvSpPr>
            <a:spLocks noGrp="1"/>
          </p:cNvSpPr>
          <p:nvPr>
            <p:ph type="title"/>
          </p:nvPr>
        </p:nvSpPr>
        <p:spPr>
          <a:xfrm>
            <a:off x="1054646" y="0"/>
            <a:ext cx="10774300" cy="708083"/>
          </a:xfrm>
        </p:spPr>
        <p:txBody>
          <a:bodyPr/>
          <a:lstStyle/>
          <a:p>
            <a:r>
              <a:rPr lang="en-US" sz="2900" dirty="0">
                <a:solidFill>
                  <a:schemeClr val="tx1"/>
                </a:solidFill>
              </a:rPr>
              <a:t>The EU Data Strategy – an horizontal approach </a:t>
            </a:r>
            <a:endParaRPr lang="da-DK" sz="2900" dirty="0">
              <a:solidFill>
                <a:schemeClr val="tx1"/>
              </a:solidFill>
            </a:endParaRPr>
          </a:p>
        </p:txBody>
      </p:sp>
      <p:sp>
        <p:nvSpPr>
          <p:cNvPr id="3" name="Pladsholder til indhold 2"/>
          <p:cNvSpPr>
            <a:spLocks noGrp="1"/>
          </p:cNvSpPr>
          <p:nvPr>
            <p:ph sz="half" idx="1"/>
          </p:nvPr>
        </p:nvSpPr>
        <p:spPr>
          <a:xfrm>
            <a:off x="332912" y="1052736"/>
            <a:ext cx="11730038" cy="882628"/>
          </a:xfrm>
        </p:spPr>
        <p:txBody>
          <a:bodyPr/>
          <a:lstStyle/>
          <a:p>
            <a:r>
              <a:rPr lang="en-US" sz="2000" b="1" dirty="0"/>
              <a:t>The EU Data Strategy proposes an overarching framework encompassing horizontal measures for all common European data spaces</a:t>
            </a:r>
            <a:r>
              <a:rPr lang="en-US" sz="2000" dirty="0"/>
              <a:t>: sector-specific rules, governance mechanisms and standards where relevant, using a </a:t>
            </a:r>
            <a:r>
              <a:rPr lang="en-US" sz="2000" b="1" dirty="0"/>
              <a:t>collaborative approach </a:t>
            </a:r>
            <a:r>
              <a:rPr lang="en-GB" sz="2000" dirty="0"/>
              <a:t>(European Commission 2020b)</a:t>
            </a:r>
            <a:endParaRPr lang="en-US" sz="2000" b="1" dirty="0"/>
          </a:p>
          <a:p>
            <a:pPr marL="0" indent="0">
              <a:buNone/>
            </a:pPr>
            <a:endParaRPr lang="en-US" sz="2000" dirty="0"/>
          </a:p>
          <a:p>
            <a:pPr marL="0" indent="0">
              <a:buNone/>
            </a:pPr>
            <a:r>
              <a:rPr lang="en-US" sz="2000" dirty="0"/>
              <a:t> </a:t>
            </a:r>
            <a:endParaRPr lang="en-US" sz="2000" i="1" dirty="0"/>
          </a:p>
        </p:txBody>
      </p:sp>
      <p:sp>
        <p:nvSpPr>
          <p:cNvPr id="4" name="Pladsholder til sidefod 3"/>
          <p:cNvSpPr>
            <a:spLocks noGrp="1"/>
          </p:cNvSpPr>
          <p:nvPr>
            <p:ph type="ftr" sz="quarter" idx="10"/>
          </p:nvPr>
        </p:nvSpPr>
        <p:spPr/>
        <p:txBody>
          <a:bodyPr/>
          <a:lstStyle/>
          <a:p>
            <a:endParaRPr lang="da-DK" dirty="0"/>
          </a:p>
        </p:txBody>
      </p:sp>
      <p:sp>
        <p:nvSpPr>
          <p:cNvPr id="5" name="Pladsholder til slidenummer 4"/>
          <p:cNvSpPr>
            <a:spLocks noGrp="1"/>
          </p:cNvSpPr>
          <p:nvPr>
            <p:ph type="sldNum" sz="quarter" idx="11"/>
          </p:nvPr>
        </p:nvSpPr>
        <p:spPr/>
        <p:txBody>
          <a:bodyPr/>
          <a:lstStyle/>
          <a:p>
            <a:fld id="{103EA872-A674-449B-A120-B97244F8E91D}" type="slidenum">
              <a:rPr lang="da-DK" smtClean="0"/>
              <a:pPr/>
              <a:t>14</a:t>
            </a:fld>
            <a:endParaRPr lang="da-DK" dirty="0"/>
          </a:p>
        </p:txBody>
      </p:sp>
      <p:sp>
        <p:nvSpPr>
          <p:cNvPr id="14" name="AutoShape 2" descr="\\dfs.env.dtu.dk\ENV\Department\Administration\Formidling\Kommunikation\Institutpr%C3%A6sentation\SEESmedia-0552-Web.webp"/>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6" name="TextBox 5"/>
          <p:cNvSpPr txBox="1"/>
          <p:nvPr/>
        </p:nvSpPr>
        <p:spPr>
          <a:xfrm>
            <a:off x="2350790" y="5949280"/>
            <a:ext cx="65" cy="246221"/>
          </a:xfrm>
          <a:prstGeom prst="rect">
            <a:avLst/>
          </a:prstGeom>
          <a:noFill/>
        </p:spPr>
        <p:txBody>
          <a:bodyPr wrap="none" lIns="0" tIns="0" rIns="0" bIns="0" rtlCol="0">
            <a:spAutoFit/>
          </a:bodyPr>
          <a:lstStyle/>
          <a:p>
            <a:pPr algn="l">
              <a:spcBef>
                <a:spcPts val="432"/>
              </a:spcBef>
            </a:pPr>
            <a:endParaRPr lang="da-DK" dirty="0" err="1">
              <a:latin typeface="+mn-lt"/>
            </a:endParaRPr>
          </a:p>
        </p:txBody>
      </p:sp>
      <p:sp>
        <p:nvSpPr>
          <p:cNvPr id="8" name="TextBox 7"/>
          <p:cNvSpPr txBox="1"/>
          <p:nvPr/>
        </p:nvSpPr>
        <p:spPr>
          <a:xfrm>
            <a:off x="307975" y="2186565"/>
            <a:ext cx="3482975" cy="5293757"/>
          </a:xfrm>
          <a:prstGeom prst="rect">
            <a:avLst/>
          </a:prstGeom>
          <a:noFill/>
        </p:spPr>
        <p:txBody>
          <a:bodyPr wrap="square" lIns="0" tIns="0" rIns="0" bIns="0" rtlCol="0">
            <a:spAutoFit/>
          </a:bodyPr>
          <a:lstStyle/>
          <a:p>
            <a:pPr marL="342900" indent="-342900">
              <a:spcBef>
                <a:spcPts val="432"/>
              </a:spcBef>
              <a:buFont typeface="Arial" panose="020B0604020202020204" pitchFamily="34" charset="0"/>
              <a:buChar char="•"/>
            </a:pPr>
            <a:r>
              <a:rPr lang="en-US" sz="1800" dirty="0">
                <a:latin typeface="+mn-lt"/>
              </a:rPr>
              <a:t>“</a:t>
            </a:r>
            <a:r>
              <a:rPr lang="en-US" sz="1800" i="1" dirty="0">
                <a:latin typeface="+mn-lt"/>
              </a:rPr>
              <a:t>The objective is not to create the common European data spaces by law, but to enhance their development by strengthening trust in data sharing and in data intermediaries</a:t>
            </a:r>
            <a:r>
              <a:rPr lang="en-US" sz="1800" dirty="0">
                <a:latin typeface="+mn-lt"/>
              </a:rPr>
              <a:t>” </a:t>
            </a:r>
            <a:r>
              <a:rPr lang="en-US" dirty="0">
                <a:latin typeface="+mn-lt"/>
              </a:rPr>
              <a:t>(EC 2020b, p.3)</a:t>
            </a:r>
            <a:endParaRPr lang="en-US" sz="1800" dirty="0">
              <a:latin typeface="+mn-lt"/>
            </a:endParaRPr>
          </a:p>
          <a:p>
            <a:pPr marL="342900" indent="-342900">
              <a:spcBef>
                <a:spcPts val="432"/>
              </a:spcBef>
              <a:buFont typeface="Arial" panose="020B0604020202020204" pitchFamily="34" charset="0"/>
              <a:buChar char="•"/>
            </a:pPr>
            <a:r>
              <a:rPr lang="en-US" sz="1800" dirty="0">
                <a:latin typeface="+mn-lt"/>
              </a:rPr>
              <a:t>9 sectors were selected as the most critical for the green and digital transition.</a:t>
            </a:r>
          </a:p>
          <a:p>
            <a:pPr marL="342900" indent="-342900">
              <a:spcBef>
                <a:spcPts val="432"/>
              </a:spcBef>
              <a:buFont typeface="Arial" panose="020B0604020202020204" pitchFamily="34" charset="0"/>
              <a:buChar char="•"/>
            </a:pPr>
            <a:r>
              <a:rPr lang="en-US" sz="1800" b="1" dirty="0">
                <a:latin typeface="+mn-lt"/>
              </a:rPr>
              <a:t>Water not identified as an independent sector </a:t>
            </a:r>
            <a:r>
              <a:rPr lang="en-US" sz="1800" dirty="0">
                <a:latin typeface="+mn-lt"/>
              </a:rPr>
              <a:t>but as part of the Green Deal Data Space </a:t>
            </a:r>
          </a:p>
          <a:p>
            <a:pPr>
              <a:spcBef>
                <a:spcPts val="432"/>
              </a:spcBef>
            </a:pPr>
            <a:endParaRPr lang="en-US" sz="1800" dirty="0">
              <a:latin typeface="+mn-lt"/>
            </a:endParaRPr>
          </a:p>
          <a:p>
            <a:pPr>
              <a:spcBef>
                <a:spcPts val="432"/>
              </a:spcBef>
            </a:pPr>
            <a:endParaRPr lang="en-US" sz="1800" dirty="0">
              <a:latin typeface="+mn-lt"/>
            </a:endParaRPr>
          </a:p>
          <a:p>
            <a:pPr>
              <a:spcBef>
                <a:spcPts val="432"/>
              </a:spcBef>
            </a:pPr>
            <a:endParaRPr lang="en-US" sz="1800" dirty="0">
              <a:latin typeface="+mn-lt"/>
            </a:endParaRPr>
          </a:p>
          <a:p>
            <a:pPr>
              <a:spcBef>
                <a:spcPts val="432"/>
              </a:spcBef>
            </a:pPr>
            <a:endParaRPr lang="da-DK" sz="1800" dirty="0" err="1">
              <a:latin typeface="+mn-lt"/>
            </a:endParaRPr>
          </a:p>
        </p:txBody>
      </p:sp>
    </p:spTree>
    <p:extLst>
      <p:ext uri="{BB962C8B-B14F-4D97-AF65-F5344CB8AC3E}">
        <p14:creationId xmlns:p14="http://schemas.microsoft.com/office/powerpoint/2010/main" val="30863056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9756E1D-B94C-7CFE-0ACB-BD7EC70F681F}"/>
              </a:ext>
            </a:extLst>
          </p:cNvPr>
          <p:cNvSpPr>
            <a:spLocks noGrp="1"/>
          </p:cNvSpPr>
          <p:nvPr>
            <p:ph type="title"/>
          </p:nvPr>
        </p:nvSpPr>
        <p:spPr>
          <a:xfrm>
            <a:off x="757502" y="-169558"/>
            <a:ext cx="9312374" cy="972716"/>
          </a:xfrm>
        </p:spPr>
        <p:txBody>
          <a:bodyPr/>
          <a:lstStyle/>
          <a:p>
            <a:r>
              <a:rPr lang="da-DK" dirty="0"/>
              <a:t> The Water Data Space Project</a:t>
            </a:r>
          </a:p>
        </p:txBody>
      </p:sp>
      <p:sp>
        <p:nvSpPr>
          <p:cNvPr id="7" name="Content Placeholder 6">
            <a:extLst>
              <a:ext uri="{FF2B5EF4-FFF2-40B4-BE49-F238E27FC236}">
                <a16:creationId xmlns:a16="http://schemas.microsoft.com/office/drawing/2014/main" id="{826C28E3-615C-44E5-CCB0-3C9B209A518D}"/>
              </a:ext>
            </a:extLst>
          </p:cNvPr>
          <p:cNvSpPr>
            <a:spLocks noGrp="1"/>
          </p:cNvSpPr>
          <p:nvPr>
            <p:ph idx="1"/>
          </p:nvPr>
        </p:nvSpPr>
        <p:spPr>
          <a:xfrm>
            <a:off x="757502" y="2651407"/>
            <a:ext cx="4761640" cy="4176464"/>
          </a:xfrm>
        </p:spPr>
        <p:txBody>
          <a:bodyPr/>
          <a:lstStyle/>
          <a:p>
            <a:pPr marL="0" indent="0">
              <a:buNone/>
            </a:pPr>
            <a:r>
              <a:rPr lang="en-US" sz="2000" b="1" i="1" dirty="0"/>
              <a:t>The “Water Data Space” project </a:t>
            </a:r>
            <a:r>
              <a:rPr lang="en-US" sz="2000" i="1" dirty="0"/>
              <a:t>investigates the potentials for data spaces to facilitate the complex task of collecting, organizing and displaying data from multiple data sources, so that it is possible for a large diversity of actors to develop new knowledge and business models for digital and green water transitions </a:t>
            </a:r>
            <a:r>
              <a:rPr lang="en-GB" sz="2000" i="1" dirty="0"/>
              <a:t> </a:t>
            </a:r>
            <a:endParaRPr lang="en-US" sz="2000" i="1" dirty="0"/>
          </a:p>
          <a:p>
            <a:pPr marL="0" indent="0">
              <a:buNone/>
            </a:pPr>
            <a:endParaRPr lang="da-DK" sz="2000" dirty="0"/>
          </a:p>
        </p:txBody>
      </p:sp>
      <p:sp>
        <p:nvSpPr>
          <p:cNvPr id="4" name="Footer Placeholder 3">
            <a:extLst>
              <a:ext uri="{FF2B5EF4-FFF2-40B4-BE49-F238E27FC236}">
                <a16:creationId xmlns:a16="http://schemas.microsoft.com/office/drawing/2014/main" id="{01D4ADBF-992E-395C-527B-7A7CC5093D15}"/>
              </a:ext>
            </a:extLst>
          </p:cNvPr>
          <p:cNvSpPr>
            <a:spLocks noGrp="1"/>
          </p:cNvSpPr>
          <p:nvPr>
            <p:ph type="ftr" sz="quarter" idx="11"/>
          </p:nvPr>
        </p:nvSpPr>
        <p:spPr/>
        <p:txBody>
          <a:bodyPr/>
          <a:lstStyle/>
          <a:p>
            <a:endParaRPr lang="da-DK"/>
          </a:p>
        </p:txBody>
      </p:sp>
      <p:sp>
        <p:nvSpPr>
          <p:cNvPr id="5" name="Slide Number Placeholder 4">
            <a:extLst>
              <a:ext uri="{FF2B5EF4-FFF2-40B4-BE49-F238E27FC236}">
                <a16:creationId xmlns:a16="http://schemas.microsoft.com/office/drawing/2014/main" id="{B84C2D37-0E16-0EC2-8B90-B28B361C5202}"/>
              </a:ext>
            </a:extLst>
          </p:cNvPr>
          <p:cNvSpPr>
            <a:spLocks noGrp="1"/>
          </p:cNvSpPr>
          <p:nvPr>
            <p:ph type="sldNum" sz="quarter" idx="12"/>
          </p:nvPr>
        </p:nvSpPr>
        <p:spPr/>
        <p:txBody>
          <a:bodyPr/>
          <a:lstStyle/>
          <a:p>
            <a:fld id="{51B10101-CE5F-44C4-A3FE-7A8EB2967DBE}" type="slidenum">
              <a:rPr lang="da-DK" smtClean="0"/>
              <a:t>15</a:t>
            </a:fld>
            <a:endParaRPr lang="da-DK"/>
          </a:p>
        </p:txBody>
      </p:sp>
      <p:sp>
        <p:nvSpPr>
          <p:cNvPr id="9" name="TextBox 8">
            <a:extLst>
              <a:ext uri="{FF2B5EF4-FFF2-40B4-BE49-F238E27FC236}">
                <a16:creationId xmlns:a16="http://schemas.microsoft.com/office/drawing/2014/main" id="{1A7A98FD-20E5-A202-9FC7-A4CD6D7AFE65}"/>
              </a:ext>
            </a:extLst>
          </p:cNvPr>
          <p:cNvSpPr txBox="1"/>
          <p:nvPr/>
        </p:nvSpPr>
        <p:spPr>
          <a:xfrm>
            <a:off x="5807174" y="5042877"/>
            <a:ext cx="6264696" cy="861774"/>
          </a:xfrm>
          <a:prstGeom prst="rect">
            <a:avLst/>
          </a:prstGeom>
          <a:noFill/>
        </p:spPr>
        <p:txBody>
          <a:bodyPr wrap="square" lIns="0" tIns="0" rIns="0" bIns="0" rtlCol="0">
            <a:spAutoFit/>
          </a:bodyPr>
          <a:lstStyle/>
          <a:p>
            <a:pPr>
              <a:spcBef>
                <a:spcPts val="0"/>
              </a:spcBef>
            </a:pPr>
            <a:r>
              <a:rPr lang="da-DK" sz="1400" dirty="0">
                <a:solidFill>
                  <a:schemeClr val="bg1"/>
                </a:solidFill>
                <a:latin typeface="+mn-lt"/>
              </a:rPr>
              <a:t>P.S. Mikkelsen &amp; C. Fratini, DTU Sustain; J. Hansen, </a:t>
            </a:r>
            <a:r>
              <a:rPr lang="da-DK" sz="1400" dirty="0" err="1">
                <a:solidFill>
                  <a:schemeClr val="bg1"/>
                </a:solidFill>
                <a:latin typeface="+mn-lt"/>
              </a:rPr>
              <a:t>Systematic</a:t>
            </a:r>
            <a:r>
              <a:rPr lang="da-DK" sz="1400" dirty="0">
                <a:solidFill>
                  <a:schemeClr val="bg1"/>
                </a:solidFill>
                <a:latin typeface="+mn-lt"/>
              </a:rPr>
              <a:t>; </a:t>
            </a:r>
          </a:p>
          <a:p>
            <a:pPr>
              <a:spcBef>
                <a:spcPts val="0"/>
              </a:spcBef>
            </a:pPr>
            <a:r>
              <a:rPr lang="da-DK" sz="1400" dirty="0">
                <a:solidFill>
                  <a:schemeClr val="bg1"/>
                </a:solidFill>
                <a:latin typeface="+mn-lt"/>
              </a:rPr>
              <a:t>H. Dissing, Danmarks Miljøportal; K.B. Kjær &amp; T. Dalkvist, DHI; </a:t>
            </a:r>
          </a:p>
          <a:p>
            <a:pPr>
              <a:spcBef>
                <a:spcPts val="0"/>
              </a:spcBef>
            </a:pPr>
            <a:r>
              <a:rPr lang="da-DK" sz="1400" dirty="0">
                <a:solidFill>
                  <a:schemeClr val="bg1"/>
                </a:solidFill>
                <a:latin typeface="+mn-lt"/>
              </a:rPr>
              <a:t>M. Levring &amp; M.K.S Ahm, Aarhus Vand; U. Sparre &amp; C.F. Simonsen, Water Valley Denmark</a:t>
            </a:r>
            <a:endParaRPr lang="en-US" sz="1400" dirty="0" err="1">
              <a:solidFill>
                <a:schemeClr val="bg1"/>
              </a:solidFill>
              <a:latin typeface="+mn-lt"/>
            </a:endParaRPr>
          </a:p>
        </p:txBody>
      </p:sp>
      <p:pic>
        <p:nvPicPr>
          <p:cNvPr id="13" name="Picture 12">
            <a:extLst>
              <a:ext uri="{FF2B5EF4-FFF2-40B4-BE49-F238E27FC236}">
                <a16:creationId xmlns:a16="http://schemas.microsoft.com/office/drawing/2014/main" id="{9F5C2048-C725-C75D-F844-27EE0AF6A4BA}"/>
              </a:ext>
            </a:extLst>
          </p:cNvPr>
          <p:cNvPicPr>
            <a:picLocks noChangeAspect="1"/>
          </p:cNvPicPr>
          <p:nvPr/>
        </p:nvPicPr>
        <p:blipFill>
          <a:blip r:embed="rId2"/>
          <a:srcRect t="1863" r="2009" b="1924"/>
          <a:stretch>
            <a:fillRect/>
          </a:stretch>
        </p:blipFill>
        <p:spPr>
          <a:xfrm>
            <a:off x="5594918" y="2060848"/>
            <a:ext cx="6476952" cy="4392488"/>
          </a:xfrm>
          <a:prstGeom prst="rect">
            <a:avLst/>
          </a:prstGeom>
        </p:spPr>
      </p:pic>
      <p:sp>
        <p:nvSpPr>
          <p:cNvPr id="3" name="TextBox 2">
            <a:extLst>
              <a:ext uri="{FF2B5EF4-FFF2-40B4-BE49-F238E27FC236}">
                <a16:creationId xmlns:a16="http://schemas.microsoft.com/office/drawing/2014/main" id="{C195D49D-D54F-BD72-0072-784642F84525}"/>
              </a:ext>
            </a:extLst>
          </p:cNvPr>
          <p:cNvSpPr txBox="1"/>
          <p:nvPr/>
        </p:nvSpPr>
        <p:spPr>
          <a:xfrm>
            <a:off x="560696" y="989256"/>
            <a:ext cx="11069019" cy="1651734"/>
          </a:xfrm>
          <a:prstGeom prst="rect">
            <a:avLst/>
          </a:prstGeom>
          <a:noFill/>
        </p:spPr>
        <p:txBody>
          <a:bodyPr wrap="square" lIns="0" tIns="0" rIns="0" bIns="0" rtlCol="0">
            <a:spAutoFit/>
          </a:bodyPr>
          <a:lstStyle/>
          <a:p>
            <a:pPr marL="201168" marR="0" lvl="0" indent="-201168"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defRPr/>
            </a:pPr>
            <a:r>
              <a:rPr lang="en-GB" sz="2000" kern="0" dirty="0">
                <a:solidFill>
                  <a:srgbClr val="000000"/>
                </a:solidFill>
                <a:latin typeface="+mn-lt"/>
                <a:ea typeface="+mn-ea"/>
              </a:rPr>
              <a:t>F</a:t>
            </a:r>
            <a:r>
              <a:rPr kumimoji="0" lang="en-GB" sz="2000" b="0" i="0" u="none" strike="noStrike" kern="0" cap="none" spc="0" normalizeH="0" noProof="0" dirty="0" err="1">
                <a:ln>
                  <a:noFill/>
                </a:ln>
                <a:solidFill>
                  <a:srgbClr val="000000"/>
                </a:solidFill>
                <a:effectLst/>
                <a:uLnTx/>
                <a:uFillTx/>
                <a:latin typeface="+mn-lt"/>
                <a:ea typeface="+mn-ea"/>
                <a:cs typeface="+mn-cs"/>
              </a:rPr>
              <a:t>unded</a:t>
            </a:r>
            <a:r>
              <a:rPr kumimoji="0" lang="en-GB" sz="2000" b="0" i="0" u="none" strike="noStrike" kern="0" cap="none" spc="0" normalizeH="0" noProof="0" dirty="0">
                <a:ln>
                  <a:noFill/>
                </a:ln>
                <a:solidFill>
                  <a:srgbClr val="000000"/>
                </a:solidFill>
                <a:effectLst/>
                <a:uLnTx/>
                <a:uFillTx/>
                <a:latin typeface="+mn-lt"/>
                <a:ea typeface="+mn-ea"/>
                <a:cs typeface="+mn-cs"/>
              </a:rPr>
              <a:t> by REACT EU  as part of the </a:t>
            </a:r>
            <a:r>
              <a:rPr kumimoji="0" lang="da-DK" sz="2000" b="0" i="0" u="none" strike="noStrike" kern="0" cap="none" spc="0" normalizeH="0" noProof="0" dirty="0">
                <a:ln>
                  <a:noFill/>
                </a:ln>
                <a:solidFill>
                  <a:srgbClr val="000000"/>
                </a:solidFill>
                <a:effectLst/>
                <a:uLnTx/>
                <a:uFillTx/>
                <a:latin typeface="+mn-lt"/>
                <a:ea typeface="+mn-ea"/>
                <a:cs typeface="+mn-cs"/>
              </a:rPr>
              <a:t> “Region Midt Erhvervsfyrtårn for Vandteknologi” </a:t>
            </a:r>
            <a:r>
              <a:rPr kumimoji="0" lang="en-US" sz="2000" b="0" i="0" u="none" strike="noStrike" kern="0" cap="none" spc="0" normalizeH="0" noProof="0" dirty="0">
                <a:ln>
                  <a:noFill/>
                </a:ln>
                <a:solidFill>
                  <a:srgbClr val="000000"/>
                </a:solidFill>
                <a:effectLst/>
                <a:uLnTx/>
                <a:uFillTx/>
                <a:latin typeface="+mn-lt"/>
                <a:ea typeface="+mn-ea"/>
                <a:cs typeface="+mn-cs"/>
              </a:rPr>
              <a:t>initiative</a:t>
            </a:r>
            <a:r>
              <a:rPr kumimoji="0" lang="da-DK" sz="2000" b="0" i="0" u="none" strike="noStrike" kern="0" cap="none" spc="0" normalizeH="0" noProof="0" dirty="0">
                <a:ln>
                  <a:noFill/>
                </a:ln>
                <a:solidFill>
                  <a:srgbClr val="000000"/>
                </a:solidFill>
                <a:effectLst/>
                <a:uLnTx/>
                <a:uFillTx/>
                <a:latin typeface="+mn-lt"/>
                <a:ea typeface="+mn-ea"/>
                <a:cs typeface="+mn-cs"/>
              </a:rPr>
              <a:t>, </a:t>
            </a:r>
          </a:p>
          <a:p>
            <a:pPr marL="201168" marR="0" lvl="0" indent="-201168" algn="l" defTabSz="914400"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en-US" sz="2000" b="0" i="0" u="none" strike="noStrike" kern="0" cap="none" spc="0" normalizeH="0" noProof="0" dirty="0">
                <a:ln>
                  <a:noFill/>
                </a:ln>
                <a:solidFill>
                  <a:srgbClr val="000000"/>
                </a:solidFill>
                <a:effectLst/>
                <a:uLnTx/>
                <a:uFillTx/>
                <a:latin typeface="+mn-lt"/>
                <a:ea typeface="+mn-ea"/>
                <a:cs typeface="+mn-cs"/>
              </a:rPr>
              <a:t>Regional initiative aimed at the competitive advantage of the Danish water sector to act and support the digital transformation in Europe and beyond, thus, creating important opportunities for the export of Danish</a:t>
            </a:r>
            <a:r>
              <a:rPr lang="en-US" sz="2000" kern="0" dirty="0">
                <a:solidFill>
                  <a:srgbClr val="000000"/>
                </a:solidFill>
                <a:latin typeface="+mn-lt"/>
                <a:ea typeface="+mn-ea"/>
              </a:rPr>
              <a:t> </a:t>
            </a:r>
            <a:r>
              <a:rPr kumimoji="0" lang="en-US" sz="2000" b="0" i="0" u="none" strike="noStrike" kern="0" cap="none" spc="0" normalizeH="0" noProof="0" dirty="0">
                <a:ln>
                  <a:noFill/>
                </a:ln>
                <a:solidFill>
                  <a:srgbClr val="000000"/>
                </a:solidFill>
                <a:effectLst/>
                <a:uLnTx/>
                <a:uFillTx/>
                <a:latin typeface="+mn-lt"/>
                <a:ea typeface="+mn-ea"/>
                <a:cs typeface="+mn-cs"/>
              </a:rPr>
              <a:t>technologies and expertise. </a:t>
            </a:r>
            <a:endParaRPr kumimoji="0" lang="en-GB" sz="2000" b="1" i="0" u="none" strike="noStrike" kern="0" cap="none" spc="0" normalizeH="0" noProof="0" dirty="0">
              <a:ln>
                <a:noFill/>
              </a:ln>
              <a:solidFill>
                <a:srgbClr val="000000"/>
              </a:solidFill>
              <a:effectLst/>
              <a:uLnTx/>
              <a:uFillTx/>
              <a:latin typeface="+mn-lt"/>
              <a:ea typeface="+mn-ea"/>
              <a:cs typeface="+mn-cs"/>
            </a:endParaRPr>
          </a:p>
          <a:p>
            <a:pPr marL="201168" indent="-201168" algn="l">
              <a:spcBef>
                <a:spcPts val="432"/>
              </a:spcBef>
            </a:pPr>
            <a:endParaRPr lang="da-DK" sz="2000" dirty="0" err="1">
              <a:latin typeface="+mn-lt"/>
            </a:endParaRPr>
          </a:p>
        </p:txBody>
      </p:sp>
      <p:sp>
        <p:nvSpPr>
          <p:cNvPr id="14" name="Oval 13">
            <a:extLst>
              <a:ext uri="{FF2B5EF4-FFF2-40B4-BE49-F238E27FC236}">
                <a16:creationId xmlns:a16="http://schemas.microsoft.com/office/drawing/2014/main" id="{D732BF22-8146-7F12-8F08-0106130B2202}"/>
              </a:ext>
            </a:extLst>
          </p:cNvPr>
          <p:cNvSpPr/>
          <p:nvPr/>
        </p:nvSpPr>
        <p:spPr bwMode="auto">
          <a:xfrm>
            <a:off x="7247334" y="3678803"/>
            <a:ext cx="1584176" cy="1037813"/>
          </a:xfrm>
          <a:prstGeom prst="ellipse">
            <a:avLst/>
          </a:prstGeom>
          <a:noFill/>
          <a:ln w="41275" cap="flat" cmpd="sng" algn="ctr">
            <a:solidFill>
              <a:srgbClr val="FF0000"/>
            </a:solidFill>
            <a:prstDash val="solid"/>
            <a:miter lim="800000"/>
            <a:headEnd type="none" w="med" len="med"/>
            <a:tailEnd type="none" w="med" len="me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ts val="432"/>
              </a:spcBef>
              <a:spcAft>
                <a:spcPct val="0"/>
              </a:spcAft>
              <a:buClrTx/>
              <a:buSzTx/>
              <a:buFontTx/>
              <a:buNone/>
              <a:tabLst/>
            </a:pPr>
            <a:endParaRPr kumimoji="0" lang="da-DK" sz="1600" b="0" i="0" u="none" strike="noStrike" cap="none" normalizeH="0" baseline="0" dirty="0" err="1">
              <a:ln>
                <a:noFill/>
              </a:ln>
              <a:solidFill>
                <a:srgbClr val="FFFFFF"/>
              </a:solidFill>
              <a:effectLst/>
              <a:latin typeface="+mn-lt"/>
              <a:ea typeface="ＭＳ Ｐゴシック" pitchFamily="-80" charset="-128"/>
            </a:endParaRPr>
          </a:p>
        </p:txBody>
      </p:sp>
      <p:cxnSp>
        <p:nvCxnSpPr>
          <p:cNvPr id="16" name="Straight Connector 15">
            <a:extLst>
              <a:ext uri="{FF2B5EF4-FFF2-40B4-BE49-F238E27FC236}">
                <a16:creationId xmlns:a16="http://schemas.microsoft.com/office/drawing/2014/main" id="{BDCADFEE-4372-6077-FBB8-4BB367DB7ACD}"/>
              </a:ext>
            </a:extLst>
          </p:cNvPr>
          <p:cNvCxnSpPr/>
          <p:nvPr/>
        </p:nvCxnSpPr>
        <p:spPr bwMode="auto">
          <a:xfrm>
            <a:off x="6095206" y="4437112"/>
            <a:ext cx="1224136" cy="0"/>
          </a:xfrm>
          <a:prstGeom prst="line">
            <a:avLst/>
          </a:prstGeom>
          <a:solidFill>
            <a:schemeClr val="accent1"/>
          </a:solidFill>
          <a:ln w="25400" cap="flat" cmpd="sng" algn="ctr">
            <a:solidFill>
              <a:srgbClr val="FF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8060868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EDC8CA-696C-1DD2-723E-E418D540AB10}"/>
            </a:ext>
          </a:extLst>
        </p:cNvPr>
        <p:cNvGrpSpPr/>
        <p:nvPr/>
      </p:nvGrpSpPr>
      <p:grpSpPr>
        <a:xfrm>
          <a:off x="0" y="0"/>
          <a:ext cx="0" cy="0"/>
          <a:chOff x="0" y="0"/>
          <a:chExt cx="0" cy="0"/>
        </a:xfrm>
      </p:grpSpPr>
      <p:sp>
        <p:nvSpPr>
          <p:cNvPr id="4" name="Titel 1">
            <a:extLst>
              <a:ext uri="{FF2B5EF4-FFF2-40B4-BE49-F238E27FC236}">
                <a16:creationId xmlns:a16="http://schemas.microsoft.com/office/drawing/2014/main" id="{37D29A76-702D-4397-ED09-ED13025FC6C6}"/>
              </a:ext>
            </a:extLst>
          </p:cNvPr>
          <p:cNvSpPr>
            <a:spLocks noGrp="1"/>
          </p:cNvSpPr>
          <p:nvPr/>
        </p:nvSpPr>
        <p:spPr>
          <a:xfrm>
            <a:off x="1339186" y="134935"/>
            <a:ext cx="11238038" cy="979276"/>
          </a:xfrm>
          <a:prstGeom prst="rect">
            <a:avLst/>
          </a:prstGeom>
        </p:spPr>
        <p:txBody>
          <a:bodyPr vert="horz" lIns="91428" tIns="45714" rIns="91428" bIns="45714"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309" rtl="0" eaLnBrk="1" fontAlgn="auto" latinLnBrk="0" hangingPunct="1">
              <a:lnSpc>
                <a:spcPct val="90000"/>
              </a:lnSpc>
              <a:spcBef>
                <a:spcPct val="0"/>
              </a:spcBef>
              <a:spcAft>
                <a:spcPts val="0"/>
              </a:spcAft>
              <a:buClrTx/>
              <a:buSzTx/>
              <a:buFontTx/>
              <a:buNone/>
              <a:tabLst/>
              <a:defRPr/>
            </a:pPr>
            <a:r>
              <a:rPr kumimoji="0" lang="da-DK" sz="2400" b="0" i="0" u="none" strike="noStrike" kern="1200" cap="none" spc="0" normalizeH="0" baseline="0" noProof="0" dirty="0">
                <a:ln>
                  <a:noFill/>
                </a:ln>
                <a:solidFill>
                  <a:srgbClr val="005578"/>
                </a:solidFill>
                <a:effectLst/>
                <a:uLnTx/>
                <a:uFillTx/>
                <a:latin typeface="Open Sans" panose="020B0606030504020204" pitchFamily="34" charset="0"/>
                <a:ea typeface="Open Sans" panose="020B0606030504020204" pitchFamily="34" charset="0"/>
                <a:cs typeface="Open Sans" panose="020B0606030504020204" pitchFamily="34" charset="0"/>
              </a:rPr>
              <a:t>Background for the Digital Water Transition in DK</a:t>
            </a:r>
          </a:p>
          <a:p>
            <a:pPr marL="0" marR="0" lvl="0" indent="0" algn="l" defTabSz="914309" rtl="0" eaLnBrk="1" fontAlgn="auto" latinLnBrk="0" hangingPunct="1">
              <a:lnSpc>
                <a:spcPct val="90000"/>
              </a:lnSpc>
              <a:spcBef>
                <a:spcPct val="0"/>
              </a:spcBef>
              <a:spcAft>
                <a:spcPts val="0"/>
              </a:spcAft>
              <a:buClrTx/>
              <a:buSzTx/>
              <a:buFontTx/>
              <a:buNone/>
              <a:tabLst/>
              <a:defRPr/>
            </a:pPr>
            <a:r>
              <a:rPr kumimoji="0" lang="en-US" sz="1800" b="0" i="0" u="none" strike="noStrike" kern="1200" cap="none" spc="0" normalizeH="0" baseline="0" noProof="0" dirty="0">
                <a:ln>
                  <a:noFill/>
                </a:ln>
                <a:solidFill>
                  <a:srgbClr val="005578"/>
                </a:solidFill>
                <a:effectLst/>
                <a:uLnTx/>
                <a:uFillTx/>
                <a:latin typeface="Open Sans" panose="020B0606030504020204" pitchFamily="34" charset="0"/>
                <a:ea typeface="Open Sans" panose="020B0606030504020204" pitchFamily="34" charset="0"/>
                <a:cs typeface="Open Sans" panose="020B0606030504020204" pitchFamily="34" charset="0"/>
              </a:rPr>
              <a:t>The Growth Team's recommendations and the Government’s Digitalization Strategy 2022 – Vision 6</a:t>
            </a:r>
            <a:endParaRPr kumimoji="0" lang="da-DK" sz="1800" b="0" i="0" u="none" strike="noStrike" kern="1200" cap="none" spc="0" normalizeH="0" baseline="0" noProof="0" dirty="0">
              <a:ln>
                <a:noFill/>
              </a:ln>
              <a:solidFill>
                <a:srgbClr val="005578"/>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5" name="Billede 4">
            <a:extLst>
              <a:ext uri="{FF2B5EF4-FFF2-40B4-BE49-F238E27FC236}">
                <a16:creationId xmlns:a16="http://schemas.microsoft.com/office/drawing/2014/main" id="{2F7A5F17-3AF8-D1BB-D671-73A4469196C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2049" y="446"/>
            <a:ext cx="380853" cy="593005"/>
          </a:xfrm>
          <a:prstGeom prst="rect">
            <a:avLst/>
          </a:prstGeom>
        </p:spPr>
      </p:pic>
      <p:pic>
        <p:nvPicPr>
          <p:cNvPr id="6" name="Billede 5">
            <a:extLst>
              <a:ext uri="{FF2B5EF4-FFF2-40B4-BE49-F238E27FC236}">
                <a16:creationId xmlns:a16="http://schemas.microsoft.com/office/drawing/2014/main" id="{D334A02B-8D25-48D8-D754-B0E1595FE70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82049" y="6285852"/>
            <a:ext cx="380853" cy="593005"/>
          </a:xfrm>
          <a:prstGeom prst="rect">
            <a:avLst/>
          </a:prstGeom>
        </p:spPr>
      </p:pic>
      <p:sp>
        <p:nvSpPr>
          <p:cNvPr id="8" name="Tekstfelt 7">
            <a:extLst>
              <a:ext uri="{FF2B5EF4-FFF2-40B4-BE49-F238E27FC236}">
                <a16:creationId xmlns:a16="http://schemas.microsoft.com/office/drawing/2014/main" id="{2F295C8B-0D3E-A483-C905-17846AC79458}"/>
              </a:ext>
            </a:extLst>
          </p:cNvPr>
          <p:cNvSpPr txBox="1"/>
          <p:nvPr/>
        </p:nvSpPr>
        <p:spPr>
          <a:xfrm>
            <a:off x="399662" y="1269093"/>
            <a:ext cx="6750429" cy="5016758"/>
          </a:xfrm>
          <a:prstGeom prst="rect">
            <a:avLst/>
          </a:prstGeom>
          <a:solidFill>
            <a:schemeClr val="accent1">
              <a:lumMod val="20000"/>
              <a:lumOff val="80000"/>
            </a:schemeClr>
          </a:solidFill>
        </p:spPr>
        <p:txBody>
          <a:bodyPr wrap="square">
            <a:spAutoFit/>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TRBXWA+Lato-Regular"/>
              <a:ea typeface="ＭＳ Ｐゴシック" pitchFamily="-80" charset="-128"/>
              <a:cs typeface="+mn-cs"/>
            </a:endParaRPr>
          </a:p>
          <a:p>
            <a:pPr marL="285750" marR="0" lvl="0" indent="-285750" algn="l" defTabSz="9143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TRBXWA+Lato-Regular"/>
                <a:ea typeface="ＭＳ Ｐゴシック" pitchFamily="-80" charset="-128"/>
                <a:cs typeface="+mn-cs"/>
              </a:rPr>
              <a:t>Concrete initiatives to contribute to the green transition, e.g., by putting water data into play. With better data on where water is and where it is moving, we can better protect ourselves against the weather events we will face in the future.</a:t>
            </a:r>
          </a:p>
          <a:p>
            <a:pPr marL="285750" marR="0" lvl="0" indent="-285750" algn="l" defTabSz="91430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TRBXWA+Lato-Regular"/>
              <a:ea typeface="ＭＳ Ｐゴシック" pitchFamily="-80" charset="-128"/>
              <a:cs typeface="+mn-cs"/>
            </a:endParaRPr>
          </a:p>
          <a:p>
            <a:pPr marL="285750" marR="0" lvl="0" indent="-285750" algn="l" defTabSz="9143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TRBXWA+Lato-Regular"/>
                <a:ea typeface="ＭＳ Ｐゴシック" pitchFamily="-80" charset="-128"/>
                <a:cs typeface="+mn-cs"/>
              </a:rPr>
              <a:t>A circular databank is being established to collect and make accessible data on waste and materials, so that companies and public authorities can streamline their material consumption and minimize waste.</a:t>
            </a:r>
          </a:p>
          <a:p>
            <a:pPr marL="285750" marR="0" lvl="0" indent="-285750" algn="l" defTabSz="91430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TRBXWA+Lato-Regular"/>
              <a:ea typeface="ＭＳ Ｐゴシック" pitchFamily="-80" charset="-128"/>
              <a:cs typeface="+mn-cs"/>
            </a:endParaRPr>
          </a:p>
          <a:p>
            <a:pPr marL="285750" marR="0" lvl="0" indent="-285750" algn="l" defTabSz="9143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TRBXWA+Lato-Regular"/>
                <a:ea typeface="ＭＳ Ｐゴシック" pitchFamily="-80" charset="-128"/>
                <a:cs typeface="+mn-cs"/>
              </a:rPr>
              <a:t>A utility digitization program will drive development toward a coherent green utility sector that better utilizes resources and infrastructure across value chains and types of utilities.</a:t>
            </a:r>
          </a:p>
          <a:p>
            <a:pPr marL="285750" marR="0" lvl="0" indent="-285750" algn="l" defTabSz="91430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da-DK" sz="2000" b="0" i="0" u="none" strike="noStrike" kern="1200" cap="none" spc="0" normalizeH="0" baseline="0" noProof="0" dirty="0">
              <a:ln>
                <a:noFill/>
              </a:ln>
              <a:solidFill>
                <a:srgbClr val="000000"/>
              </a:solidFill>
              <a:effectLst/>
              <a:uLnTx/>
              <a:uFillTx/>
              <a:latin typeface="TRBXWA+Lato-Regular"/>
              <a:ea typeface="ＭＳ Ｐゴシック" pitchFamily="-80" charset="-128"/>
              <a:cs typeface="+mn-cs"/>
            </a:endParaRPr>
          </a:p>
        </p:txBody>
      </p:sp>
      <p:pic>
        <p:nvPicPr>
          <p:cNvPr id="7" name="Billede 6">
            <a:extLst>
              <a:ext uri="{FF2B5EF4-FFF2-40B4-BE49-F238E27FC236}">
                <a16:creationId xmlns:a16="http://schemas.microsoft.com/office/drawing/2014/main" id="{82EB12F8-F046-85EA-9EFE-8F3338F7F99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027049" y="5848638"/>
            <a:ext cx="1093035" cy="874427"/>
          </a:xfrm>
          <a:prstGeom prst="rect">
            <a:avLst/>
          </a:prstGeom>
        </p:spPr>
      </p:pic>
      <p:pic>
        <p:nvPicPr>
          <p:cNvPr id="9" name="Picture 3">
            <a:extLst>
              <a:ext uri="{FF2B5EF4-FFF2-40B4-BE49-F238E27FC236}">
                <a16:creationId xmlns:a16="http://schemas.microsoft.com/office/drawing/2014/main" id="{534FD8F9-3B3C-34B7-5411-84CCDD7634F0}"/>
              </a:ext>
            </a:extLst>
          </p:cNvPr>
          <p:cNvPicPr>
            <a:picLocks noChangeAspect="1"/>
          </p:cNvPicPr>
          <p:nvPr/>
        </p:nvPicPr>
        <p:blipFill>
          <a:blip r:embed="rId5"/>
          <a:stretch>
            <a:fillRect/>
          </a:stretch>
        </p:blipFill>
        <p:spPr>
          <a:xfrm rot="21093409">
            <a:off x="10622463" y="1657815"/>
            <a:ext cx="1134597" cy="1604294"/>
          </a:xfrm>
          <a:prstGeom prst="rect">
            <a:avLst/>
          </a:prstGeom>
          <a:ln>
            <a:solidFill>
              <a:schemeClr val="tx1"/>
            </a:solidFill>
          </a:ln>
        </p:spPr>
      </p:pic>
      <p:pic>
        <p:nvPicPr>
          <p:cNvPr id="10" name="Picture 4">
            <a:extLst>
              <a:ext uri="{FF2B5EF4-FFF2-40B4-BE49-F238E27FC236}">
                <a16:creationId xmlns:a16="http://schemas.microsoft.com/office/drawing/2014/main" id="{D9AE4A69-1CB4-11AA-5E0C-B222E010B37B}"/>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rot="21078257">
            <a:off x="7942367" y="1184425"/>
            <a:ext cx="2562290" cy="1821628"/>
          </a:xfrm>
          <a:prstGeom prst="rect">
            <a:avLst/>
          </a:prstGeom>
        </p:spPr>
      </p:pic>
      <p:sp>
        <p:nvSpPr>
          <p:cNvPr id="11" name="TextBox 5">
            <a:extLst>
              <a:ext uri="{FF2B5EF4-FFF2-40B4-BE49-F238E27FC236}">
                <a16:creationId xmlns:a16="http://schemas.microsoft.com/office/drawing/2014/main" id="{6ED5C726-9520-1766-43EF-B3901988EA9A}"/>
              </a:ext>
            </a:extLst>
          </p:cNvPr>
          <p:cNvSpPr txBox="1"/>
          <p:nvPr/>
        </p:nvSpPr>
        <p:spPr>
          <a:xfrm>
            <a:off x="8112267" y="3245512"/>
            <a:ext cx="2515367" cy="161583"/>
          </a:xfrm>
          <a:prstGeom prst="rect">
            <a:avLst/>
          </a:prstGeom>
          <a:noFill/>
        </p:spPr>
        <p:txBody>
          <a:bodyPr wrap="square" lIns="0" tIns="0" rIns="0" bIns="0" rtlCol="0">
            <a:spAutoFit/>
          </a:bodyPr>
          <a:lstStyle/>
          <a:p>
            <a:pPr marL="0" marR="0" lvl="0" indent="0" algn="l" defTabSz="914309" rtl="0" eaLnBrk="1" fontAlgn="auto" latinLnBrk="0" hangingPunct="1">
              <a:lnSpc>
                <a:spcPct val="100000"/>
              </a:lnSpc>
              <a:spcBef>
                <a:spcPts val="432"/>
              </a:spcBef>
              <a:spcAft>
                <a:spcPts val="0"/>
              </a:spcAft>
              <a:buClrTx/>
              <a:buSzTx/>
              <a:buFontTx/>
              <a:buNone/>
              <a:tabLst/>
              <a:defRPr/>
            </a:pPr>
            <a:r>
              <a:rPr kumimoji="0" lang="en-GB" sz="1050" b="0" i="0" u="none" strike="noStrike" kern="1200" cap="none" spc="0" normalizeH="0" baseline="0" noProof="0" dirty="0">
                <a:ln>
                  <a:noFill/>
                </a:ln>
                <a:solidFill>
                  <a:srgbClr val="002060"/>
                </a:solidFill>
                <a:effectLst/>
                <a:uLnTx/>
                <a:uFillTx/>
                <a:latin typeface="Circular Std Black"/>
                <a:ea typeface="ＭＳ Ｐゴシック" pitchFamily="-80" charset="-128"/>
                <a:cs typeface="+mn-cs"/>
              </a:rPr>
              <a:t>DTU </a:t>
            </a:r>
            <a:r>
              <a:rPr kumimoji="0" lang="en-GB" sz="1050" b="0" i="0" u="none" strike="noStrike" kern="1200" cap="none" spc="0" normalizeH="0" baseline="0" noProof="0" dirty="0" err="1">
                <a:ln>
                  <a:noFill/>
                </a:ln>
                <a:solidFill>
                  <a:srgbClr val="002060"/>
                </a:solidFill>
                <a:effectLst/>
                <a:uLnTx/>
                <a:uFillTx/>
                <a:latin typeface="Circular Std Black"/>
                <a:ea typeface="ＭＳ Ｐゴシック" pitchFamily="-80" charset="-128"/>
                <a:cs typeface="+mn-cs"/>
              </a:rPr>
              <a:t>Sektorudviklingsrapport</a:t>
            </a:r>
            <a:r>
              <a:rPr kumimoji="0" lang="en-GB" sz="1050" b="0" i="0" u="none" strike="noStrike" kern="1200" cap="none" spc="0" normalizeH="0" baseline="0" noProof="0" dirty="0">
                <a:ln>
                  <a:noFill/>
                </a:ln>
                <a:solidFill>
                  <a:srgbClr val="002060"/>
                </a:solidFill>
                <a:effectLst/>
                <a:uLnTx/>
                <a:uFillTx/>
                <a:latin typeface="Circular Std Black"/>
                <a:ea typeface="ＭＳ Ｐゴシック" pitchFamily="-80" charset="-128"/>
                <a:cs typeface="+mn-cs"/>
              </a:rPr>
              <a:t>, marts 2019</a:t>
            </a:r>
          </a:p>
        </p:txBody>
      </p:sp>
      <p:pic>
        <p:nvPicPr>
          <p:cNvPr id="12" name="Billede 11">
            <a:extLst>
              <a:ext uri="{FF2B5EF4-FFF2-40B4-BE49-F238E27FC236}">
                <a16:creationId xmlns:a16="http://schemas.microsoft.com/office/drawing/2014/main" id="{2CE8B1BE-064C-5014-E0CD-B8DE0DD0ED12}"/>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rot="20609480">
            <a:off x="7483808" y="3973074"/>
            <a:ext cx="4577414" cy="2152181"/>
          </a:xfrm>
          <a:prstGeom prst="rect">
            <a:avLst/>
          </a:prstGeom>
        </p:spPr>
      </p:pic>
      <p:sp>
        <p:nvSpPr>
          <p:cNvPr id="13" name="TextBox 5">
            <a:extLst>
              <a:ext uri="{FF2B5EF4-FFF2-40B4-BE49-F238E27FC236}">
                <a16:creationId xmlns:a16="http://schemas.microsoft.com/office/drawing/2014/main" id="{667B7395-63DC-1B4F-D76E-131153522ABA}"/>
              </a:ext>
            </a:extLst>
          </p:cNvPr>
          <p:cNvSpPr txBox="1"/>
          <p:nvPr/>
        </p:nvSpPr>
        <p:spPr>
          <a:xfrm>
            <a:off x="8795638" y="6420771"/>
            <a:ext cx="2231411" cy="161583"/>
          </a:xfrm>
          <a:prstGeom prst="rect">
            <a:avLst/>
          </a:prstGeom>
          <a:noFill/>
        </p:spPr>
        <p:txBody>
          <a:bodyPr wrap="square" lIns="0" tIns="0" rIns="0" bIns="0" rtlCol="0">
            <a:spAutoFit/>
          </a:bodyPr>
          <a:lstStyle/>
          <a:p>
            <a:pPr marL="0" marR="0" lvl="0" indent="0" algn="l" defTabSz="914309" rtl="0" eaLnBrk="1" fontAlgn="auto" latinLnBrk="0" hangingPunct="1">
              <a:lnSpc>
                <a:spcPct val="100000"/>
              </a:lnSpc>
              <a:spcBef>
                <a:spcPts val="432"/>
              </a:spcBef>
              <a:spcAft>
                <a:spcPts val="0"/>
              </a:spcAft>
              <a:buClrTx/>
              <a:buSzTx/>
              <a:buFontTx/>
              <a:buNone/>
              <a:tabLst/>
              <a:defRPr/>
            </a:pPr>
            <a:r>
              <a:rPr kumimoji="0" lang="en-GB" sz="1050" b="0" i="0" u="none" strike="noStrike" kern="1200" cap="none" spc="0" normalizeH="0" baseline="0" noProof="0" dirty="0" err="1">
                <a:ln>
                  <a:noFill/>
                </a:ln>
                <a:solidFill>
                  <a:srgbClr val="002060"/>
                </a:solidFill>
                <a:effectLst/>
                <a:uLnTx/>
                <a:uFillTx/>
                <a:latin typeface="Circular Std Black"/>
                <a:ea typeface="ＭＳ Ｐゴシック" pitchFamily="-80" charset="-128"/>
                <a:cs typeface="+mn-cs"/>
              </a:rPr>
              <a:t>Miljøstyrelsen</a:t>
            </a:r>
            <a:r>
              <a:rPr kumimoji="0" lang="en-GB" sz="1050" b="0" i="0" u="none" strike="noStrike" kern="1200" cap="none" spc="0" normalizeH="0" baseline="0" noProof="0" dirty="0">
                <a:ln>
                  <a:noFill/>
                </a:ln>
                <a:solidFill>
                  <a:srgbClr val="002060"/>
                </a:solidFill>
                <a:effectLst/>
                <a:uLnTx/>
                <a:uFillTx/>
                <a:latin typeface="Circular Std Black"/>
                <a:ea typeface="ＭＳ Ｐゴシック" pitchFamily="-80" charset="-128"/>
                <a:cs typeface="+mn-cs"/>
              </a:rPr>
              <a:t>, December 2019</a:t>
            </a:r>
          </a:p>
        </p:txBody>
      </p:sp>
    </p:spTree>
    <p:extLst>
      <p:ext uri="{BB962C8B-B14F-4D97-AF65-F5344CB8AC3E}">
        <p14:creationId xmlns:p14="http://schemas.microsoft.com/office/powerpoint/2010/main" val="1972337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0630" y="0"/>
            <a:ext cx="10176470" cy="972716"/>
          </a:xfrm>
        </p:spPr>
        <p:txBody>
          <a:bodyPr/>
          <a:lstStyle/>
          <a:p>
            <a:r>
              <a:rPr lang="en-US" dirty="0"/>
              <a:t>Research design </a:t>
            </a:r>
            <a:endParaRPr lang="da-DK" dirty="0"/>
          </a:p>
        </p:txBody>
      </p:sp>
      <p:sp>
        <p:nvSpPr>
          <p:cNvPr id="3" name="Content Placeholder 2"/>
          <p:cNvSpPr>
            <a:spLocks noGrp="1"/>
          </p:cNvSpPr>
          <p:nvPr>
            <p:ph idx="1"/>
          </p:nvPr>
        </p:nvSpPr>
        <p:spPr>
          <a:xfrm>
            <a:off x="838622" y="1196752"/>
            <a:ext cx="9865096" cy="5055154"/>
          </a:xfrm>
        </p:spPr>
        <p:txBody>
          <a:bodyPr/>
          <a:lstStyle/>
          <a:p>
            <a:r>
              <a:rPr lang="en-GB" sz="2400" b="1" dirty="0"/>
              <a:t>Two interrelated phenomena </a:t>
            </a:r>
            <a:r>
              <a:rPr lang="en-GB" sz="2400" dirty="0"/>
              <a:t>worth investigating: </a:t>
            </a:r>
          </a:p>
          <a:p>
            <a:endParaRPr lang="da-DK" sz="2400" dirty="0"/>
          </a:p>
          <a:p>
            <a:pPr marL="457200" indent="-457200">
              <a:buFont typeface="+mj-lt"/>
              <a:buAutoNum type="arabicPeriod"/>
            </a:pPr>
            <a:r>
              <a:rPr lang="en-GB" sz="2400" dirty="0"/>
              <a:t>“</a:t>
            </a:r>
            <a:r>
              <a:rPr lang="en-GB" sz="2400" b="1" dirty="0"/>
              <a:t>The digital water transition in Denmark</a:t>
            </a:r>
            <a:r>
              <a:rPr lang="en-GB" sz="2400" dirty="0"/>
              <a:t>” to better understand its dynamics in terms of opportunities, challenges and direction.  </a:t>
            </a:r>
            <a:endParaRPr lang="da-DK" sz="2400" dirty="0"/>
          </a:p>
          <a:p>
            <a:pPr marL="457200" indent="-457200">
              <a:buFont typeface="+mj-lt"/>
              <a:buAutoNum type="arabicPeriod"/>
            </a:pPr>
            <a:r>
              <a:rPr lang="en-GB" sz="2400" dirty="0"/>
              <a:t>“</a:t>
            </a:r>
            <a:r>
              <a:rPr lang="en-GB" sz="2400" b="1" dirty="0"/>
              <a:t>The development of water data spaces in Denmark</a:t>
            </a:r>
            <a:r>
              <a:rPr lang="en-GB" sz="2400" dirty="0"/>
              <a:t>” to better understand what are the opportunities and challenges for these to contribute to the Digital and Green (Twin) water transition in Denmark and beyond. </a:t>
            </a:r>
          </a:p>
          <a:p>
            <a:pPr marL="673200" lvl="1" indent="-457200">
              <a:buFont typeface="+mj-lt"/>
              <a:buAutoNum type="arabicPeriod"/>
            </a:pPr>
            <a:endParaRPr lang="da-DK" sz="2400" dirty="0"/>
          </a:p>
          <a:p>
            <a:r>
              <a:rPr lang="en-US" sz="2400" dirty="0"/>
              <a:t>The 2</a:t>
            </a:r>
            <a:r>
              <a:rPr lang="en-US" sz="2400" baseline="30000" dirty="0"/>
              <a:t>nd</a:t>
            </a:r>
            <a:r>
              <a:rPr lang="en-US" sz="2400" dirty="0"/>
              <a:t> phenomenon is the central one so we have identified cases of water data space ecosystems at different development stages and context </a:t>
            </a:r>
          </a:p>
          <a:p>
            <a:r>
              <a:rPr lang="en-US" sz="2400" dirty="0"/>
              <a:t>We expect that knowledge on the 2</a:t>
            </a:r>
            <a:r>
              <a:rPr lang="en-US" sz="2400" baseline="30000" dirty="0"/>
              <a:t>nd</a:t>
            </a:r>
            <a:r>
              <a:rPr lang="en-US" sz="2400" dirty="0"/>
              <a:t> phenomenon will inform the 1</a:t>
            </a:r>
            <a:r>
              <a:rPr lang="en-US" sz="2400" baseline="30000" dirty="0"/>
              <a:t>st</a:t>
            </a:r>
            <a:r>
              <a:rPr lang="en-US" sz="2400" dirty="0"/>
              <a:t> </a:t>
            </a:r>
          </a:p>
          <a:p>
            <a:pPr lvl="1"/>
            <a:endParaRPr lang="en-GB" sz="2400" dirty="0"/>
          </a:p>
        </p:txBody>
      </p:sp>
      <p:sp>
        <p:nvSpPr>
          <p:cNvPr id="4" name="Footer Placeholder 3"/>
          <p:cNvSpPr>
            <a:spLocks noGrp="1"/>
          </p:cNvSpPr>
          <p:nvPr>
            <p:ph type="ftr" sz="quarter" idx="10"/>
          </p:nvPr>
        </p:nvSpPr>
        <p:spPr/>
        <p:txBody>
          <a:bodyPr/>
          <a:lstStyle/>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da-DK" sz="700" b="0" i="0" u="none" strike="noStrike" kern="1200" cap="none" spc="0" normalizeH="0" baseline="0" noProof="0" dirty="0">
              <a:ln>
                <a:noFill/>
              </a:ln>
              <a:noFill/>
              <a:effectLst/>
              <a:uLnTx/>
              <a:uFillTx/>
              <a:latin typeface="Arial"/>
              <a:ea typeface="ＭＳ Ｐゴシック" pitchFamily="-80" charset="-128"/>
              <a:cs typeface="+mn-cs"/>
            </a:endParaRPr>
          </a:p>
        </p:txBody>
      </p:sp>
      <p:sp>
        <p:nvSpPr>
          <p:cNvPr id="5" name="Slide Number Placeholder 4"/>
          <p:cNvSpPr>
            <a:spLocks noGrp="1"/>
          </p:cNvSpPr>
          <p:nvPr>
            <p:ph type="sldNum" sz="quarter" idx="11"/>
          </p:nvPr>
        </p:nvSpPr>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fld id="{103EA872-A674-449B-A120-B97244F8E91D}" type="slidenum">
              <a:rPr kumimoji="0" lang="da-DK" sz="700" b="1" i="0" u="none" strike="noStrike" kern="1200" cap="none" spc="0" normalizeH="0" baseline="0" noProof="0" smtClean="0">
                <a:ln>
                  <a:noFill/>
                </a:ln>
                <a:solidFill>
                  <a:srgbClr val="FFFFFF"/>
                </a:solidFill>
                <a:effectLst/>
                <a:uLnTx/>
                <a:uFillTx/>
                <a:latin typeface="Arial"/>
                <a:ea typeface="ＭＳ Ｐゴシック" pitchFamily="-80" charset="-128"/>
                <a:cs typeface="+mn-cs"/>
              </a:rPr>
              <a:pPr marL="0" marR="0" lvl="0" indent="0" algn="l" defTabSz="914400" rtl="0" eaLnBrk="1" fontAlgn="base" latinLnBrk="0" hangingPunct="1">
                <a:lnSpc>
                  <a:spcPct val="100000"/>
                </a:lnSpc>
                <a:spcBef>
                  <a:spcPct val="50000"/>
                </a:spcBef>
                <a:spcAft>
                  <a:spcPct val="0"/>
                </a:spcAft>
                <a:buClrTx/>
                <a:buSzTx/>
                <a:buFontTx/>
                <a:buNone/>
                <a:tabLst/>
                <a:defRPr/>
              </a:pPr>
              <a:t>17</a:t>
            </a:fld>
            <a:endParaRPr kumimoji="0" lang="da-DK" sz="700" b="1" i="0" u="none" strike="noStrike" kern="1200" cap="none" spc="0" normalizeH="0" baseline="0" noProof="0" dirty="0">
              <a:ln>
                <a:noFill/>
              </a:ln>
              <a:solidFill>
                <a:srgbClr val="FFFFFF"/>
              </a:solidFill>
              <a:effectLst/>
              <a:uLnTx/>
              <a:uFillTx/>
              <a:latin typeface="Arial"/>
              <a:ea typeface="ＭＳ Ｐゴシック" pitchFamily="-80" charset="-128"/>
              <a:cs typeface="+mn-cs"/>
            </a:endParaRPr>
          </a:p>
        </p:txBody>
      </p:sp>
      <p:pic>
        <p:nvPicPr>
          <p:cNvPr id="6" name="Picture 6">
            <a:extLst>
              <a:ext uri="{FF2B5EF4-FFF2-40B4-BE49-F238E27FC236}">
                <a16:creationId xmlns:a16="http://schemas.microsoft.com/office/drawing/2014/main" id="{E91ACDE9-BD36-C9EB-0D1C-F263DECBD48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439772" y="3370613"/>
            <a:ext cx="1824037" cy="33289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31290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294967295"/>
          </p:nvPr>
        </p:nvSpPr>
        <p:spPr>
          <a:xfrm>
            <a:off x="11757025" y="6540500"/>
            <a:ext cx="433388" cy="317500"/>
          </a:xfrm>
        </p:spPr>
        <p:txBody>
          <a:bodyPr/>
          <a:lstStyle/>
          <a:p>
            <a:fld id="{51B10101-CE5F-44C4-A3FE-7A8EB2967DBE}" type="slidenum">
              <a:rPr lang="da-DK" smtClean="0"/>
              <a:t>18</a:t>
            </a:fld>
            <a:endParaRPr lang="da-DK"/>
          </a:p>
        </p:txBody>
      </p:sp>
      <p:sp>
        <p:nvSpPr>
          <p:cNvPr id="25" name="Rectangle 24"/>
          <p:cNvSpPr/>
          <p:nvPr/>
        </p:nvSpPr>
        <p:spPr>
          <a:xfrm>
            <a:off x="190550" y="188642"/>
            <a:ext cx="11809312" cy="6262691"/>
          </a:xfrm>
          <a:prstGeom prst="rect">
            <a:avLst/>
          </a:prstGeom>
          <a:solidFill>
            <a:srgbClr val="E7E6E6"/>
          </a:solidFill>
          <a:ln w="28575" cap="flat" cmpd="sng" algn="ctr">
            <a:solidFill>
              <a:srgbClr val="000000"/>
            </a:solidFill>
            <a:prstDash val="lgDash"/>
            <a:miter lim="800000"/>
          </a:ln>
          <a:effectLst/>
        </p:spPr>
        <p:txBody>
          <a:bodyPr rtlCol="0" anchor="ctr"/>
          <a:lstStyle/>
          <a:p>
            <a:pPr marL="0" marR="0" lvl="0" indent="0" algn="ctr" defTabSz="914218"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grpSp>
        <p:nvGrpSpPr>
          <p:cNvPr id="26" name="Group 25"/>
          <p:cNvGrpSpPr/>
          <p:nvPr/>
        </p:nvGrpSpPr>
        <p:grpSpPr>
          <a:xfrm>
            <a:off x="2189611" y="557876"/>
            <a:ext cx="5345755" cy="4999671"/>
            <a:chOff x="2189101" y="679502"/>
            <a:chExt cx="5727069" cy="5356298"/>
          </a:xfrm>
        </p:grpSpPr>
        <p:sp>
          <p:nvSpPr>
            <p:cNvPr id="27" name="Oval 26"/>
            <p:cNvSpPr/>
            <p:nvPr/>
          </p:nvSpPr>
          <p:spPr bwMode="auto">
            <a:xfrm>
              <a:off x="2189101" y="679502"/>
              <a:ext cx="5727069" cy="5356298"/>
            </a:xfrm>
            <a:prstGeom prst="ellipse">
              <a:avLst/>
            </a:prstGeom>
            <a:solidFill>
              <a:srgbClr val="5B9BD5">
                <a:lumMod val="40000"/>
                <a:lumOff val="60000"/>
              </a:srgbClr>
            </a:solidFill>
            <a:ln w="9525" cap="flat" cmpd="sng" algn="ctr">
              <a:solidFill>
                <a:sysClr val="windowText" lastClr="000000"/>
              </a:solidFill>
              <a:prstDash val="solid"/>
              <a:miter lim="800000"/>
              <a:headEnd type="none" w="med" len="med"/>
              <a:tailEnd type="none" w="med" len="med"/>
            </a:ln>
            <a:effectLst/>
          </p:spPr>
          <p:txBody>
            <a:bodyPr rot="0" spcFirstLastPara="0" vertOverflow="overflow" horzOverflow="overflow" vert="horz" wrap="square" lIns="89976" tIns="46788" rIns="89976" bIns="46788" numCol="1" spcCol="0" rtlCol="0" fromWordArt="0" anchor="ctr" anchorCtr="0" forceAA="0" compatLnSpc="1">
              <a:prstTxWarp prst="textNoShape">
                <a:avLst/>
              </a:prstTxWarp>
              <a:noAutofit/>
            </a:bodyPr>
            <a:lstStyle/>
            <a:p>
              <a:pPr marL="0" marR="0" lvl="0" indent="0" algn="ctr" defTabSz="914218" eaLnBrk="1" fontAlgn="auto" latinLnBrk="0" hangingPunct="1">
                <a:lnSpc>
                  <a:spcPct val="100000"/>
                </a:lnSpc>
                <a:spcBef>
                  <a:spcPts val="432"/>
                </a:spcBef>
                <a:spcAft>
                  <a:spcPts val="0"/>
                </a:spcAft>
                <a:buClrTx/>
                <a:buSzTx/>
                <a:buFontTx/>
                <a:buNone/>
                <a:tabLst/>
                <a:defRPr/>
              </a:pPr>
              <a:endParaRPr kumimoji="0" lang="en-US" b="0" i="0" u="none" strike="noStrike" kern="0" cap="none" spc="0" normalizeH="0" baseline="0" noProof="0" dirty="0" err="1">
                <a:ln>
                  <a:noFill/>
                </a:ln>
                <a:solidFill>
                  <a:srgbClr val="FFFFFF"/>
                </a:solidFill>
                <a:effectLst/>
                <a:uLnTx/>
                <a:uFillTx/>
                <a:latin typeface="Calibri" panose="020F0502020204030204"/>
              </a:endParaRPr>
            </a:p>
          </p:txBody>
        </p:sp>
        <p:sp>
          <p:nvSpPr>
            <p:cNvPr id="28" name="TextBox 27"/>
            <p:cNvSpPr txBox="1"/>
            <p:nvPr/>
          </p:nvSpPr>
          <p:spPr>
            <a:xfrm>
              <a:off x="4638093" y="844717"/>
              <a:ext cx="1773412" cy="846308"/>
            </a:xfrm>
            <a:prstGeom prst="rect">
              <a:avLst/>
            </a:prstGeom>
            <a:noFill/>
          </p:spPr>
          <p:txBody>
            <a:bodyPr wrap="square" lIns="0" tIns="0" rIns="0" bIns="0" rtlCol="0">
              <a:spAutoFit/>
            </a:bodyPr>
            <a:lstStyle/>
            <a:p>
              <a:pPr marL="0" marR="0" lvl="0" indent="0" defTabSz="914218" eaLnBrk="1" fontAlgn="auto" latinLnBrk="0" hangingPunct="1">
                <a:lnSpc>
                  <a:spcPct val="100000"/>
                </a:lnSpc>
                <a:spcBef>
                  <a:spcPts val="432"/>
                </a:spcBef>
                <a:spcAft>
                  <a:spcPts val="0"/>
                </a:spcAft>
                <a:buClrTx/>
                <a:buSzTx/>
                <a:buFontTx/>
                <a:buNone/>
                <a:tabLst/>
                <a:defRPr/>
              </a:pPr>
              <a:r>
                <a:rPr kumimoji="0" lang="da-DK" b="1" i="0" u="none" strike="noStrike" kern="0" cap="none" spc="0" normalizeH="0" baseline="0" noProof="0" dirty="0">
                  <a:ln>
                    <a:noFill/>
                  </a:ln>
                  <a:solidFill>
                    <a:prstClr val="black"/>
                  </a:solidFill>
                  <a:effectLst/>
                  <a:uLnTx/>
                  <a:uFillTx/>
                  <a:latin typeface="Calibri" panose="020F0502020204030204"/>
                </a:rPr>
                <a:t>CASE STUDY A</a:t>
              </a:r>
              <a:r>
                <a:rPr kumimoji="0" lang="da-DK" b="0" i="0" u="none" strike="noStrike" kern="0" cap="none" spc="0" normalizeH="0" baseline="0" noProof="0" dirty="0">
                  <a:ln>
                    <a:noFill/>
                  </a:ln>
                  <a:solidFill>
                    <a:prstClr val="black"/>
                  </a:solidFill>
                  <a:effectLst/>
                  <a:uLnTx/>
                  <a:uFillTx/>
                  <a:latin typeface="Calibri" panose="020F0502020204030204"/>
                </a:rPr>
                <a:t>: </a:t>
              </a:r>
            </a:p>
            <a:p>
              <a:pPr marL="0" marR="0" lvl="0" indent="0" defTabSz="914218" eaLnBrk="1" fontAlgn="auto" latinLnBrk="0" hangingPunct="1">
                <a:lnSpc>
                  <a:spcPct val="100000"/>
                </a:lnSpc>
                <a:spcBef>
                  <a:spcPts val="432"/>
                </a:spcBef>
                <a:spcAft>
                  <a:spcPts val="0"/>
                </a:spcAft>
                <a:buClrTx/>
                <a:buSzTx/>
                <a:buFontTx/>
                <a:buNone/>
                <a:tabLst/>
                <a:defRPr/>
              </a:pPr>
              <a:r>
                <a:rPr kumimoji="0" lang="da-DK" b="0" i="0" u="none" strike="noStrike" kern="0" cap="none" spc="0" normalizeH="0" baseline="0" noProof="0" dirty="0">
                  <a:ln>
                    <a:noFill/>
                  </a:ln>
                  <a:solidFill>
                    <a:prstClr val="black"/>
                  </a:solidFill>
                  <a:effectLst/>
                  <a:uLnTx/>
                  <a:uFillTx/>
                  <a:latin typeface="Calibri" panose="020F0502020204030204"/>
                </a:rPr>
                <a:t>Water Data Space Project </a:t>
              </a:r>
            </a:p>
          </p:txBody>
        </p:sp>
      </p:grpSp>
      <p:grpSp>
        <p:nvGrpSpPr>
          <p:cNvPr id="29" name="Group 28"/>
          <p:cNvGrpSpPr/>
          <p:nvPr/>
        </p:nvGrpSpPr>
        <p:grpSpPr>
          <a:xfrm>
            <a:off x="2719276" y="1123968"/>
            <a:ext cx="1884487" cy="1771677"/>
            <a:chOff x="2718837" y="1245668"/>
            <a:chExt cx="1884732" cy="1771908"/>
          </a:xfrm>
        </p:grpSpPr>
        <p:sp>
          <p:nvSpPr>
            <p:cNvPr id="30" name="Oval 29"/>
            <p:cNvSpPr/>
            <p:nvPr/>
          </p:nvSpPr>
          <p:spPr bwMode="auto">
            <a:xfrm>
              <a:off x="2718837" y="1245668"/>
              <a:ext cx="1884732" cy="1771908"/>
            </a:xfrm>
            <a:prstGeom prst="ellipse">
              <a:avLst/>
            </a:prstGeom>
            <a:solidFill>
              <a:srgbClr val="ED7D31">
                <a:lumMod val="40000"/>
                <a:lumOff val="60000"/>
              </a:srgbClr>
            </a:solidFill>
            <a:ln w="9525" cap="flat" cmpd="sng" algn="ctr">
              <a:solidFill>
                <a:sysClr val="windowText" lastClr="000000"/>
              </a:solidFill>
              <a:prstDash val="solid"/>
              <a:miter lim="800000"/>
              <a:headEnd type="none" w="med" len="med"/>
              <a:tailEnd type="none" w="med" len="med"/>
            </a:ln>
            <a:effectLst/>
          </p:spPr>
          <p:txBody>
            <a:bodyPr rot="0" spcFirstLastPara="0" vertOverflow="overflow" horzOverflow="overflow" vert="horz" wrap="square" lIns="89976" tIns="46788" rIns="89976" bIns="46788" numCol="1" spcCol="0" rtlCol="0" fromWordArt="0" anchor="ctr" anchorCtr="0" forceAA="0" compatLnSpc="1">
              <a:prstTxWarp prst="textNoShape">
                <a:avLst/>
              </a:prstTxWarp>
              <a:noAutofit/>
            </a:bodyPr>
            <a:lstStyle/>
            <a:p>
              <a:pPr marL="0" marR="0" lvl="0" indent="0" algn="ctr" defTabSz="914218" eaLnBrk="1" fontAlgn="auto" latinLnBrk="0" hangingPunct="1">
                <a:lnSpc>
                  <a:spcPct val="100000"/>
                </a:lnSpc>
                <a:spcBef>
                  <a:spcPts val="432"/>
                </a:spcBef>
                <a:spcAft>
                  <a:spcPts val="0"/>
                </a:spcAft>
                <a:buClrTx/>
                <a:buSzTx/>
                <a:buFontTx/>
                <a:buNone/>
                <a:tabLst/>
                <a:defRPr/>
              </a:pPr>
              <a:endParaRPr kumimoji="0" lang="en-US" b="0" i="0" u="none" strike="noStrike" kern="0" cap="none" spc="0" normalizeH="0" baseline="0" noProof="0" dirty="0" err="1">
                <a:ln>
                  <a:noFill/>
                </a:ln>
                <a:solidFill>
                  <a:srgbClr val="FFFFFF"/>
                </a:solidFill>
                <a:effectLst/>
                <a:uLnTx/>
                <a:uFillTx/>
                <a:latin typeface="Calibri" panose="020F0502020204030204"/>
              </a:endParaRPr>
            </a:p>
          </p:txBody>
        </p:sp>
        <p:sp>
          <p:nvSpPr>
            <p:cNvPr id="31" name="TextBox 30"/>
            <p:cNvSpPr txBox="1"/>
            <p:nvPr/>
          </p:nvSpPr>
          <p:spPr>
            <a:xfrm>
              <a:off x="2940591" y="1599067"/>
              <a:ext cx="1652237" cy="1036316"/>
            </a:xfrm>
            <a:prstGeom prst="rect">
              <a:avLst/>
            </a:prstGeom>
            <a:noFill/>
          </p:spPr>
          <p:txBody>
            <a:bodyPr wrap="square" lIns="0" tIns="0" rIns="0" bIns="0" rtlCol="0">
              <a:spAutoFit/>
            </a:bodyPr>
            <a:lstStyle/>
            <a:p>
              <a:pPr marL="0" marR="0" lvl="0" indent="0" defTabSz="914218" eaLnBrk="1" fontAlgn="auto" latinLnBrk="0" hangingPunct="1">
                <a:lnSpc>
                  <a:spcPct val="100000"/>
                </a:lnSpc>
                <a:spcBef>
                  <a:spcPts val="432"/>
                </a:spcBef>
                <a:spcAft>
                  <a:spcPts val="0"/>
                </a:spcAft>
                <a:buClrTx/>
                <a:buSzTx/>
                <a:buFontTx/>
                <a:buNone/>
                <a:tabLst/>
                <a:defRPr/>
              </a:pPr>
              <a:r>
                <a:rPr kumimoji="0" lang="da-DK" b="1" i="0" u="sng" strike="noStrike" kern="0" cap="none" spc="0" normalizeH="0" baseline="0" noProof="0" dirty="0" err="1">
                  <a:ln>
                    <a:noFill/>
                  </a:ln>
                  <a:solidFill>
                    <a:prstClr val="black"/>
                  </a:solidFill>
                  <a:effectLst/>
                  <a:uLnTx/>
                  <a:uFillTx/>
                  <a:latin typeface="Calibri" panose="020F0502020204030204"/>
                </a:rPr>
                <a:t>Use</a:t>
              </a:r>
              <a:r>
                <a:rPr kumimoji="0" lang="da-DK" b="1" i="0" u="sng" strike="noStrike" kern="0" cap="none" spc="0" normalizeH="0" baseline="0" noProof="0" dirty="0">
                  <a:ln>
                    <a:noFill/>
                  </a:ln>
                  <a:solidFill>
                    <a:prstClr val="black"/>
                  </a:solidFill>
                  <a:effectLst/>
                  <a:uLnTx/>
                  <a:uFillTx/>
                  <a:latin typeface="Calibri" panose="020F0502020204030204"/>
                </a:rPr>
                <a:t>-case 1</a:t>
              </a:r>
              <a:r>
                <a:rPr kumimoji="0" lang="da-DK" b="0" i="0" u="none" strike="noStrike" kern="0" cap="none" spc="0" normalizeH="0" baseline="0" noProof="0" dirty="0">
                  <a:ln>
                    <a:noFill/>
                  </a:ln>
                  <a:solidFill>
                    <a:prstClr val="black"/>
                  </a:solidFill>
                  <a:effectLst/>
                  <a:uLnTx/>
                  <a:uFillTx/>
                  <a:latin typeface="Calibri" panose="020F0502020204030204"/>
                </a:rPr>
                <a:t>:</a:t>
              </a:r>
            </a:p>
            <a:p>
              <a:pPr marL="0" marR="0" lvl="0" indent="0" defTabSz="914218" eaLnBrk="1" fontAlgn="auto" latinLnBrk="0" hangingPunct="1">
                <a:lnSpc>
                  <a:spcPct val="100000"/>
                </a:lnSpc>
                <a:spcBef>
                  <a:spcPts val="432"/>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latin typeface="Calibri" panose="020F0502020204030204"/>
                </a:rPr>
                <a:t>Automated reporting to the utility secretariat</a:t>
              </a:r>
            </a:p>
          </p:txBody>
        </p:sp>
      </p:grpSp>
      <p:grpSp>
        <p:nvGrpSpPr>
          <p:cNvPr id="32" name="Group 31"/>
          <p:cNvGrpSpPr/>
          <p:nvPr/>
        </p:nvGrpSpPr>
        <p:grpSpPr>
          <a:xfrm>
            <a:off x="6749395" y="357895"/>
            <a:ext cx="3383494" cy="3383494"/>
            <a:chOff x="6749480" y="479493"/>
            <a:chExt cx="3383935" cy="3383935"/>
          </a:xfrm>
        </p:grpSpPr>
        <p:sp>
          <p:nvSpPr>
            <p:cNvPr id="33" name="Oval 32"/>
            <p:cNvSpPr/>
            <p:nvPr/>
          </p:nvSpPr>
          <p:spPr bwMode="auto">
            <a:xfrm>
              <a:off x="6749480" y="479493"/>
              <a:ext cx="3383935" cy="3383935"/>
            </a:xfrm>
            <a:prstGeom prst="ellipse">
              <a:avLst/>
            </a:prstGeom>
            <a:solidFill>
              <a:srgbClr val="70AD47">
                <a:lumMod val="40000"/>
                <a:lumOff val="60000"/>
              </a:srgbClr>
            </a:solidFill>
            <a:ln w="9525" cap="flat" cmpd="sng" algn="ctr">
              <a:solidFill>
                <a:sysClr val="windowText" lastClr="000000"/>
              </a:solidFill>
              <a:prstDash val="solid"/>
              <a:miter lim="800000"/>
              <a:headEnd type="none" w="med" len="med"/>
              <a:tailEnd type="none" w="med" len="med"/>
            </a:ln>
            <a:effectLst/>
          </p:spPr>
          <p:txBody>
            <a:bodyPr rot="0" spcFirstLastPara="0" vertOverflow="overflow" horzOverflow="overflow" vert="horz" wrap="square" lIns="89976" tIns="46788" rIns="89976" bIns="46788" numCol="1" spcCol="0" rtlCol="0" fromWordArt="0" anchor="ctr" anchorCtr="0" forceAA="0" compatLnSpc="1">
              <a:prstTxWarp prst="textNoShape">
                <a:avLst/>
              </a:prstTxWarp>
              <a:noAutofit/>
            </a:bodyPr>
            <a:lstStyle/>
            <a:p>
              <a:pPr marL="0" marR="0" lvl="0" indent="0" algn="ctr" defTabSz="914218" eaLnBrk="1" fontAlgn="auto" latinLnBrk="0" hangingPunct="1">
                <a:lnSpc>
                  <a:spcPct val="100000"/>
                </a:lnSpc>
                <a:spcBef>
                  <a:spcPts val="432"/>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Calibri" panose="020F0502020204030204"/>
              </a:endParaRPr>
            </a:p>
          </p:txBody>
        </p:sp>
        <p:sp>
          <p:nvSpPr>
            <p:cNvPr id="34" name="TextBox 33"/>
            <p:cNvSpPr txBox="1"/>
            <p:nvPr/>
          </p:nvSpPr>
          <p:spPr>
            <a:xfrm>
              <a:off x="7412493" y="1302357"/>
              <a:ext cx="2234510" cy="2021329"/>
            </a:xfrm>
            <a:prstGeom prst="rect">
              <a:avLst/>
            </a:prstGeom>
            <a:noFill/>
          </p:spPr>
          <p:txBody>
            <a:bodyPr wrap="square" lIns="0" tIns="0" rIns="0" bIns="0" rtlCol="0">
              <a:spAutoFit/>
            </a:bodyPr>
            <a:lstStyle/>
            <a:p>
              <a:pPr marL="0" marR="0" lvl="0" indent="0" defTabSz="914218" eaLnBrk="1" fontAlgn="auto" latinLnBrk="0" hangingPunct="1">
                <a:lnSpc>
                  <a:spcPct val="100000"/>
                </a:lnSpc>
                <a:spcBef>
                  <a:spcPts val="432"/>
                </a:spcBef>
                <a:spcAft>
                  <a:spcPts val="0"/>
                </a:spcAft>
                <a:buClrTx/>
                <a:buSzTx/>
                <a:buFontTx/>
                <a:buNone/>
                <a:tabLst/>
                <a:defRPr/>
              </a:pPr>
              <a:r>
                <a:rPr kumimoji="0" lang="da-DK" b="1" i="0" u="none" strike="noStrike" kern="0" cap="none" spc="0" normalizeH="0" baseline="0" noProof="0" dirty="0">
                  <a:ln>
                    <a:noFill/>
                  </a:ln>
                  <a:solidFill>
                    <a:prstClr val="black"/>
                  </a:solidFill>
                  <a:effectLst/>
                  <a:uLnTx/>
                  <a:uFillTx/>
                  <a:latin typeface="Calibri" panose="020F0502020204030204"/>
                </a:rPr>
                <a:t>CASE STUDY B</a:t>
              </a:r>
              <a:r>
                <a:rPr kumimoji="0" lang="da-DK" b="0" i="0" u="none" strike="noStrike" kern="0" cap="none" spc="0" normalizeH="0" baseline="0" noProof="0" dirty="0">
                  <a:ln>
                    <a:noFill/>
                  </a:ln>
                  <a:solidFill>
                    <a:prstClr val="black"/>
                  </a:solidFill>
                  <a:effectLst/>
                  <a:uLnTx/>
                  <a:uFillTx/>
                  <a:latin typeface="Calibri" panose="020F0502020204030204"/>
                </a:rPr>
                <a:t>: </a:t>
              </a:r>
            </a:p>
            <a:p>
              <a:pPr marL="0" marR="0" lvl="0" indent="0" defTabSz="914218" eaLnBrk="1" fontAlgn="auto" latinLnBrk="0" hangingPunct="1">
                <a:lnSpc>
                  <a:spcPct val="100000"/>
                </a:lnSpc>
                <a:spcBef>
                  <a:spcPts val="432"/>
                </a:spcBef>
                <a:spcAft>
                  <a:spcPts val="0"/>
                </a:spcAft>
                <a:buClrTx/>
                <a:buSzTx/>
                <a:buFontTx/>
                <a:buNone/>
                <a:tabLst/>
                <a:defRPr/>
              </a:pPr>
              <a:r>
                <a:rPr kumimoji="0" lang="en-US" b="0" i="0" u="none" strike="noStrike" kern="0" cap="none" spc="0" normalizeH="0" baseline="0" noProof="0" dirty="0" err="1">
                  <a:ln>
                    <a:noFill/>
                  </a:ln>
                  <a:solidFill>
                    <a:prstClr val="black"/>
                  </a:solidFill>
                  <a:effectLst/>
                  <a:uLnTx/>
                  <a:uFillTx/>
                  <a:latin typeface="Calibri" panose="020F0502020204030204"/>
                </a:rPr>
                <a:t>Miljøportalen</a:t>
              </a:r>
              <a:r>
                <a:rPr kumimoji="0" lang="en-US" b="0" i="0" u="none" strike="noStrike" kern="0" cap="none" spc="0" normalizeH="0" baseline="0" noProof="0" dirty="0">
                  <a:ln>
                    <a:noFill/>
                  </a:ln>
                  <a:solidFill>
                    <a:prstClr val="black"/>
                  </a:solidFill>
                  <a:effectLst/>
                  <a:uLnTx/>
                  <a:uFillTx/>
                  <a:latin typeface="Calibri" panose="020F0502020204030204"/>
                </a:rPr>
                <a:t> –  an advanced portal with environmental data from the state (government), municipalities and regions. Is it or could it be considered a Data Space? </a:t>
              </a:r>
            </a:p>
          </p:txBody>
        </p:sp>
      </p:grpSp>
      <p:sp>
        <p:nvSpPr>
          <p:cNvPr id="35" name="TextBox 34"/>
          <p:cNvSpPr txBox="1"/>
          <p:nvPr/>
        </p:nvSpPr>
        <p:spPr>
          <a:xfrm>
            <a:off x="560206" y="188640"/>
            <a:ext cx="6512282" cy="338510"/>
          </a:xfrm>
          <a:prstGeom prst="rect">
            <a:avLst/>
          </a:prstGeom>
          <a:noFill/>
        </p:spPr>
        <p:txBody>
          <a:bodyPr wrap="none" rtlCol="0">
            <a:spAutoFit/>
          </a:bodyPr>
          <a:lstStyle/>
          <a:p>
            <a:pPr defTabSz="914218"/>
            <a:r>
              <a:rPr lang="en-US" b="1" dirty="0">
                <a:solidFill>
                  <a:srgbClr val="000000"/>
                </a:solidFill>
                <a:latin typeface="Calibri" panose="020F0502020204030204"/>
              </a:rPr>
              <a:t>The Digital Transition of the water sector in DK (overarching phenomenon)</a:t>
            </a:r>
            <a:endParaRPr lang="da-DK" b="1" dirty="0">
              <a:solidFill>
                <a:srgbClr val="000000"/>
              </a:solidFill>
              <a:latin typeface="Calibri" panose="020F0502020204030204"/>
            </a:endParaRPr>
          </a:p>
        </p:txBody>
      </p:sp>
      <p:grpSp>
        <p:nvGrpSpPr>
          <p:cNvPr id="36" name="Group 35"/>
          <p:cNvGrpSpPr/>
          <p:nvPr/>
        </p:nvGrpSpPr>
        <p:grpSpPr>
          <a:xfrm>
            <a:off x="4972804" y="1618144"/>
            <a:ext cx="2059737" cy="1933601"/>
            <a:chOff x="4972656" y="1739906"/>
            <a:chExt cx="2060005" cy="1933853"/>
          </a:xfrm>
        </p:grpSpPr>
        <p:sp>
          <p:nvSpPr>
            <p:cNvPr id="37" name="Oval 36"/>
            <p:cNvSpPr/>
            <p:nvPr/>
          </p:nvSpPr>
          <p:spPr bwMode="auto">
            <a:xfrm>
              <a:off x="4972656" y="1739906"/>
              <a:ext cx="2060005" cy="1933853"/>
            </a:xfrm>
            <a:prstGeom prst="ellipse">
              <a:avLst/>
            </a:prstGeom>
            <a:solidFill>
              <a:srgbClr val="FFC000">
                <a:lumMod val="40000"/>
                <a:lumOff val="60000"/>
              </a:srgbClr>
            </a:solidFill>
            <a:ln w="9525" cap="flat" cmpd="sng" algn="ctr">
              <a:solidFill>
                <a:sysClr val="windowText" lastClr="000000"/>
              </a:solidFill>
              <a:prstDash val="solid"/>
              <a:miter lim="800000"/>
              <a:headEnd type="none" w="med" len="med"/>
              <a:tailEnd type="none" w="med" len="med"/>
            </a:ln>
            <a:effectLst/>
          </p:spPr>
          <p:txBody>
            <a:bodyPr rot="0" spcFirstLastPara="0" vertOverflow="overflow" horzOverflow="overflow" vert="horz" wrap="square" lIns="89976" tIns="46788" rIns="89976" bIns="46788" numCol="1" spcCol="0" rtlCol="0" fromWordArt="0" anchor="ctr" anchorCtr="0" forceAA="0" compatLnSpc="1">
              <a:prstTxWarp prst="textNoShape">
                <a:avLst/>
              </a:prstTxWarp>
              <a:noAutofit/>
            </a:bodyPr>
            <a:lstStyle/>
            <a:p>
              <a:pPr marL="0" marR="0" lvl="0" indent="0" algn="ctr" defTabSz="914218" eaLnBrk="1" fontAlgn="auto" latinLnBrk="0" hangingPunct="1">
                <a:lnSpc>
                  <a:spcPct val="100000"/>
                </a:lnSpc>
                <a:spcBef>
                  <a:spcPts val="432"/>
                </a:spcBef>
                <a:spcAft>
                  <a:spcPts val="0"/>
                </a:spcAft>
                <a:buClrTx/>
                <a:buSzTx/>
                <a:buFontTx/>
                <a:buNone/>
                <a:tabLst/>
                <a:defRPr/>
              </a:pPr>
              <a:endParaRPr kumimoji="0" lang="en-US" sz="1800" b="0" i="0" u="none" strike="noStrike" kern="0" cap="none" spc="0" normalizeH="0" baseline="0" noProof="0" dirty="0" err="1">
                <a:ln>
                  <a:noFill/>
                </a:ln>
                <a:solidFill>
                  <a:srgbClr val="FFFFFF"/>
                </a:solidFill>
                <a:effectLst/>
                <a:uLnTx/>
                <a:uFillTx/>
                <a:latin typeface="Calibri" panose="020F0502020204030204"/>
              </a:endParaRPr>
            </a:p>
          </p:txBody>
        </p:sp>
        <p:sp>
          <p:nvSpPr>
            <p:cNvPr id="38" name="TextBox 37"/>
            <p:cNvSpPr txBox="1"/>
            <p:nvPr/>
          </p:nvSpPr>
          <p:spPr>
            <a:xfrm>
              <a:off x="5391835" y="2238060"/>
              <a:ext cx="1221646" cy="1036316"/>
            </a:xfrm>
            <a:prstGeom prst="rect">
              <a:avLst/>
            </a:prstGeom>
            <a:noFill/>
          </p:spPr>
          <p:txBody>
            <a:bodyPr wrap="square" lIns="0" tIns="0" rIns="0" bIns="0" rtlCol="0">
              <a:spAutoFit/>
            </a:bodyPr>
            <a:lstStyle/>
            <a:p>
              <a:pPr marL="0" marR="0" lvl="0" indent="0" defTabSz="914218" eaLnBrk="1" fontAlgn="auto" latinLnBrk="0" hangingPunct="1">
                <a:lnSpc>
                  <a:spcPct val="100000"/>
                </a:lnSpc>
                <a:spcBef>
                  <a:spcPts val="0"/>
                </a:spcBef>
                <a:spcAft>
                  <a:spcPts val="0"/>
                </a:spcAft>
                <a:buClrTx/>
                <a:buSzTx/>
                <a:buFontTx/>
                <a:buNone/>
                <a:tabLst/>
                <a:defRPr/>
              </a:pPr>
              <a:r>
                <a:rPr kumimoji="0" lang="da-DK" b="1" i="0" u="sng" strike="noStrike" kern="0" cap="none" spc="0" normalizeH="0" baseline="0" noProof="0" dirty="0" err="1">
                  <a:ln>
                    <a:noFill/>
                  </a:ln>
                  <a:solidFill>
                    <a:prstClr val="black"/>
                  </a:solidFill>
                  <a:effectLst/>
                  <a:uLnTx/>
                  <a:uFillTx/>
                  <a:latin typeface="Calibri" panose="020F0502020204030204"/>
                </a:rPr>
                <a:t>Use</a:t>
              </a:r>
              <a:r>
                <a:rPr kumimoji="0" lang="da-DK" b="1" i="0" u="sng" strike="noStrike" kern="0" cap="none" spc="0" normalizeH="0" baseline="0" noProof="0" dirty="0">
                  <a:ln>
                    <a:noFill/>
                  </a:ln>
                  <a:solidFill>
                    <a:prstClr val="black"/>
                  </a:solidFill>
                  <a:effectLst/>
                  <a:uLnTx/>
                  <a:uFillTx/>
                  <a:latin typeface="Calibri" panose="020F0502020204030204"/>
                </a:rPr>
                <a:t>-case 2</a:t>
              </a:r>
              <a:r>
                <a:rPr kumimoji="0" lang="da-DK" b="1" i="0" u="none" strike="noStrike" kern="0" cap="none" spc="0" normalizeH="0" baseline="0" noProof="0" dirty="0">
                  <a:ln>
                    <a:noFill/>
                  </a:ln>
                  <a:solidFill>
                    <a:prstClr val="black"/>
                  </a:solidFill>
                  <a:effectLst/>
                  <a:uLnTx/>
                  <a:uFillTx/>
                  <a:latin typeface="Calibri" panose="020F0502020204030204"/>
                </a:rPr>
                <a:t>:</a:t>
              </a:r>
            </a:p>
            <a:p>
              <a:pPr marL="0" marR="0" lvl="0" indent="0" defTabSz="914218" eaLnBrk="1" fontAlgn="auto" latinLnBrk="0" hangingPunct="1">
                <a:lnSpc>
                  <a:spcPct val="100000"/>
                </a:lnSpc>
                <a:spcBef>
                  <a:spcPts val="432"/>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latin typeface="Calibri" panose="020F0502020204030204"/>
                </a:rPr>
                <a:t>Detention Pond Analytics - Giber Å</a:t>
              </a:r>
            </a:p>
          </p:txBody>
        </p:sp>
      </p:grpSp>
      <p:sp>
        <p:nvSpPr>
          <p:cNvPr id="39" name="Oval 38"/>
          <p:cNvSpPr/>
          <p:nvPr/>
        </p:nvSpPr>
        <p:spPr bwMode="auto">
          <a:xfrm>
            <a:off x="2640494" y="3057711"/>
            <a:ext cx="1881427" cy="1810851"/>
          </a:xfrm>
          <a:prstGeom prst="ellipse">
            <a:avLst/>
          </a:prstGeom>
          <a:solidFill>
            <a:srgbClr val="F6D04D"/>
          </a:solidFill>
          <a:ln w="12700" cap="flat" cmpd="sng" algn="ctr">
            <a:solidFill>
              <a:sysClr val="windowText" lastClr="000000"/>
            </a:solidFill>
            <a:prstDash val="solid"/>
            <a:miter lim="800000"/>
            <a:headEnd type="none" w="med" len="med"/>
            <a:tailEnd type="none" w="med" len="med"/>
          </a:ln>
          <a:effectLst/>
        </p:spPr>
        <p:txBody>
          <a:bodyPr rot="0" spcFirstLastPara="0" vertOverflow="overflow" horzOverflow="overflow" vert="horz" wrap="square" lIns="89976" tIns="46788" rIns="89976" bIns="46788" numCol="1" spcCol="0" rtlCol="0" fromWordArt="0" anchor="ctr" anchorCtr="0" forceAA="0" compatLnSpc="1">
            <a:prstTxWarp prst="textNoShape">
              <a:avLst/>
            </a:prstTxWarp>
            <a:noAutofit/>
          </a:bodyPr>
          <a:lstStyle/>
          <a:p>
            <a:pPr marL="0" marR="0" lvl="0" indent="0" algn="ctr" defTabSz="914218" eaLnBrk="1" fontAlgn="auto" latinLnBrk="0" hangingPunct="1">
              <a:lnSpc>
                <a:spcPct val="100000"/>
              </a:lnSpc>
              <a:spcBef>
                <a:spcPts val="432"/>
              </a:spcBef>
              <a:spcAft>
                <a:spcPts val="0"/>
              </a:spcAft>
              <a:buClrTx/>
              <a:buSzTx/>
              <a:buFontTx/>
              <a:buNone/>
              <a:tabLst/>
              <a:defRPr/>
            </a:pPr>
            <a:r>
              <a:rPr kumimoji="0" lang="en-US" b="1" i="0" u="sng" strike="noStrike" kern="0" cap="none" spc="0" normalizeH="0" baseline="0" noProof="0" dirty="0">
                <a:ln>
                  <a:noFill/>
                </a:ln>
                <a:solidFill>
                  <a:prstClr val="black"/>
                </a:solidFill>
                <a:effectLst/>
                <a:uLnTx/>
                <a:uFillTx/>
                <a:latin typeface="Calibri" panose="020F0502020204030204"/>
              </a:rPr>
              <a:t>Use-case 3</a:t>
            </a:r>
          </a:p>
          <a:p>
            <a:pPr marL="0" marR="0" lvl="0" indent="0" algn="ctr" defTabSz="914218" eaLnBrk="1" fontAlgn="auto" latinLnBrk="0" hangingPunct="1">
              <a:lnSpc>
                <a:spcPct val="100000"/>
              </a:lnSpc>
              <a:spcBef>
                <a:spcPts val="432"/>
              </a:spcBef>
              <a:spcAft>
                <a:spcPts val="0"/>
              </a:spcAft>
              <a:buClrTx/>
              <a:buSzTx/>
              <a:buFontTx/>
              <a:buNone/>
              <a:tabLst/>
              <a:defRPr/>
            </a:pPr>
            <a:r>
              <a:rPr lang="en-US" kern="0" dirty="0">
                <a:solidFill>
                  <a:prstClr val="black"/>
                </a:solidFill>
                <a:latin typeface="Calibri" panose="020F0502020204030204"/>
              </a:rPr>
              <a:t>EHS Source Tracking Analytics</a:t>
            </a:r>
            <a:endParaRPr kumimoji="0" lang="en-US" b="0" i="0" u="none" strike="noStrike" kern="0" cap="none" spc="0" normalizeH="0" baseline="0" noProof="0" dirty="0">
              <a:ln>
                <a:noFill/>
              </a:ln>
              <a:solidFill>
                <a:prstClr val="black"/>
              </a:solidFill>
              <a:effectLst/>
              <a:uLnTx/>
              <a:uFillTx/>
              <a:latin typeface="Calibri" panose="020F0502020204030204"/>
            </a:endParaRPr>
          </a:p>
        </p:txBody>
      </p:sp>
      <p:grpSp>
        <p:nvGrpSpPr>
          <p:cNvPr id="40" name="Group 39"/>
          <p:cNvGrpSpPr/>
          <p:nvPr/>
        </p:nvGrpSpPr>
        <p:grpSpPr>
          <a:xfrm>
            <a:off x="5431517" y="4242949"/>
            <a:ext cx="2251650" cy="2082931"/>
            <a:chOff x="3846685" y="4335091"/>
            <a:chExt cx="2251943" cy="2083202"/>
          </a:xfrm>
        </p:grpSpPr>
        <p:sp>
          <p:nvSpPr>
            <p:cNvPr id="41" name="Oval 40"/>
            <p:cNvSpPr/>
            <p:nvPr/>
          </p:nvSpPr>
          <p:spPr bwMode="auto">
            <a:xfrm>
              <a:off x="3846685" y="4335091"/>
              <a:ext cx="2251943" cy="2083202"/>
            </a:xfrm>
            <a:prstGeom prst="ellipse">
              <a:avLst/>
            </a:prstGeom>
            <a:solidFill>
              <a:srgbClr val="C5FFFF"/>
            </a:solidFill>
            <a:ln w="9525" cap="flat" cmpd="sng" algn="ctr">
              <a:solidFill>
                <a:sysClr val="windowText" lastClr="000000"/>
              </a:solidFill>
              <a:prstDash val="solid"/>
              <a:miter lim="800000"/>
              <a:headEnd type="none" w="med" len="med"/>
              <a:tailEnd type="none" w="med" len="med"/>
            </a:ln>
            <a:effectLst/>
          </p:spPr>
          <p:txBody>
            <a:bodyPr rot="0" spcFirstLastPara="0" vertOverflow="overflow" horzOverflow="overflow" vert="horz" wrap="square" lIns="89976" tIns="46788" rIns="89976" bIns="46788" numCol="1" spcCol="0" rtlCol="0" fromWordArt="0" anchor="ctr" anchorCtr="0" forceAA="0" compatLnSpc="1">
              <a:prstTxWarp prst="textNoShape">
                <a:avLst/>
              </a:prstTxWarp>
              <a:noAutofit/>
            </a:bodyPr>
            <a:lstStyle/>
            <a:p>
              <a:pPr marL="0" marR="0" lvl="0" indent="0" algn="ctr" defTabSz="914218" eaLnBrk="1" fontAlgn="auto" latinLnBrk="0" hangingPunct="1">
                <a:lnSpc>
                  <a:spcPct val="100000"/>
                </a:lnSpc>
                <a:spcBef>
                  <a:spcPts val="432"/>
                </a:spcBef>
                <a:spcAft>
                  <a:spcPts val="0"/>
                </a:spcAft>
                <a:buClrTx/>
                <a:buSzTx/>
                <a:buFontTx/>
                <a:buNone/>
                <a:tabLst/>
                <a:defRPr/>
              </a:pPr>
              <a:endParaRPr kumimoji="0" lang="en-US" b="0" i="0" u="none" strike="noStrike" kern="0" cap="none" spc="0" normalizeH="0" baseline="0" noProof="0" dirty="0" err="1">
                <a:ln>
                  <a:noFill/>
                </a:ln>
                <a:solidFill>
                  <a:srgbClr val="FFFFFF"/>
                </a:solidFill>
                <a:effectLst/>
                <a:uLnTx/>
                <a:uFillTx/>
                <a:latin typeface="Calibri" panose="020F0502020204030204"/>
              </a:endParaRPr>
            </a:p>
          </p:txBody>
        </p:sp>
        <p:sp>
          <p:nvSpPr>
            <p:cNvPr id="42" name="TextBox 41"/>
            <p:cNvSpPr txBox="1"/>
            <p:nvPr/>
          </p:nvSpPr>
          <p:spPr>
            <a:xfrm>
              <a:off x="4082131" y="4915087"/>
              <a:ext cx="1815846" cy="831105"/>
            </a:xfrm>
            <a:prstGeom prst="rect">
              <a:avLst/>
            </a:prstGeom>
            <a:noFill/>
          </p:spPr>
          <p:txBody>
            <a:bodyPr wrap="square" rtlCol="0">
              <a:spAutoFit/>
            </a:bodyPr>
            <a:lstStyle/>
            <a:p>
              <a:pPr marL="0" marR="0" lvl="0" indent="0" defTabSz="914218"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prstClr val="black"/>
                  </a:solidFill>
                  <a:effectLst/>
                  <a:uLnTx/>
                  <a:uFillTx/>
                  <a:latin typeface="Calibri" panose="020F0502020204030204"/>
                </a:rPr>
                <a:t>CASE STUDY C</a:t>
              </a:r>
              <a:r>
                <a:rPr kumimoji="0" lang="en-US" b="0" i="0" u="none" strike="noStrike" kern="0" cap="none" spc="0" normalizeH="0" baseline="0" noProof="0" dirty="0">
                  <a:ln>
                    <a:noFill/>
                  </a:ln>
                  <a:solidFill>
                    <a:prstClr val="black"/>
                  </a:solidFill>
                  <a:effectLst/>
                  <a:uLnTx/>
                  <a:uFillTx/>
                  <a:latin typeface="Calibri" panose="020F0502020204030204"/>
                </a:rPr>
                <a:t>: </a:t>
              </a:r>
            </a:p>
            <a:p>
              <a:pPr marL="0" marR="0" lvl="0" indent="0" defTabSz="914218"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latin typeface="Calibri" panose="020F0502020204030204"/>
                </a:rPr>
                <a:t>Water Living Lab</a:t>
              </a:r>
              <a:r>
                <a:rPr kumimoji="0" lang="da-DK" b="0" i="0" u="none" strike="noStrike" kern="0" cap="none" spc="0" normalizeH="0" baseline="0" noProof="0" dirty="0">
                  <a:ln>
                    <a:noFill/>
                  </a:ln>
                  <a:solidFill>
                    <a:prstClr val="black"/>
                  </a:solidFill>
                  <a:effectLst/>
                  <a:uLnTx/>
                  <a:uFillTx/>
                  <a:latin typeface="Calibri" panose="020F0502020204030204"/>
                </a:rPr>
                <a:t> Project</a:t>
              </a:r>
              <a:endParaRPr kumimoji="0" lang="en-US" b="0" i="0" u="none" strike="noStrike" kern="0" cap="none" spc="0" normalizeH="0" baseline="0" noProof="0" dirty="0">
                <a:ln>
                  <a:noFill/>
                </a:ln>
                <a:solidFill>
                  <a:prstClr val="black"/>
                </a:solidFill>
                <a:effectLst/>
                <a:uLnTx/>
                <a:uFillTx/>
                <a:latin typeface="Calibri" panose="020F0502020204030204"/>
              </a:endParaRPr>
            </a:p>
          </p:txBody>
        </p:sp>
      </p:grpSp>
    </p:spTree>
    <p:extLst>
      <p:ext uri="{BB962C8B-B14F-4D97-AF65-F5344CB8AC3E}">
        <p14:creationId xmlns:p14="http://schemas.microsoft.com/office/powerpoint/2010/main" val="14030984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A3856F8F-8564-131F-6A58-A9EDDF2873C7}"/>
              </a:ext>
            </a:extLst>
          </p:cNvPr>
          <p:cNvSpPr/>
          <p:nvPr/>
        </p:nvSpPr>
        <p:spPr>
          <a:xfrm>
            <a:off x="794" y="895"/>
            <a:ext cx="12188826" cy="6856214"/>
          </a:xfrm>
          <a:prstGeom prst="rect">
            <a:avLst/>
          </a:prstGeom>
          <a:solidFill>
            <a:srgbClr val="00557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8" rtl="0" eaLnBrk="1" fontAlgn="base" latinLnBrk="0" hangingPunct="1">
              <a:lnSpc>
                <a:spcPct val="100000"/>
              </a:lnSpc>
              <a:spcBef>
                <a:spcPct val="50000"/>
              </a:spcBef>
              <a:spcAft>
                <a:spcPct val="0"/>
              </a:spcAft>
              <a:buClrTx/>
              <a:buSzTx/>
              <a:buFontTx/>
              <a:buNone/>
              <a:tabLst/>
              <a:defRPr/>
            </a:pPr>
            <a:endParaRPr kumimoji="0" lang="da-DK"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3" name="Billede 2">
            <a:extLst>
              <a:ext uri="{FF2B5EF4-FFF2-40B4-BE49-F238E27FC236}">
                <a16:creationId xmlns:a16="http://schemas.microsoft.com/office/drawing/2014/main" id="{7EE15B87-0295-7F9E-F82E-70239DAC25E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75053" y="6271183"/>
            <a:ext cx="380803" cy="592928"/>
          </a:xfrm>
          <a:prstGeom prst="rect">
            <a:avLst/>
          </a:prstGeom>
        </p:spPr>
      </p:pic>
      <p:pic>
        <p:nvPicPr>
          <p:cNvPr id="7" name="Billede 6">
            <a:extLst>
              <a:ext uri="{FF2B5EF4-FFF2-40B4-BE49-F238E27FC236}">
                <a16:creationId xmlns:a16="http://schemas.microsoft.com/office/drawing/2014/main" id="{5840FFA8-B8C5-15C8-365C-8EC4966036DA}"/>
              </a:ext>
            </a:extLst>
          </p:cNvPr>
          <p:cNvPicPr>
            <a:picLocks noChangeAspect="1"/>
          </p:cNvPicPr>
          <p:nvPr/>
        </p:nvPicPr>
        <p:blipFill>
          <a:blip r:embed="rId3" cstate="email">
            <a:duotone>
              <a:prstClr val="black"/>
              <a:srgbClr val="EAE3D8">
                <a:tint val="45000"/>
                <a:satMod val="400000"/>
              </a:srgbClr>
            </a:duotone>
            <a:extLst>
              <a:ext uri="{28A0092B-C50C-407E-A947-70E740481C1C}">
                <a14:useLocalDpi xmlns:a14="http://schemas.microsoft.com/office/drawing/2010/main"/>
              </a:ext>
            </a:extLst>
          </a:blip>
          <a:stretch>
            <a:fillRect/>
          </a:stretch>
        </p:blipFill>
        <p:spPr>
          <a:xfrm>
            <a:off x="856264" y="894"/>
            <a:ext cx="380803" cy="592928"/>
          </a:xfrm>
          <a:prstGeom prst="rect">
            <a:avLst/>
          </a:prstGeom>
        </p:spPr>
      </p:pic>
      <p:pic>
        <p:nvPicPr>
          <p:cNvPr id="8" name="Billede 7">
            <a:extLst>
              <a:ext uri="{FF2B5EF4-FFF2-40B4-BE49-F238E27FC236}">
                <a16:creationId xmlns:a16="http://schemas.microsoft.com/office/drawing/2014/main" id="{C598E125-7AE4-4D93-94A2-633CE97B268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026408" y="5848325"/>
            <a:ext cx="1092893" cy="874313"/>
          </a:xfrm>
          <a:prstGeom prst="rect">
            <a:avLst/>
          </a:prstGeom>
        </p:spPr>
      </p:pic>
      <p:pic>
        <p:nvPicPr>
          <p:cNvPr id="9" name="Picture 8" descr="Diagram&#10;&#10;Description automatically generated">
            <a:extLst>
              <a:ext uri="{FF2B5EF4-FFF2-40B4-BE49-F238E27FC236}">
                <a16:creationId xmlns:a16="http://schemas.microsoft.com/office/drawing/2014/main" id="{EED6A0CC-13CD-4FC0-991A-95A1632AC92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380001" y="218758"/>
            <a:ext cx="9430410" cy="6503879"/>
          </a:xfrm>
          <a:prstGeom prst="rect">
            <a:avLst/>
          </a:prstGeom>
        </p:spPr>
      </p:pic>
      <p:pic>
        <p:nvPicPr>
          <p:cNvPr id="18" name="Picture 17">
            <a:extLst>
              <a:ext uri="{FF2B5EF4-FFF2-40B4-BE49-F238E27FC236}">
                <a16:creationId xmlns:a16="http://schemas.microsoft.com/office/drawing/2014/main" id="{E1097CE9-D96B-469F-ACE6-71D48816E37C}"/>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375790" y="5518629"/>
            <a:ext cx="9538361" cy="1214658"/>
          </a:xfrm>
          <a:prstGeom prst="rect">
            <a:avLst/>
          </a:prstGeom>
        </p:spPr>
      </p:pic>
    </p:spTree>
    <p:extLst>
      <p:ext uri="{BB962C8B-B14F-4D97-AF65-F5344CB8AC3E}">
        <p14:creationId xmlns:p14="http://schemas.microsoft.com/office/powerpoint/2010/main" val="495090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243013" y="96838"/>
            <a:ext cx="10947400" cy="703262"/>
          </a:xfrm>
        </p:spPr>
        <p:txBody>
          <a:bodyPr>
            <a:noAutofit/>
          </a:bodyPr>
          <a:lstStyle/>
          <a:p>
            <a:r>
              <a:rPr lang="en-GB" sz="3553" b="1"/>
              <a:t>Transitioning into the “Anthropocene”  </a:t>
            </a:r>
            <a:endParaRPr lang="en-GB" sz="3553" b="1" dirty="0"/>
          </a:p>
        </p:txBody>
      </p:sp>
      <p:sp>
        <p:nvSpPr>
          <p:cNvPr id="2" name="Content Placeholder 1"/>
          <p:cNvSpPr>
            <a:spLocks noGrp="1"/>
          </p:cNvSpPr>
          <p:nvPr>
            <p:ph idx="4294967295"/>
          </p:nvPr>
        </p:nvSpPr>
        <p:spPr>
          <a:xfrm>
            <a:off x="281168" y="1274931"/>
            <a:ext cx="9267825" cy="4673600"/>
          </a:xfrm>
          <a:noFill/>
        </p:spPr>
        <p:txBody>
          <a:bodyPr>
            <a:noAutofit/>
          </a:bodyPr>
          <a:lstStyle/>
          <a:p>
            <a:pPr>
              <a:buFont typeface="Wingdings" pitchFamily="2" charset="2"/>
              <a:buChar char="§"/>
            </a:pPr>
            <a:r>
              <a:rPr lang="en-US" sz="1865" b="1" dirty="0"/>
              <a:t>Transgressed Planetary Boundaries</a:t>
            </a:r>
          </a:p>
          <a:p>
            <a:pPr lvl="1">
              <a:buFont typeface="Wingdings" pitchFamily="2" charset="2"/>
              <a:buChar char="§"/>
            </a:pPr>
            <a:r>
              <a:rPr lang="en-US" sz="1865" dirty="0"/>
              <a:t>Climate change</a:t>
            </a:r>
          </a:p>
          <a:p>
            <a:pPr lvl="1">
              <a:buFont typeface="Wingdings" pitchFamily="2" charset="2"/>
              <a:buChar char="§"/>
            </a:pPr>
            <a:r>
              <a:rPr lang="en-US" sz="1865" dirty="0"/>
              <a:t>Disrupted biochemical flows</a:t>
            </a:r>
          </a:p>
          <a:p>
            <a:pPr lvl="1">
              <a:buFont typeface="Wingdings" pitchFamily="2" charset="2"/>
              <a:buChar char="§"/>
            </a:pPr>
            <a:r>
              <a:rPr lang="en-US" sz="1865" dirty="0"/>
              <a:t>Biosphere disintegration</a:t>
            </a:r>
          </a:p>
          <a:p>
            <a:pPr lvl="1">
              <a:buFont typeface="Wingdings" pitchFamily="2" charset="2"/>
              <a:buChar char="§"/>
            </a:pPr>
            <a:r>
              <a:rPr lang="en-US" sz="1865" dirty="0"/>
              <a:t>Land-system changes</a:t>
            </a:r>
          </a:p>
          <a:p>
            <a:pPr>
              <a:buFont typeface="Wingdings" pitchFamily="2" charset="2"/>
              <a:buChar char="§"/>
            </a:pPr>
            <a:r>
              <a:rPr lang="en-US" sz="1865" b="1" dirty="0"/>
              <a:t>Societal challenge in the context of uncertain scenarios</a:t>
            </a:r>
            <a:endParaRPr lang="en-US" sz="1865" dirty="0"/>
          </a:p>
          <a:p>
            <a:pPr lvl="1">
              <a:buFont typeface="Wingdings" pitchFamily="2" charset="2"/>
              <a:buChar char="§"/>
            </a:pPr>
            <a:r>
              <a:rPr lang="en-US" sz="1865" dirty="0"/>
              <a:t>Social inequalities  </a:t>
            </a:r>
          </a:p>
          <a:p>
            <a:pPr lvl="1">
              <a:buFont typeface="Wingdings" pitchFamily="2" charset="2"/>
              <a:buChar char="§"/>
            </a:pPr>
            <a:r>
              <a:rPr lang="en-GB" sz="1865" dirty="0"/>
              <a:t>Social fragmentation</a:t>
            </a:r>
          </a:p>
          <a:p>
            <a:pPr lvl="1">
              <a:buFont typeface="Wingdings" pitchFamily="2" charset="2"/>
              <a:buChar char="§"/>
            </a:pPr>
            <a:r>
              <a:rPr lang="en-GB" sz="1865" dirty="0"/>
              <a:t>Knowledge institutions loosing authority</a:t>
            </a:r>
          </a:p>
          <a:p>
            <a:pPr lvl="1">
              <a:buFont typeface="Wingdings" pitchFamily="2" charset="2"/>
              <a:buChar char="§"/>
            </a:pPr>
            <a:r>
              <a:rPr lang="en-GB" sz="1865" dirty="0"/>
              <a:t>Political instabilities </a:t>
            </a:r>
          </a:p>
          <a:p>
            <a:pPr lvl="1">
              <a:buFont typeface="Wingdings" pitchFamily="2" charset="2"/>
              <a:buChar char="§"/>
            </a:pPr>
            <a:r>
              <a:rPr lang="en-US" sz="1865" dirty="0"/>
              <a:t>Re-emergence of Nationalisms </a:t>
            </a:r>
            <a:r>
              <a:rPr lang="en-GB" sz="1865" dirty="0"/>
              <a:t>and Extremisms</a:t>
            </a:r>
          </a:p>
          <a:p>
            <a:pPr marL="421700" lvl="1" indent="0">
              <a:buNone/>
            </a:pPr>
            <a:endParaRPr lang="en-GB" sz="1865" dirty="0"/>
          </a:p>
          <a:p>
            <a:pPr marL="421700" lvl="1" indent="0">
              <a:buNone/>
            </a:pPr>
            <a:endParaRPr lang="en-GB" sz="1865" dirty="0"/>
          </a:p>
          <a:p>
            <a:pPr marL="0" indent="0">
              <a:buNone/>
            </a:pPr>
            <a:endParaRPr lang="en-US" sz="1865" dirty="0"/>
          </a:p>
        </p:txBody>
      </p:sp>
      <p:sp>
        <p:nvSpPr>
          <p:cNvPr id="5" name="Slide Number Placeholder 4"/>
          <p:cNvSpPr>
            <a:spLocks noGrp="1"/>
          </p:cNvSpPr>
          <p:nvPr>
            <p:ph type="sldNum" sz="quarter" idx="4294967295"/>
          </p:nvPr>
        </p:nvSpPr>
        <p:spPr>
          <a:xfrm>
            <a:off x="10861675" y="6257925"/>
            <a:ext cx="1328738" cy="287338"/>
          </a:xfrm>
        </p:spPr>
        <p:txBody>
          <a:bodyPr/>
          <a:lstStyle/>
          <a:p>
            <a:pPr defTabSz="868900" fontAlgn="auto">
              <a:spcBef>
                <a:spcPts val="0"/>
              </a:spcBef>
              <a:spcAft>
                <a:spcPts val="0"/>
              </a:spcAft>
            </a:pPr>
            <a:fld id="{76FF49CB-DA36-4A0D-B7A5-D537E7FBD145}" type="slidenum">
              <a:rPr lang="da-DK">
                <a:solidFill>
                  <a:srgbClr val="90C226"/>
                </a:solidFill>
                <a:latin typeface="Trebuchet MS" panose="020B0603020202020204"/>
                <a:ea typeface="+mn-ea"/>
              </a:rPr>
              <a:pPr defTabSz="868900" fontAlgn="auto">
                <a:spcBef>
                  <a:spcPts val="0"/>
                </a:spcBef>
                <a:spcAft>
                  <a:spcPts val="0"/>
                </a:spcAft>
              </a:pPr>
              <a:t>2</a:t>
            </a:fld>
            <a:endParaRPr lang="da-DK" dirty="0">
              <a:solidFill>
                <a:srgbClr val="90C226"/>
              </a:solidFill>
              <a:latin typeface="Trebuchet MS" panose="020B0603020202020204"/>
              <a:ea typeface="+mn-ea"/>
            </a:endParaRPr>
          </a:p>
        </p:txBody>
      </p:sp>
      <p:pic>
        <p:nvPicPr>
          <p:cNvPr id="7" name="Picture 3"/>
          <p:cNvPicPr>
            <a:picLocks noChangeAspect="1" noChangeArrowheads="1"/>
          </p:cNvPicPr>
          <p:nvPr/>
        </p:nvPicPr>
        <p:blipFill>
          <a:blip r:embed="rId3" cstate="print"/>
          <a:srcRect/>
          <a:stretch>
            <a:fillRect/>
          </a:stretch>
        </p:blipFill>
        <p:spPr bwMode="auto">
          <a:xfrm>
            <a:off x="7287305" y="790996"/>
            <a:ext cx="2256557" cy="1672925"/>
          </a:xfrm>
          <a:prstGeom prst="rect">
            <a:avLst/>
          </a:prstGeom>
          <a:noFill/>
          <a:ln w="9525">
            <a:noFill/>
            <a:miter lim="800000"/>
            <a:headEnd/>
            <a:tailEnd/>
          </a:ln>
        </p:spPr>
      </p:pic>
      <p:pic>
        <p:nvPicPr>
          <p:cNvPr id="8" name="Picture 3" descr="F:\MyDocu\watpoll2004\00stt\03\CLASS4.JPG"/>
          <p:cNvPicPr>
            <a:picLocks noChangeAspect="1" noChangeArrowheads="1"/>
          </p:cNvPicPr>
          <p:nvPr/>
        </p:nvPicPr>
        <p:blipFill>
          <a:blip r:embed="rId4" cstate="print"/>
          <a:srcRect/>
          <a:stretch>
            <a:fillRect/>
          </a:stretch>
        </p:blipFill>
        <p:spPr bwMode="auto">
          <a:xfrm>
            <a:off x="9528040" y="787703"/>
            <a:ext cx="2537339" cy="1636196"/>
          </a:xfrm>
          <a:prstGeom prst="rect">
            <a:avLst/>
          </a:prstGeom>
          <a:noFill/>
        </p:spPr>
      </p:pic>
      <p:pic>
        <p:nvPicPr>
          <p:cNvPr id="13"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693017" y="2404115"/>
            <a:ext cx="3358814" cy="125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AutoShape 10" descr="data:image/jpeg;base64,/9j/4AAQSkZJRgABAQAAAQABAAD/2wCEAAkGBhQQEBQUEBQUFRQVFBQUFBYUEhQUFxQUFRQVFRQUFhQXHCYeFxkjGRQUHy8gIycpLC4sFR4xNTAqNScrLCkBCQoKDgwOFw8PGikcHBwpKSkpKSwpKSkpKSkpKSkpKSkpKSkpKSkpKSkpKSkpKSkpKSkpKSkpKSksKSwyKSwuKf/AABEIALcBFAMBIgACEQEDEQH/xAAbAAABBQEBAAAAAAAAAAAAAAAFAAECAwQGB//EAEwQAAIBAwIDBQQECQgHCQAAAAECAwAEERIhBRMxBiJBUWEUMnGBByNSkRUzQoKSobHR02Jyk7LBwtLhFiQ0dJTw8SVDRFNzhKKkw//EABkBAAMBAQEAAAAAAAAAAAAAAAABAgMEBf/EACMRAAICAgIDAQADAQAAAAAAAAABAhEDMRIhBBNBUTJhcSL/2gAMAwEAAhEDEQA/AMhFRIqw1E17h5xDTTYqZpqBkMU+mpU4FIZDTS0VOnxSAjpp9NPUhQBDTSxU6amBHFLFPSoAbFPimp6YD4pUqegBU4pqVAEhT1HNItQBKlmtfDeDS3O6DRH/AOY42I/kL+X8dh6mp8V4DLaguTzYgCS4GHQDcl16MB5r8xWDzwTqy1jlVmKnqCOCARuCAQfQ7ipVuQSFTFQFSFAEgampqAqQNAFoNWKapBqYNUgL1NWqazqatU0AaAaVVg0qQAA1E05qOaRAqalSzQUPSpqVAx6VLNNmkBLNKmBpZoAlmmps09AxUqVKmAqempUCHpU1KgB804BPSrorMkZbur5nqfgPGrbh0hTU5MaE6QcFnkOMlVCjJON8Dp44rDJnjDrbNI42x7XhLS5CEFx+Tv8ADvONlq7iKwcPTmTq1zKAzcuNcxoExqZz0AGRu3nstZbzipa3t/wfFcTRzs4mMKlJMR7cnVvysk7tnoNjWrg1ubvhFzFBbpbl2ljRBIWVmGkM5dtzupBO/uVwTzzn0zojjSOk7OSzyRc64dPrVR0jjXCxIVyF1Hd2IIyem21Cu3nEO4lqp3m70uPCBCNY/ObC/pVJu08dpDHBH9fNHGkbCM4jVlQA65TsvToAW9K5t3eSV5piDI+kd0EKiKDpRQTnG5OT1JqsOFzdtdCnNJFgp6anFeqcg4qYqIpxSAkDUqiKemBIGrAaqqQpoC9TVimqFNXKaALQaeo0qAARpqc1AmpJQqVNmlmgofNKmpUAPSps0qAHzSXdgoBZm91VUsxx1woGTiq5pQoBJ0rqUO+NXLQnDSFQQSFGTiuvuuFyWt1aWnDZVie4jlmmupI0md1jAIUA7Bd/dXA3Hz582fh19NIQ5HK53I8R1B2I+IO4p67XjHGcGG2vbL2y7Mckj+zKoxDG5QTIWOoFse6CN9vIHN/o3Z3CwvaXXL9oVmhSXva9PvqASHDKdiMkis4eUn/JUU8T+HJ0+K6G77HywKzTe4OjxDmA5zuQSrKNuuD1oR7Ax3TDj+Qcn9H3v1V0RzQlpkODRlAp6dkI2IwfKo1qQXWnYWTib92blIg72xbJ67KMZ28z8qOP2DWxlHKWWXUgKs7ZUYADd3oDnff5UV+jotiXC56dSABt+s/5V3F6uYvkP2V5Odv2M68a/wCUeYtFyru2hlXW0/OJOdkESasdNySR8vOst3xnkcWlDxSOy20aWiRxlsljqkAPRcnALHbC70R7W8LDzwSm4MAhWUfVgGVuYFBCZ2XYHvHzoXc9oHEaxW2Y41GkMzF5CPVzk58f7ayjFydIttLYk7PxWtnHHc3DqUWSSW3hnEfPeRtZTGQWA90bjNYrviUsyiPaCBRpWCE6RpHQPIMFh6LgfGsqwjOTkt5nc1ZXoYfF49zOeeW+kNHGFACgADoAAAPlVgFRqQrsoxHFSpqcUgJCnApAU+KAFT0qfFIBCpAUgtTC0wEoq1BTBKsVaYEwKVSApUgOeJpjTmomkSKmNLNKgYqempUDHp6YVIUALFFez55xhtzOYJ7cs/D5yAw0MMS2rqxAYYxgZ3Xb8nBFimZARggEeRGf21llxLIqLhLizvLjhd7a3EF6yi9lWGW3uEhVYmaNpebE0SscHSQFIJyRvXHy9nLlUsVZTHchuJXsUec6JFaOeOM489JBH8ulYcVnt/xE0iD7IbUn9G+VHyArobH6R51xzo45R9pMxN8cHUpP3Vwy8aa12brLFnPWvaOcW9i8EtxCs9xxR2EMQuG081ZFDQHZ1XUcjwGrFdBccRhaO7e5hV/ZRZYkgUwSSe0xqWcqThTqbOMelE+DcQ4bI8Ug02r27StGjukQ1XK4lKrqKvnGdunpmodpex1xcvObSSAw3vs3PLltSG3I78RTIbKjGDjcda52qdM1TBk8ED3D20FykjozoY7iNlBaMZkRJiulmUAkgHIxWO74CUGXjeMHoy/WRn4MPD5mtV7DNDfzCKC4SOZrx50ePmW4+pl0XsE/SN2GkMnXvkeVC+zMTx8PtBayxQm4urOJpLWdptmhl1CWCTKxyZ95RsSPDFXHLKOmS4p7Ow7AxrGJBzFZm3UKdyMdSGAx0NUdqu28kLiExSRZA0khSWHQkMCQBsem9Hexk/NidpEjE8Us1rM8aaVkaF8agPAMNJx55of9I9ik1sHBXXEQwHiVJUMP7flUuXKVsaVKkefXNyZCSf31VUeGh5GYFGfSMtyhqZceLL5bitQtNX4tgx+z7rj8xsfcM16mLLiqo9HLOEvpnpxTvGVOGBB8iMH7jSFdRmICpCmqQFADipAUwFTFSA4pwKlDCznSgLE+AGTWufhEsahnRgD5jp8fKpbS2NRbMYFTC1qk4awkCDvNtnGdsjODU4uHMWC/ysHAzjzNTyQ+LCfAuyxnGqQlUPu7bt6jPhXX2fZi3j3EYJ82Oc/fWXhkpjjVOukAZ+FEEkY152TJKT30dcIJIpueyts7atGPRTgH5VyfaDhqQyBY84xk5OcGu6UnFcLxeUvIS3Xcfcavx5Scu2LJFJA0LSq5UpV3Wc1HL8hycBTnp0quVCpwa9JThibnG5yaxz9n42JOkZ865l5KLeFnAYPkabNdrJwhF8BQG/skU+RxWscykyJY2gUKQp2xgAUwrYzJCnpqemMenps0qALrG0ecO0eBGmrmSMDpUoMsqqN3YY9B6npWyXs+/KSW3Y3ETqrghdMmkjIOjbUPQYPoaz8AuzHLNB+Tdxvo8hcCMjH56AfNKpteM6FtuS/fg4XciRc5McsSoNMieYZTsRXm5MuSE2dMYRcSg6WHgR6jxHgQfH0qVszQnMEkkR843ZfvA2NGuH3MPEVj5imK5MLSSOgAUGOQxurgnffB38DsRVFzwJolJdlxkaGGSrg751fkn0P31vHNjyKpqmQ4Sjo1WPb6+i95o5x5SJpb9NMfrzWl+1VhcKVu7N4CzpIZLc6TzIw2iTmRaX1DW2Dv1oPa8FmlOFT5kgD458qKr2Pce8Qcj8k9D8D1FKeDF8dFRnM7TsfeWCQCKxmRhlmIaQmRmc5Zn194sT40S49Zia3KMNmwPhkjBFeDdvOBtaGNgzKWLDKEr0A8R4/Cr+xrXNxeLFFdTJiIybu8i93T1RmwetcMo8ZVs2TtGI3xtbhzqZGa5tpE0kqXQNGH0kddlbIrtbXtC0l1yLuOOdZb6aOF2QFjAnODRo64OpGSIjPhKPShfGOHXFvKRIsbg94FO5kZxkKc4+FHOA8VsHSBbpWt5YJmmRyCoaRgVZi65G4xnOMkA0OEl20Foq4TLDdQo45tukjxRxhnS7iLysUWPOzRSAjBU4xkb4qU3YyXBNu8dwoLA6GCsCjFHBVjjIZSD3uoNbk7EO3Mnt7mK4bVayIFRIxK9tMJQ08kZKtKwyvM0jruKBcb4BdoFm5XLce3TlgzSNaiS8SUMjxHDSqjO2nJDAMN+lVDNOGmKUE9maa1eM6ZEZG8nUqflkb/ACqIFdXwoy30l9FJIzwrNKsJPIZEIcGLSVPMHdbowIIOx2obYcCJJ5g6EqQD0YHBB+416GLyFNO+mjnljafQIFa+H8OeZwqg9cE4OFHma6jhXZqMOWcAjwU9BRc2yxBtGAScnHQkUp+Sl0ilh/S/g9hHboFQb+LEDJ88/uoo4VxggH40At7rPjRJZ8DHnXBK27Z0xLHt1GygeZ9T51gltgGJUYz1rcz4G9ZJN+hoTY2kStVGd6KxYoNAcGi8FS2NGlRQ274JCSWKZJ3PXc0UBpsUlJrRP+nHTWoViFUgetNXSScKUkk5OTnrSrb2ongc21xWaW/wN6rdyazTQahuKlJCbBfE+0OGwm/mfCgc908zZNHL2wQKcjGKAuwGQu/xrvxca6RzTv6V6cUqQNOWroMhU9MKWaAJZps0qaqQyE8WoDBKsrK6MOqupBVh8xRePjEEyzLdxJBLNE8LXUaAoyuNPePVOo2bbYd6hgGeldJw7hoaPcYGN/OuXyMcZdvZrjbXSAvHuy8sZu5IctFJYDDKQQXUxc0AA/lJHq9cmihs47ZLZLVs211PEoQkuEBilZnjJORqKxnHTKttua2WnBmgGbR+X4mN8vC/5nWM+qY+BocnC4W/2fkWl3HcrKYnk1o8iIyjCgghGErYKgHPhtXmSjR0pl/tPsty0MUoLgBjGdiVYZBAPXbyzj0rouG8bjl2buP5E/sNcgYGbiqtciKJnFoVSVCyu6A6vZ7jA0yKeg8QcEVTZcZEwvJpMKkYM8JRRkwCSSM5GeoaPPwYZzSToZf9NLfVWv8APk/qpQ36Kj/2oP8AdpP7lGTwheLxwxkyOodgkiHHLO3MDhhtgDdSAaL9nvo6PDr4TrMHjKSQhShVwScA5GQfdPl8Kd2xnV3tkj+8obYgEiuNveycmptAXTnIB22+FeixRg9aaaMGt8eZwFLGpHj0FmUkzFqRwesbMhOP5hGaO8L4hehhy5JCM781eao+b94fJhXaR2MauSFGrxOBmtAthg4rSWaDVcTNY2vpzyLIrNL7PbiZkKc+IFXwSDupBJ3AOC/UVba2wSPBowFwMEUPv5FVGLEAeZIA+81jdKkaUZBe6Kxz8RLHrtQ+biCs+kE5I1AFWXUvTUuoDUPUZqGqqVEWGLKbJo4rgYJPSuThmxWv8IHFQyk6C97xLO1D/biKwPPk0wkoE2FYLs5o3ZXZxXMQSUSgusVLRUWdQk1O09Bor31p5LrPSs6NOgp7UPSlQFpzSo4isHRRCpsoqjm+VQ9qrTszMnFbYMh8c1yE1sVJyMV1N7d5OlaAcQkOrB32ruwt6ObJTMBWmqzFRxXWjEYU9LFXCzcjOk4p6BFNIU+k1ZyCBvRaGWWeA6+O9dxZRbelcVaL3tq6az4jgVx+Q70bYwvywp86xcT4XDOPrFGegYbMPgf7DtVUnEaySXuTXJRvyKmt57cadrmEb6XHfXHQr4gjwI6eQoTccAhkhl/B6rGz2ktu0JOlpDlGjIYnSSNJBJOTkZ6UeS9quaBJDkjDfaGx+fnWbiCYa+jK0aJr5ZpC8wuF15VV7vJjEL4XbvINzjqp8q6DibMCnd25p7wYebdR/wBa4/hXayS3uFh5bTM+kAKoyy5PR/TfYnHXp1rrOL3iiJDIeWdWrQ5GepODpzk/CoKNYucCqZbyudbjxc6beN5T6A4+Z8qx+1PJcC3nu4IJWziFHDzHbVggdNtxkjNVaHZ0j8Rji3mdVHqd/kOpqFrx8XGfZY5JADjUcIh/OY+nka4KLtBbCOSSO1lZxHHPFJeEMssbXMdu7BEbu4MmwJ/zL9vUle+t7aFJ5ImtpXMFvcC1VmWVV1Sv9gA4wPMUrCzpL65Pd586RB5VgVYF5jmV/dj1sDg439wYGTnxrmou0qmK5uLaydlghuHW5unVtckAOURSxfGVIJUgDFYLrlWvHxIqsbbnRibH4uK/uIWCSafMx4yfAyZqjsv2YkK3cZspUklS+i9qmkKIFlL8tI4jvpY6csF9d6LEFLK4uLi5gt+JmGeK6tTdQtFGYmgdQpwrZyDpb3s+XwrGRonmhD81IWCiUgAliMtG2NmZdssMdemc1oi4bcWrxCSeOW+NutrbiNcR2duoXmztq7zNsu5xqbAxjOCa8GjiiWOMbKDuTkkncsx8WJJJPmaqOxNAqm1Vokh01merIH11IPWfNSU0AbonrVHNihsb0RtYdVSUmao5q0C4xVZtCorLJcAU1G9DujaZ6VD/AGwU1V65C5oDDipAqiK6Z22rMUrRad012OEYro5lJs0tb56k5+NDrq3Lt3BkAbmi3NBFMM4worKM2i5RsBNYOBnFU8o4zjaunWzONzWDifDdKgrnGNx/bW8M1umZyx12CIU3FdRb2oZK5kCjnDbsqAGpZ06tDxNFstmoXGM0K9kJJ2x6V0isDvVMqrmsI5GujZwTA0Ueg1Iy71ZdR77Vm0Gk5WTVFpnpuZVein5dQBaklaY5KxLV6PSYzpOxlmvtMk7lchVjQHruMsR8sD5mug7YSiOwuJtCO0MMs0etdSh0RmU4+IrJ2IQcpiBuW3PngDFbe1EsDWk0N1MsKzRSRkllDAOpUlQepwfKsHs1R5de309zHAjyR3ELXU6ozM1jbzRpaq7GQxYzGkmvH2tOM1vt7ST8Jl1jWS1S/jBEKFnjlbhsKwy6hkmABv15OdqK8Z7U2F0I0W1e+5X4vMeI1OAue/sdgPyasHHr+UYRYLNNgABzZAMYHkvTHh4Uhmfg/wBHDfgpkdnjupY40Zpm5ggSKcSrGiqcKm2rAO5O5qd/wC1mMft1297cLqjCQyRwlxIynl8uJh3AV8WxvvTvwAS73dxPcHPRnKR/0aHFGOFWcNv+JjRPPSgBPz606Avt1kQEQww24ZtbFyZHZsAaiiYGrAG5c9BWW5iZs82aVx9lWEKfoxYJHxJrVc3mTWNpM1SQdELS2SP8WirnrpUDPxI6n1NNcyk1ohFXvEPDFMDn5lJrObcmum9lBB2rHFbAdaYmgKlix8KsawIroBDtVYUeIoFxBScOxRSxjCbmq5Tj4VnnuVxsd6ai2LQR4hfKvX7q5y5nDNkZpT5Y+NVrF6iuvHBRMpybGxT1s5i+WfXFKr5f0Liv059kxTZrdGmTv0rRFaL1NKWRLZCg2ZYAWG9bVbHSps3gq4xSUZ61zOVm6VD6yarugxGMVpixnarytSpUxtWgDBwVj1GPjT3FiV3J2FdBztvWsd2M7VqsrbJ4JLoBe14FSF1mqriI5xjpV9vYuwBCnrXQ4xqzJNj66sjjzU57KReo29KqRWAyEbHmFOM/GsuKHfZeIVq1LcGsel22CvnyCn91WwROx6MB8D+6k8fQ+Rc9lVb24FbDGwHRvTY1meNz0Vj16Kawos5TtbfyxNCI5pUVi2VSRlXbG+FI33oL2ZhE943PZ3ADNhnZtwygZJ3xv0ot20tXLQNofSC+W0NgZ04ycYHzoR2Q2unJ2Gh9zsPeXxNZP+RotHpUd2AMDAHkNh8hU1u6FKw8x94rYlq/2X/Rb91XRFsJQ3XrWj27HShS2z/Zb9Fv3VdHbP8AZb7jSLTNLTE1OJqqS1byP3GtcdqR1oA0wGtEkm1Zg4XrVV1cgqQDvQo2x3Roj4gu/wB1NrBJ9KCG4CjyPjVcXETk1q8T+E8/0OXF6qjBoTJxU6jj5VU4L9TVc0aKvmauEY6ZEpMt9od22yaL8PtsDvDBoFa3Tr7pxVo4i+d2NXODfSJjNLYentgwx0oTd8PKDOasg4mSN6rnvtQIrOEZxdFycWjDmlVykUq6rMaL7qxZPD7qzpE1dbcMPIfAVlIXO4APhXncrOnjQGjsZNtjvUrqzZQS+AAMkk4AAGSST02rpIDnGaXE+HLPGVfocdMbFSGU77bEA75G2/jU2VxOLa1/1eS7uFf2aJDKsQJR7gLjDNnGmPxC9TsTgbGXB72ynlSKWwlt5JozLbiRjpnULqwjq+NWPA0X468l1Y3dsADcmBwqrgCYHADpk4x0yM90nB2IJE8O4ReXE1g09sYIuHxkjVKjvPKIljAUL7q9wHfzqbAyWvGLJobqaaxmgS1OiQmUsWl1KvJULJ72WXrtvWu3NqsUst5YT2scUQl1SSu6upOAqskh7+SO76is/CeF3Qt+IJPw5nFxcG4ETzRjWjugaNWU7SKBqDbDIFDrTsFdSW97FFHNbQSRR8iC4nWU89JFfPdyETClcn7W+wpWAV4O9nPPHDNYz2zzIZLczSSYmUDJwVk2bTvg/wDXNwfjdjO0ANpdwx3EhihlaaXltICRpysu24I6eFE4ILu/vbGSe1a1jsxI7l3RjLK6BNMYU5090HJ8K5/s52MurT8HzyRSy8uWUS2zSBvZ9btouIV1achdyN8n47O2FBeC+tWluo2srxPZI3kmZriTACoXUbTZy6jK/rqUPF4riKScQ8Tt4UgecPzSsbqgBxHljuRuOg2quKyunuOLlrSVFu4GWJi8RBaK3aJV2bOXJBHx3xWLgPZmVLG5hFhdxTvYSxF5J1eOSQqO4keshCW6dMAGiwN1hxS2njtXin4gfaZZIlXnjKSRqXKuM+IxjHmKo4fxRZ7n2cDjCyZj1hmX6pZDhXkw3dXfOajadg7iDiHDpY425JEMlyg04huEg5TsRn8oeWdwfSur4NwiVOM30zIwikhtVRzjDMgOoDfwpAczwK+W9dRE3FwjO684leUCmrOXDea4+JFQ4R2gt5Wi1XHE4klcxxSzDELyZK6OYrEA5BG/lUfo87OSW8yc+yvVl5k31xmAt1VtektEH32wM6epBrLw7gN7Pw634a1nLFpuObLcSlAiJznk7gzqZ8Pjp4UAemxcJXlmB2aVTHKrGRtRbL9CfTw8q8V49wJrSdon8N1Pgynof+fHNe8taq3vqG3YjIBxlj/lXAdt+DxuX0qEKQyygquM6BnST6+VAHlFxepG2kiUkKGOkE4XcZ6+ldXwPj0TaUd+JSyOuuNbV2fMYH2S2QRv8q4/ilgxmYmOVlMQUGPbvZOxPl6VJLWVHgZ0lbRGVbksYyDk4XUpGNsZxQB6pG9uJOXJLxKJhaNeESzFSI0JDKRnIcYO3p1qFjxK1mW0aObiJ9saVI15/eUw/jC4zsB6Z60P7TcEmvbaxlsI5Tqiks5Qza5IoZAitzGJ3IAbJ360R7M9jZrfi8rNEwtLcXD2pwMFrjl6lXfqAHFAFEHHbd4bqUniqJag87XKB3wVBiHexrGoHB8KM8YS1srJbhxdOn1QAW5m1nmkadhIF6t4VzycKu5bHjERs7hHupXuIQ4Qag5jAj2Y98aST4etbO0TXV7wwwLYXMckRtCA5i+s5brr04bbAXO/nQBpteI2UonDx3sUsETTPDNPcJIYwCdSfW4YeHXxrLYXlrLE85s+IJEsDTiSSeYJIqgHSh525IO3htVtzwm6vri4upLZrcLYTWsETujSyvIGOTpOFG+ACfL1oZ2e7NypZTw+wXUU7WMkRkkuFeOSTAARI9Z0FjuOnSnbA28HvLG5lSNra8haWFpoTLNNpmjVdRKMsp8N6jwKW1vAHSwv0hKyMJmuJOXiNWJGRLnJKlfjTdneydzaXFtI8cs6vYiEl5AzWMugakUFscsnu93ON/LejsH2altgqy8PnSbkzo1wblTH3lbSOSGOCe6ucdd6fJ/oqQ/DuMWk/JxBe2ouDptriWR5IXkyQFIMjA5Ixgj4EdRtuLVkfRKNLgZO/dZc4DofylP3jocGsHCezl7NaWVlNbGCO3mWeaZ5YzqCO7hY0U5B7+Mnpiuh4/f+1OojUGONiyvjd2KlcqfCPBP87Y9AM6YpNSJmlQOSMBseFSaAasCrl4e3mKv9hKDUpzj3gRg/EeddfNfpkkRjsgdzWeWIA92r5bvPSq9e3rSjy2wdFOmlUqVbWZh8T+JpzJqock2cVrjevLOuzZGunoaTznzqhpfWqnmoKslc2SyY1qrYORqAOD6Z6VnXh0R20KDirRdYFYTK1UiWQsuEgswYnA2GHYb/AABrW/CFHi39I+f21CCfAO29L2knrVttkpIqj4VpPvy/ASyf4qx39vIGGhpt/KWXH9aigbzqBOSKpSpicbAgEwI78/8ATzf4qJ2/ErxyT7Q6/mx/cBpq262zjbb45rPZz+HWrck1pEqNMKQzzEDVcy+v4of3K0h5PG5n++L+HWNLbV1OKpvJQg06smsKTZoEouY2/tVwP6H+FSxLv/rc/wD9c/8A5UOjvDtvsBirFuB50qQ7APbftpdWLW6QTFuZzNbSxxMe6U06cIAPePUGgXZLtHc8SvJIrmXK8mX3UjQkZUEE6TtgmofSjLqltPhN+2KhP0cjN+/h9VJ/WSorsZ3152VRn1M8mkADCsq4A/mriqv9EYSMiSUD1dT/AHaNMRju+VYubvg7bfrrZRTIboqs5JLVCsM0qqTnpEcn1JQ1L/SO5H/iH/Qh/h1VchsZxtQ1iaOKE5BhO0t0f+/f9CD+HSW7ZjqkkmYnqefKn/xjZVHyAoTEpzWg6hUtIOTCqMD+VKP/AHNx/EqzWv25f+JuP8dCFcnenafApqF6HyoIXFwg2Vpf+JuP4lZFu/5cuP8Aebj+JWIvmtFvACcsdq39UYrsy9jei24mDDGZCD1DTzMCPIqzkEehFKO8K9Ke6VNI01lUZNVGMaE27CMDMTv470XgjyuDQSFiD8KM2shFYTZtEx3HCj1UEfrpk4UcbnGf20TM5xURNk7+VHtkDggU3D2HTH30qLBxT0/dIn1oBqwqzWfA0qVYlIYSHzp1kNKlQBNQTTtJSpUDKSajzd6VKmI0hqnLgClSoGY5DvWMXGltqVKrRDNA4qRnHjWCW6yaVKhBYy3ZqyO9IpUqQjku30xaW2J8pf2x1i+jz/b3/wDTf+slKlWb2arR6klwFrNLKHNKlWqJYmXI3ofNbld6VKmiWKNyKd7k0qVXFJvszk6IGY1XnNKlXSopaMm2XLCSM0iuKVKs7bdGldDjetaRBdxT0qnIy4IshvfMVfDcb0qVc7NEb4484yatkg2p6VQWU8r1pUqVMR//2Q=="/>
          <p:cNvSpPr>
            <a:spLocks noChangeAspect="1" noChangeArrowheads="1"/>
          </p:cNvSpPr>
          <p:nvPr/>
        </p:nvSpPr>
        <p:spPr bwMode="auto">
          <a:xfrm>
            <a:off x="1831181" y="-9100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868900" fontAlgn="auto">
              <a:spcBef>
                <a:spcPts val="0"/>
              </a:spcBef>
              <a:spcAft>
                <a:spcPts val="0"/>
              </a:spcAft>
            </a:pPr>
            <a:endParaRPr lang="en-GB" sz="1926">
              <a:solidFill>
                <a:prstClr val="black"/>
              </a:solidFill>
              <a:latin typeface="Trebuchet MS" panose="020B0603020202020204"/>
              <a:ea typeface="+mn-ea"/>
            </a:endParaRPr>
          </a:p>
        </p:txBody>
      </p:sp>
      <p:pic>
        <p:nvPicPr>
          <p:cNvPr id="1028" name="Picture 4" descr="https://encrypted-tbn2.gstatic.com/images?q=tbn:ANd9GcTCSeLGKV6yOBtEMD0k68Le-lWHO59TlZYxV3Zz7wjBLHIi9yX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80462" y="2392638"/>
            <a:ext cx="2270321" cy="1524595"/>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1"/>
          <p:cNvPicPr>
            <a:picLocks noChangeAspect="1" noChangeArrowheads="1"/>
          </p:cNvPicPr>
          <p:nvPr/>
        </p:nvPicPr>
        <p:blipFill rotWithShape="1">
          <a:blip r:embed="rId7">
            <a:extLst>
              <a:ext uri="{28A0092B-C50C-407E-A947-70E740481C1C}">
                <a14:useLocalDpi xmlns:a14="http://schemas.microsoft.com/office/drawing/2010/main" val="0"/>
              </a:ext>
            </a:extLst>
          </a:blip>
          <a:srcRect l="-1" t="-1870" r="10471" b="1870"/>
          <a:stretch/>
        </p:blipFill>
        <p:spPr bwMode="auto">
          <a:xfrm>
            <a:off x="8562845" y="5124171"/>
            <a:ext cx="3535345" cy="1689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6"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880462" y="3857020"/>
            <a:ext cx="1598799" cy="14954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10"/>
          <p:cNvPicPr>
            <a:picLocks noChangeAspect="1" noChangeArrowheads="1"/>
          </p:cNvPicPr>
          <p:nvPr/>
        </p:nvPicPr>
        <p:blipFill>
          <a:blip r:embed="rId9" cstate="print"/>
          <a:srcRect/>
          <a:stretch>
            <a:fillRect/>
          </a:stretch>
        </p:blipFill>
        <p:spPr bwMode="auto">
          <a:xfrm>
            <a:off x="6560855" y="5176222"/>
            <a:ext cx="2305852" cy="1637154"/>
          </a:xfrm>
          <a:prstGeom prst="rect">
            <a:avLst/>
          </a:prstGeom>
          <a:noFill/>
          <a:ln w="9525">
            <a:noFill/>
            <a:miter lim="800000"/>
            <a:headEnd/>
            <a:tailEnd/>
          </a:ln>
        </p:spPr>
      </p:pic>
      <p:pic>
        <p:nvPicPr>
          <p:cNvPr id="10" name="Picture 9">
            <a:extLst>
              <a:ext uri="{FF2B5EF4-FFF2-40B4-BE49-F238E27FC236}">
                <a16:creationId xmlns:a16="http://schemas.microsoft.com/office/drawing/2014/main" id="{BBFF00D9-1616-434B-9012-AA29135BAE22}"/>
              </a:ext>
            </a:extLst>
          </p:cNvPr>
          <p:cNvPicPr>
            <a:picLocks noChangeAspect="1"/>
          </p:cNvPicPr>
          <p:nvPr/>
        </p:nvPicPr>
        <p:blipFill>
          <a:blip r:embed="rId10"/>
          <a:stretch>
            <a:fillRect/>
          </a:stretch>
        </p:blipFill>
        <p:spPr>
          <a:xfrm>
            <a:off x="8389324" y="3638643"/>
            <a:ext cx="3754554" cy="1534877"/>
          </a:xfrm>
          <a:prstGeom prst="rect">
            <a:avLst/>
          </a:prstGeom>
        </p:spPr>
      </p:pic>
      <p:pic>
        <p:nvPicPr>
          <p:cNvPr id="17" name="Picture 16" descr="Urban_sprawl_as_seen_from_Tokyo_tower_towards_West.jpg">
            <a:extLst>
              <a:ext uri="{FF2B5EF4-FFF2-40B4-BE49-F238E27FC236}">
                <a16:creationId xmlns:a16="http://schemas.microsoft.com/office/drawing/2014/main" id="{BEDC9CF0-0095-A84F-80EE-905F79248CD7}"/>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097696" y="916399"/>
            <a:ext cx="2224337" cy="1668253"/>
          </a:xfrm>
          <a:prstGeom prst="rect">
            <a:avLst/>
          </a:prstGeom>
        </p:spPr>
      </p:pic>
      <p:pic>
        <p:nvPicPr>
          <p:cNvPr id="4" name="Picture 3">
            <a:extLst>
              <a:ext uri="{FF2B5EF4-FFF2-40B4-BE49-F238E27FC236}">
                <a16:creationId xmlns:a16="http://schemas.microsoft.com/office/drawing/2014/main" id="{62176766-3C01-1A43-9670-5211EB2AA095}"/>
              </a:ext>
            </a:extLst>
          </p:cNvPr>
          <p:cNvPicPr>
            <a:picLocks noChangeAspect="1"/>
          </p:cNvPicPr>
          <p:nvPr/>
        </p:nvPicPr>
        <p:blipFill>
          <a:blip r:embed="rId12"/>
          <a:stretch>
            <a:fillRect/>
          </a:stretch>
        </p:blipFill>
        <p:spPr>
          <a:xfrm>
            <a:off x="4134026" y="5198431"/>
            <a:ext cx="2426829" cy="1614945"/>
          </a:xfrm>
          <a:prstGeom prst="rect">
            <a:avLst/>
          </a:prstGeom>
        </p:spPr>
      </p:pic>
    </p:spTree>
    <p:extLst>
      <p:ext uri="{BB962C8B-B14F-4D97-AF65-F5344CB8AC3E}">
        <p14:creationId xmlns:p14="http://schemas.microsoft.com/office/powerpoint/2010/main" val="42153334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92B95E-3CEA-E4B2-6406-AFA9D13F5D82}"/>
              </a:ext>
            </a:extLst>
          </p:cNvPr>
          <p:cNvSpPr>
            <a:spLocks noGrp="1"/>
          </p:cNvSpPr>
          <p:nvPr>
            <p:ph type="title"/>
          </p:nvPr>
        </p:nvSpPr>
        <p:spPr>
          <a:xfrm>
            <a:off x="1126654" y="292789"/>
            <a:ext cx="9960446" cy="626609"/>
          </a:xfrm>
        </p:spPr>
        <p:txBody>
          <a:bodyPr/>
          <a:lstStyle/>
          <a:p>
            <a:r>
              <a:rPr lang="en-US" dirty="0"/>
              <a:t>Case study research  </a:t>
            </a:r>
            <a:endParaRPr lang="da-DK" dirty="0"/>
          </a:p>
        </p:txBody>
      </p:sp>
      <p:sp>
        <p:nvSpPr>
          <p:cNvPr id="3" name="Content Placeholder 2">
            <a:extLst>
              <a:ext uri="{FF2B5EF4-FFF2-40B4-BE49-F238E27FC236}">
                <a16:creationId xmlns:a16="http://schemas.microsoft.com/office/drawing/2014/main" id="{F2EC6037-C05F-B759-E7AB-089857C32FA1}"/>
              </a:ext>
            </a:extLst>
          </p:cNvPr>
          <p:cNvSpPr>
            <a:spLocks noGrp="1"/>
          </p:cNvSpPr>
          <p:nvPr>
            <p:ph idx="1"/>
          </p:nvPr>
        </p:nvSpPr>
        <p:spPr>
          <a:xfrm>
            <a:off x="1126654" y="1196752"/>
            <a:ext cx="10153128" cy="5055154"/>
          </a:xfrm>
        </p:spPr>
        <p:txBody>
          <a:bodyPr/>
          <a:lstStyle/>
          <a:p>
            <a:r>
              <a:rPr lang="en-GB" sz="2400" dirty="0"/>
              <a:t>Data collection in each case was based on: </a:t>
            </a:r>
          </a:p>
          <a:p>
            <a:pPr lvl="1"/>
            <a:r>
              <a:rPr lang="en-GB" sz="2400" dirty="0"/>
              <a:t>Participant observations at workshops and meetings</a:t>
            </a:r>
          </a:p>
          <a:p>
            <a:pPr lvl="1"/>
            <a:r>
              <a:rPr lang="en-GB" sz="2400" dirty="0"/>
              <a:t>Literature review encompassing academic literature, national and international policy documents and official web-sites</a:t>
            </a:r>
          </a:p>
          <a:p>
            <a:pPr lvl="1"/>
            <a:r>
              <a:rPr lang="en-GB" sz="2400" dirty="0"/>
              <a:t>Collaborative Stakeholder Analysis (CSA)</a:t>
            </a:r>
          </a:p>
          <a:p>
            <a:pPr lvl="1"/>
            <a:r>
              <a:rPr lang="en-GB" sz="2400" dirty="0"/>
              <a:t>Semi-structure interviews with key actors </a:t>
            </a:r>
            <a:r>
              <a:rPr lang="da-DK" sz="2400" dirty="0" err="1"/>
              <a:t>within</a:t>
            </a:r>
            <a:r>
              <a:rPr lang="da-DK" sz="2400" dirty="0"/>
              <a:t> the </a:t>
            </a:r>
            <a:r>
              <a:rPr lang="da-DK" sz="2400" dirty="0" err="1"/>
              <a:t>project</a:t>
            </a:r>
            <a:r>
              <a:rPr lang="da-DK" sz="2400" dirty="0"/>
              <a:t> </a:t>
            </a:r>
          </a:p>
          <a:p>
            <a:pPr marL="216000" lvl="1" indent="0">
              <a:buNone/>
            </a:pPr>
            <a:endParaRPr lang="da-DK" sz="2400" dirty="0"/>
          </a:p>
          <a:p>
            <a:r>
              <a:rPr lang="en-GB" sz="2400" dirty="0"/>
              <a:t>Exploring the </a:t>
            </a:r>
            <a:r>
              <a:rPr lang="en-GB" sz="2400" b="1" dirty="0"/>
              <a:t>epistemic politics of Water Data Spaces </a:t>
            </a:r>
            <a:r>
              <a:rPr lang="en-GB" sz="2400" dirty="0"/>
              <a:t>– i.e. the politics related to the processes of knowledge creation, knowledge flows and mode of doings – understanding how specific </a:t>
            </a:r>
            <a:r>
              <a:rPr lang="en-GB" sz="2400" b="1" dirty="0"/>
              <a:t>framing, material arrangements and governance settings</a:t>
            </a:r>
            <a:r>
              <a:rPr lang="en-GB" sz="2400" dirty="0"/>
              <a:t> enable the stabilization of sociotechnical imaginaries.</a:t>
            </a:r>
          </a:p>
          <a:p>
            <a:endParaRPr lang="da-DK" sz="2400" dirty="0"/>
          </a:p>
          <a:p>
            <a:endParaRPr lang="da-DK" sz="2800" dirty="0"/>
          </a:p>
        </p:txBody>
      </p:sp>
      <p:sp>
        <p:nvSpPr>
          <p:cNvPr id="4" name="Footer Placeholder 3">
            <a:extLst>
              <a:ext uri="{FF2B5EF4-FFF2-40B4-BE49-F238E27FC236}">
                <a16:creationId xmlns:a16="http://schemas.microsoft.com/office/drawing/2014/main" id="{A2D5AD76-00F2-41EF-780C-B8805E087564}"/>
              </a:ext>
            </a:extLst>
          </p:cNvPr>
          <p:cNvSpPr>
            <a:spLocks noGrp="1"/>
          </p:cNvSpPr>
          <p:nvPr>
            <p:ph type="ftr" sz="quarter" idx="10"/>
          </p:nvPr>
        </p:nvSpPr>
        <p:spPr/>
        <p:txBody>
          <a:bodyPr/>
          <a:lstStyle/>
          <a:p>
            <a:endParaRPr lang="da-DK" dirty="0"/>
          </a:p>
        </p:txBody>
      </p:sp>
      <p:sp>
        <p:nvSpPr>
          <p:cNvPr id="5" name="Slide Number Placeholder 4">
            <a:extLst>
              <a:ext uri="{FF2B5EF4-FFF2-40B4-BE49-F238E27FC236}">
                <a16:creationId xmlns:a16="http://schemas.microsoft.com/office/drawing/2014/main" id="{CFEEEDE3-D97D-F0A8-8EA8-4D40DC1553A7}"/>
              </a:ext>
            </a:extLst>
          </p:cNvPr>
          <p:cNvSpPr>
            <a:spLocks noGrp="1"/>
          </p:cNvSpPr>
          <p:nvPr>
            <p:ph type="sldNum" sz="quarter" idx="11"/>
          </p:nvPr>
        </p:nvSpPr>
        <p:spPr/>
        <p:txBody>
          <a:bodyPr/>
          <a:lstStyle/>
          <a:p>
            <a:fld id="{103EA872-A674-449B-A120-B97244F8E91D}" type="slidenum">
              <a:rPr lang="da-DK" smtClean="0"/>
              <a:pPr/>
              <a:t>20</a:t>
            </a:fld>
            <a:endParaRPr lang="da-DK" dirty="0"/>
          </a:p>
        </p:txBody>
      </p:sp>
    </p:spTree>
    <p:extLst>
      <p:ext uri="{BB962C8B-B14F-4D97-AF65-F5344CB8AC3E}">
        <p14:creationId xmlns:p14="http://schemas.microsoft.com/office/powerpoint/2010/main" val="15487447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8662" y="404664"/>
            <a:ext cx="8229600" cy="714380"/>
          </a:xfrm>
        </p:spPr>
        <p:txBody>
          <a:bodyPr>
            <a:noAutofit/>
          </a:bodyPr>
          <a:lstStyle/>
          <a:p>
            <a:r>
              <a:rPr lang="en-GB" dirty="0"/>
              <a:t>Theoretical framework for the analysis  </a:t>
            </a:r>
            <a:br>
              <a:rPr lang="en-GB" dirty="0"/>
            </a:br>
            <a:endParaRPr lang="en-US" dirty="0"/>
          </a:p>
        </p:txBody>
      </p:sp>
      <p:sp>
        <p:nvSpPr>
          <p:cNvPr id="3" name="Content Placeholder 2"/>
          <p:cNvSpPr>
            <a:spLocks noGrp="1"/>
          </p:cNvSpPr>
          <p:nvPr>
            <p:ph idx="1"/>
          </p:nvPr>
        </p:nvSpPr>
        <p:spPr>
          <a:xfrm>
            <a:off x="694605" y="836712"/>
            <a:ext cx="11495807" cy="6021288"/>
          </a:xfrm>
        </p:spPr>
        <p:txBody>
          <a:bodyPr>
            <a:noAutofit/>
          </a:bodyPr>
          <a:lstStyle/>
          <a:p>
            <a:r>
              <a:rPr lang="en-GB" sz="2000" b="1" dirty="0"/>
              <a:t>Knowledge co-production </a:t>
            </a:r>
            <a:r>
              <a:rPr lang="en-GB" sz="2000" dirty="0"/>
              <a:t>(Jasanoff, 2004) - concerned with the emergence of hybrid phenomena as well as with the processes making them visible, understandable, measurable, governable (Voss and Freeman, 2016)</a:t>
            </a:r>
          </a:p>
          <a:p>
            <a:r>
              <a:rPr lang="en-GB" sz="2000" dirty="0"/>
              <a:t>Two strands of co-production studies (Pfister, 2016): 1) “</a:t>
            </a:r>
            <a:r>
              <a:rPr lang="en-GB" sz="2000" b="1" dirty="0"/>
              <a:t>constitutive</a:t>
            </a:r>
            <a:r>
              <a:rPr lang="en-GB" sz="2000" dirty="0"/>
              <a:t>” studies, exploring how new phenomena come into being and get stabilized and 2) “</a:t>
            </a:r>
            <a:r>
              <a:rPr lang="en-GB" sz="2000" b="1" dirty="0"/>
              <a:t>interactional</a:t>
            </a:r>
            <a:r>
              <a:rPr lang="en-GB" sz="2000" dirty="0"/>
              <a:t>” studies, unfolding the controversies and transformations arising within established political and epistemic orders, especially when their boundaries and qualities are being reimagined and renegotiated. </a:t>
            </a:r>
          </a:p>
          <a:p>
            <a:r>
              <a:rPr lang="en-GB" sz="2000" dirty="0"/>
              <a:t>Four elements that contribute to sustaining social order morally, ontologically, politically, and symbolically: </a:t>
            </a:r>
            <a:r>
              <a:rPr lang="en-GB" sz="2000" b="1" dirty="0"/>
              <a:t>identities, discourse, institutions, </a:t>
            </a:r>
            <a:r>
              <a:rPr lang="en-GB" sz="2000" dirty="0"/>
              <a:t>and</a:t>
            </a:r>
            <a:r>
              <a:rPr lang="en-GB" sz="2000" b="1" dirty="0"/>
              <a:t> representations.</a:t>
            </a:r>
          </a:p>
          <a:p>
            <a:r>
              <a:rPr lang="en-GB" sz="2000" b="1" dirty="0"/>
              <a:t>Socio-technical imaginaries</a:t>
            </a:r>
            <a:r>
              <a:rPr lang="en-GB" sz="2000" dirty="0"/>
              <a:t> : “</a:t>
            </a:r>
            <a:r>
              <a:rPr lang="en-GB" sz="2000" i="1" dirty="0"/>
              <a:t>collectively held, institutionally stabilized and </a:t>
            </a:r>
            <a:r>
              <a:rPr lang="en-GB" sz="2000" i="1" dirty="0" err="1"/>
              <a:t>publically</a:t>
            </a:r>
            <a:r>
              <a:rPr lang="en-GB" sz="2000" i="1" dirty="0"/>
              <a:t> performed visions of desirable futures, animated by shared understanding of forms of social life and social order attainable through, and supportive of, advances in science and technology</a:t>
            </a:r>
            <a:r>
              <a:rPr lang="en-GB" sz="2000" dirty="0"/>
              <a:t>” </a:t>
            </a:r>
            <a:endParaRPr lang="en-GB" sz="2000" b="1" dirty="0"/>
          </a:p>
          <a:p>
            <a:r>
              <a:rPr lang="en-GB" sz="2000" b="1" dirty="0"/>
              <a:t>Pathways to Sustainability </a:t>
            </a:r>
            <a:r>
              <a:rPr lang="en-GB" sz="2000" dirty="0"/>
              <a:t>- analytical and normative tools to help us reflecting on governance arrangements and critically assess them in terms of social and environmental justice asking what kinds of institutions and interactions are needed to help shape desirable urban transformations. </a:t>
            </a:r>
            <a:endParaRPr lang="en-US" sz="2000" dirty="0"/>
          </a:p>
          <a:p>
            <a:endParaRPr lang="en-US" sz="2000" dirty="0"/>
          </a:p>
        </p:txBody>
      </p:sp>
      <p:sp>
        <p:nvSpPr>
          <p:cNvPr id="4" name="Slide Number Placeholder 3"/>
          <p:cNvSpPr>
            <a:spLocks noGrp="1"/>
          </p:cNvSpPr>
          <p:nvPr>
            <p:ph type="sldNum" sz="quarter" idx="12"/>
          </p:nvPr>
        </p:nvSpPr>
        <p:spPr/>
        <p:txBody>
          <a:bodyPr/>
          <a:lstStyle/>
          <a:p>
            <a:fld id="{2446BEE9-EC27-488D-81FB-1029F9B40EFA}" type="slidenum">
              <a:rPr lang="da-DK" smtClean="0"/>
              <a:t>21</a:t>
            </a:fld>
            <a:endParaRPr lang="da-DK"/>
          </a:p>
        </p:txBody>
      </p:sp>
    </p:spTree>
    <p:extLst>
      <p:ext uri="{BB962C8B-B14F-4D97-AF65-F5344CB8AC3E}">
        <p14:creationId xmlns:p14="http://schemas.microsoft.com/office/powerpoint/2010/main" val="12969832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extLst>
              <p:ext uri="{D42A27DB-BD31-4B8C-83A1-F6EECF244321}">
                <p14:modId xmlns:p14="http://schemas.microsoft.com/office/powerpoint/2010/main" val="1696997223"/>
              </p:ext>
            </p:extLst>
          </p:nvPr>
        </p:nvGraphicFramePr>
        <p:xfrm>
          <a:off x="-11962" y="25272"/>
          <a:ext cx="12190414" cy="6832728"/>
        </p:xfrm>
        <a:graphic>
          <a:graphicData uri="http://schemas.openxmlformats.org/drawingml/2006/table">
            <a:tbl>
              <a:tblPr firstRow="1" bandRow="1">
                <a:tableStyleId>{5940675A-B579-460E-94D1-54222C63F5DA}</a:tableStyleId>
              </a:tblPr>
              <a:tblGrid>
                <a:gridCol w="725620">
                  <a:extLst>
                    <a:ext uri="{9D8B030D-6E8A-4147-A177-3AD203B41FA5}">
                      <a16:colId xmlns:a16="http://schemas.microsoft.com/office/drawing/2014/main" val="231033780"/>
                    </a:ext>
                  </a:extLst>
                </a:gridCol>
                <a:gridCol w="1523802">
                  <a:extLst>
                    <a:ext uri="{9D8B030D-6E8A-4147-A177-3AD203B41FA5}">
                      <a16:colId xmlns:a16="http://schemas.microsoft.com/office/drawing/2014/main" val="3944500946"/>
                    </a:ext>
                  </a:extLst>
                </a:gridCol>
                <a:gridCol w="2757356">
                  <a:extLst>
                    <a:ext uri="{9D8B030D-6E8A-4147-A177-3AD203B41FA5}">
                      <a16:colId xmlns:a16="http://schemas.microsoft.com/office/drawing/2014/main" val="1771684331"/>
                    </a:ext>
                  </a:extLst>
                </a:gridCol>
                <a:gridCol w="7183636">
                  <a:extLst>
                    <a:ext uri="{9D8B030D-6E8A-4147-A177-3AD203B41FA5}">
                      <a16:colId xmlns:a16="http://schemas.microsoft.com/office/drawing/2014/main" val="2351831388"/>
                    </a:ext>
                  </a:extLst>
                </a:gridCol>
              </a:tblGrid>
              <a:tr h="405601">
                <a:tc>
                  <a:txBody>
                    <a:bodyPr/>
                    <a:lstStyle/>
                    <a:p>
                      <a:endParaRPr lang="da-DK" sz="1050" b="1" dirty="0">
                        <a:solidFill>
                          <a:schemeClr val="bg1"/>
                        </a:solidFill>
                      </a:endParaRPr>
                    </a:p>
                  </a:txBody>
                  <a:tcPr marL="72000" marR="72000" marT="0" marB="0">
                    <a:solidFill>
                      <a:srgbClr val="008737"/>
                    </a:solidFill>
                  </a:tcPr>
                </a:tc>
                <a:tc>
                  <a:txBody>
                    <a:bodyPr/>
                    <a:lstStyle/>
                    <a:p>
                      <a:r>
                        <a:rPr lang="en-US" sz="1050" b="1" dirty="0">
                          <a:solidFill>
                            <a:schemeClr val="bg1"/>
                          </a:solidFill>
                        </a:rPr>
                        <a:t>Actors</a:t>
                      </a:r>
                      <a:r>
                        <a:rPr lang="en-US" sz="1050" b="1" baseline="0" dirty="0">
                          <a:solidFill>
                            <a:schemeClr val="bg1"/>
                          </a:solidFill>
                        </a:rPr>
                        <a:t> </a:t>
                      </a:r>
                      <a:endParaRPr lang="da-DK" sz="1050" b="1" dirty="0">
                        <a:solidFill>
                          <a:schemeClr val="bg1"/>
                        </a:solidFill>
                      </a:endParaRPr>
                    </a:p>
                  </a:txBody>
                  <a:tcPr marL="72000" marR="72000" marT="0" marB="0">
                    <a:solidFill>
                      <a:srgbClr val="008737"/>
                    </a:solidFill>
                  </a:tcPr>
                </a:tc>
                <a:tc>
                  <a:txBody>
                    <a:bodyPr/>
                    <a:lstStyle/>
                    <a:p>
                      <a:r>
                        <a:rPr lang="da-DK" sz="1050" b="1" dirty="0" err="1">
                          <a:solidFill>
                            <a:schemeClr val="bg1"/>
                          </a:solidFill>
                        </a:rPr>
                        <a:t>Who</a:t>
                      </a:r>
                      <a:r>
                        <a:rPr lang="da-DK" sz="1050" b="1" dirty="0">
                          <a:solidFill>
                            <a:schemeClr val="bg1"/>
                          </a:solidFill>
                        </a:rPr>
                        <a:t> </a:t>
                      </a:r>
                      <a:r>
                        <a:rPr lang="da-DK" sz="1050" b="1" dirty="0" err="1">
                          <a:solidFill>
                            <a:schemeClr val="bg1"/>
                          </a:solidFill>
                        </a:rPr>
                        <a:t>are</a:t>
                      </a:r>
                      <a:r>
                        <a:rPr lang="da-DK" sz="1050" b="1" dirty="0">
                          <a:solidFill>
                            <a:schemeClr val="bg1"/>
                          </a:solidFill>
                        </a:rPr>
                        <a:t> </a:t>
                      </a:r>
                      <a:r>
                        <a:rPr lang="da-DK" sz="1050" b="1" dirty="0" err="1">
                          <a:solidFill>
                            <a:schemeClr val="bg1"/>
                          </a:solidFill>
                        </a:rPr>
                        <a:t>they</a:t>
                      </a:r>
                      <a:r>
                        <a:rPr lang="da-DK" sz="1050" b="1" dirty="0">
                          <a:solidFill>
                            <a:schemeClr val="bg1"/>
                          </a:solidFill>
                        </a:rPr>
                        <a:t>?</a:t>
                      </a:r>
                    </a:p>
                  </a:txBody>
                  <a:tcPr marL="72000" marR="72000" marT="0" marB="0">
                    <a:solidFill>
                      <a:srgbClr val="008737"/>
                    </a:solidFill>
                  </a:tcPr>
                </a:tc>
                <a:tc>
                  <a:txBody>
                    <a:bodyPr/>
                    <a:lstStyle/>
                    <a:p>
                      <a:r>
                        <a:rPr lang="en-US" sz="1050" b="1" dirty="0">
                          <a:solidFill>
                            <a:schemeClr val="bg1"/>
                          </a:solidFill>
                        </a:rPr>
                        <a:t>Description</a:t>
                      </a:r>
                      <a:endParaRPr lang="da-DK" sz="1050" b="1" dirty="0">
                        <a:solidFill>
                          <a:schemeClr val="bg1"/>
                        </a:solidFill>
                      </a:endParaRPr>
                    </a:p>
                  </a:txBody>
                  <a:tcPr marL="72000" marR="72000" marT="0" marB="0">
                    <a:solidFill>
                      <a:srgbClr val="008737"/>
                    </a:solidFill>
                  </a:tcPr>
                </a:tc>
                <a:extLst>
                  <a:ext uri="{0D108BD9-81ED-4DB2-BD59-A6C34878D82A}">
                    <a16:rowId xmlns:a16="http://schemas.microsoft.com/office/drawing/2014/main" val="4264429182"/>
                  </a:ext>
                </a:extLst>
              </a:tr>
              <a:tr h="215087">
                <a:tc rowSpan="3">
                  <a:txBody>
                    <a:bodyPr/>
                    <a:lstStyle/>
                    <a:p>
                      <a:r>
                        <a:rPr lang="da-DK" sz="600" strike="noStrike" baseline="0" dirty="0">
                          <a:solidFill>
                            <a:schemeClr val="tx1"/>
                          </a:solidFill>
                        </a:rPr>
                        <a:t>International </a:t>
                      </a:r>
                      <a:r>
                        <a:rPr lang="da-DK" sz="600" strike="noStrike" baseline="0" dirty="0" err="1">
                          <a:solidFill>
                            <a:schemeClr val="tx1"/>
                          </a:solidFill>
                        </a:rPr>
                        <a:t>actors</a:t>
                      </a:r>
                      <a:endParaRPr lang="da-DK" sz="600" strike="noStrike" baseline="0" dirty="0">
                        <a:solidFill>
                          <a:schemeClr val="tx1"/>
                        </a:solidFill>
                      </a:endParaRPr>
                    </a:p>
                  </a:txBody>
                  <a:tcPr marL="72000" marR="72000" marT="0" marB="0">
                    <a:solidFill>
                      <a:schemeClr val="bg1">
                        <a:lumMod val="85000"/>
                      </a:schemeClr>
                    </a:solidFill>
                  </a:tcPr>
                </a:tc>
                <a:tc>
                  <a:txBody>
                    <a:bodyPr/>
                    <a:lstStyle/>
                    <a:p>
                      <a:r>
                        <a:rPr lang="en-US" sz="600" dirty="0">
                          <a:solidFill>
                            <a:schemeClr val="tx1"/>
                          </a:solidFill>
                        </a:rPr>
                        <a:t>European</a:t>
                      </a:r>
                      <a:r>
                        <a:rPr lang="en-US" sz="600" baseline="0" dirty="0">
                          <a:solidFill>
                            <a:schemeClr val="tx1"/>
                          </a:solidFill>
                        </a:rPr>
                        <a:t> Commission </a:t>
                      </a:r>
                      <a:r>
                        <a:rPr lang="en-US" sz="600" strike="noStrike" baseline="0" dirty="0">
                          <a:solidFill>
                            <a:schemeClr val="tx1"/>
                          </a:solidFill>
                        </a:rPr>
                        <a:t>and Parliament</a:t>
                      </a:r>
                      <a:endParaRPr lang="da-DK" sz="600" strike="noStrike" baseline="0" dirty="0">
                        <a:solidFill>
                          <a:schemeClr val="tx1"/>
                        </a:solidFill>
                      </a:endParaRPr>
                    </a:p>
                  </a:txBody>
                  <a:tcPr marL="72000" marR="72000" marT="0" marB="0">
                    <a:noFill/>
                  </a:tcPr>
                </a:tc>
                <a:tc>
                  <a:txBody>
                    <a:bodyPr/>
                    <a:lstStyle/>
                    <a:p>
                      <a:r>
                        <a:rPr lang="da-DK" sz="600" dirty="0">
                          <a:solidFill>
                            <a:schemeClr val="tx1"/>
                          </a:solidFill>
                        </a:rPr>
                        <a:t>DG Environment,</a:t>
                      </a:r>
                      <a:r>
                        <a:rPr lang="da-DK" sz="600" baseline="0" dirty="0">
                          <a:solidFill>
                            <a:schemeClr val="tx1"/>
                          </a:solidFill>
                        </a:rPr>
                        <a:t> </a:t>
                      </a:r>
                      <a:r>
                        <a:rPr lang="da-DK" sz="600" dirty="0">
                          <a:solidFill>
                            <a:schemeClr val="tx1"/>
                          </a:solidFill>
                        </a:rPr>
                        <a:t>DG Research</a:t>
                      </a:r>
                      <a:r>
                        <a:rPr lang="da-DK" sz="600" baseline="0" dirty="0">
                          <a:solidFill>
                            <a:schemeClr val="tx1"/>
                          </a:solidFill>
                        </a:rPr>
                        <a:t> and Innovation, DG </a:t>
                      </a:r>
                      <a:r>
                        <a:rPr lang="da-DK" sz="600" baseline="0" dirty="0" err="1">
                          <a:solidFill>
                            <a:schemeClr val="tx1"/>
                          </a:solidFill>
                        </a:rPr>
                        <a:t>Informatics</a:t>
                      </a:r>
                      <a:r>
                        <a:rPr lang="da-DK" sz="600" baseline="0" dirty="0">
                          <a:solidFill>
                            <a:schemeClr val="tx1"/>
                          </a:solidFill>
                        </a:rPr>
                        <a:t>, DG JRC, …</a:t>
                      </a:r>
                      <a:endParaRPr lang="da-DK" sz="600" dirty="0">
                        <a:solidFill>
                          <a:schemeClr val="tx1"/>
                        </a:solidFill>
                      </a:endParaRPr>
                    </a:p>
                  </a:txBody>
                  <a:tcPr marL="72000" marR="72000" marT="0" marB="0">
                    <a:noFill/>
                  </a:tcPr>
                </a:tc>
                <a:tc>
                  <a:txBody>
                    <a:bodyPr/>
                    <a:lstStyle/>
                    <a:p>
                      <a:r>
                        <a:rPr lang="en-US" sz="600" dirty="0">
                          <a:solidFill>
                            <a:schemeClr val="tx1"/>
                          </a:solidFill>
                        </a:rPr>
                        <a:t>Regulator (Parliament is legislator),</a:t>
                      </a:r>
                      <a:r>
                        <a:rPr lang="en-US" sz="600" baseline="0" dirty="0">
                          <a:solidFill>
                            <a:schemeClr val="tx1"/>
                          </a:solidFill>
                        </a:rPr>
                        <a:t> also providing strategic push and knowledge regarding data governance and data space ecosystems. There are several directorates, which each play different roles </a:t>
                      </a:r>
                      <a:r>
                        <a:rPr lang="en-US" sz="600" baseline="0" dirty="0" err="1">
                          <a:solidFill>
                            <a:schemeClr val="tx1"/>
                          </a:solidFill>
                        </a:rPr>
                        <a:t>wrt</a:t>
                      </a:r>
                      <a:r>
                        <a:rPr lang="en-US" sz="600" baseline="0" dirty="0">
                          <a:solidFill>
                            <a:schemeClr val="tx1"/>
                          </a:solidFill>
                        </a:rPr>
                        <a:t>. policy related to digital transformation, as well as the Joint Research Centre and the European Environment Agency (EEA, located in Copenhagen). The Parliament and the EC are not always perfectly aligned. DTU’s conceptual note, Part 1 (Jan 2023) provides some insight.</a:t>
                      </a:r>
                      <a:endParaRPr lang="da-DK" sz="600" dirty="0">
                        <a:solidFill>
                          <a:schemeClr val="tx1"/>
                        </a:solidFill>
                      </a:endParaRPr>
                    </a:p>
                  </a:txBody>
                  <a:tcPr marL="72000" marR="72000" marT="0" marB="0">
                    <a:noFill/>
                  </a:tcPr>
                </a:tc>
                <a:extLst>
                  <a:ext uri="{0D108BD9-81ED-4DB2-BD59-A6C34878D82A}">
                    <a16:rowId xmlns:a16="http://schemas.microsoft.com/office/drawing/2014/main" val="758355246"/>
                  </a:ext>
                </a:extLst>
              </a:tr>
              <a:tr h="215560">
                <a:tc vMerge="1">
                  <a:txBody>
                    <a:bodyPr/>
                    <a:lstStyle/>
                    <a:p>
                      <a:endParaRPr lang="da-DK" sz="800" dirty="0">
                        <a:solidFill>
                          <a:schemeClr val="tx1"/>
                        </a:solidFill>
                      </a:endParaRPr>
                    </a:p>
                  </a:txBody>
                  <a:tcPr marL="72000" marR="72000" marT="0" marB="0">
                    <a:solidFill>
                      <a:schemeClr val="bg1"/>
                    </a:solidFill>
                  </a:tcPr>
                </a:tc>
                <a:tc>
                  <a:txBody>
                    <a:bodyPr/>
                    <a:lstStyle/>
                    <a:p>
                      <a:r>
                        <a:rPr lang="da-DK" sz="600" dirty="0">
                          <a:solidFill>
                            <a:schemeClr val="tx1"/>
                          </a:solidFill>
                        </a:rPr>
                        <a:t>International (Non-EU) Tech Companies</a:t>
                      </a:r>
                    </a:p>
                  </a:txBody>
                  <a:tcPr marL="72000" marR="72000" marT="0" marB="0">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600" strike="noStrike" dirty="0">
                          <a:solidFill>
                            <a:schemeClr val="tx1"/>
                          </a:solidFill>
                        </a:rPr>
                        <a:t>Microsoft,</a:t>
                      </a:r>
                      <a:r>
                        <a:rPr lang="da-DK" sz="600" strike="noStrike" baseline="0" dirty="0">
                          <a:solidFill>
                            <a:schemeClr val="tx1"/>
                          </a:solidFill>
                        </a:rPr>
                        <a:t> Google, Amazon, </a:t>
                      </a:r>
                      <a:r>
                        <a:rPr lang="da-DK" sz="600" strike="noStrike" baseline="0" dirty="0" err="1">
                          <a:solidFill>
                            <a:schemeClr val="tx1"/>
                          </a:solidFill>
                        </a:rPr>
                        <a:t>Alibaba</a:t>
                      </a:r>
                      <a:r>
                        <a:rPr lang="da-DK" sz="600" strike="noStrike" baseline="0" dirty="0">
                          <a:solidFill>
                            <a:schemeClr val="tx1"/>
                          </a:solidFill>
                        </a:rPr>
                        <a:t>, …</a:t>
                      </a:r>
                      <a:endParaRPr lang="da-DK" sz="600" strike="noStrike" dirty="0">
                        <a:solidFill>
                          <a:schemeClr val="tx1"/>
                        </a:solidFill>
                      </a:endParaRPr>
                    </a:p>
                  </a:txBody>
                  <a:tcPr marL="72000" marR="72000" marT="0" marB="0">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dirty="0">
                          <a:solidFill>
                            <a:schemeClr val="tx1"/>
                          </a:solidFill>
                        </a:rPr>
                        <a:t>Contribute</a:t>
                      </a:r>
                      <a:r>
                        <a:rPr lang="en-US" sz="600" baseline="0" dirty="0">
                          <a:solidFill>
                            <a:schemeClr val="tx1"/>
                          </a:solidFill>
                        </a:rPr>
                        <a:t> with hardware, software and design principles for the development of data spaces. Some are big international players providing de-facto technology standards and platforms. </a:t>
                      </a:r>
                      <a:r>
                        <a:rPr lang="en-US" sz="600" dirty="0"/>
                        <a:t>The EC wants to reduce the influence and market share of these actors.</a:t>
                      </a:r>
                      <a:r>
                        <a:rPr lang="en-US" sz="600" baseline="0" dirty="0">
                          <a:solidFill>
                            <a:schemeClr val="tx1"/>
                          </a:solidFill>
                        </a:rPr>
                        <a:t> </a:t>
                      </a:r>
                      <a:endParaRPr lang="da-DK" sz="600" dirty="0">
                        <a:solidFill>
                          <a:schemeClr val="tx1"/>
                        </a:solidFill>
                      </a:endParaRPr>
                    </a:p>
                  </a:txBody>
                  <a:tcPr marL="72000" marR="72000" marT="0" marB="0">
                    <a:noFill/>
                  </a:tcPr>
                </a:tc>
                <a:extLst>
                  <a:ext uri="{0D108BD9-81ED-4DB2-BD59-A6C34878D82A}">
                    <a16:rowId xmlns:a16="http://schemas.microsoft.com/office/drawing/2014/main" val="693204181"/>
                  </a:ext>
                </a:extLst>
              </a:tr>
              <a:tr h="218452">
                <a:tc vMerge="1">
                  <a:txBody>
                    <a:bodyPr/>
                    <a:lstStyle/>
                    <a:p>
                      <a:endParaRPr lang="en-US" sz="800" dirty="0">
                        <a:solidFill>
                          <a:schemeClr val="tx1"/>
                        </a:solidFill>
                      </a:endParaRPr>
                    </a:p>
                  </a:txBody>
                  <a:tcPr marL="72000" marR="72000" marT="0" marB="0">
                    <a:solidFill>
                      <a:schemeClr val="bg1"/>
                    </a:solidFill>
                  </a:tcPr>
                </a:tc>
                <a:tc>
                  <a:txBody>
                    <a:bodyPr/>
                    <a:lstStyle/>
                    <a:p>
                      <a:r>
                        <a:rPr lang="da-DK" sz="600" dirty="0">
                          <a:solidFill>
                            <a:schemeClr val="tx1"/>
                          </a:solidFill>
                        </a:rPr>
                        <a:t>International Data Space</a:t>
                      </a:r>
                      <a:r>
                        <a:rPr lang="da-DK" sz="600" baseline="0" dirty="0">
                          <a:solidFill>
                            <a:schemeClr val="tx1"/>
                          </a:solidFill>
                        </a:rPr>
                        <a:t> organisations</a:t>
                      </a:r>
                      <a:endParaRPr lang="en-US" sz="600" dirty="0">
                        <a:solidFill>
                          <a:schemeClr val="tx1"/>
                        </a:solidFill>
                      </a:endParaRPr>
                    </a:p>
                  </a:txBody>
                  <a:tcPr marL="72000" marR="72000" marT="0" marB="0">
                    <a:noFill/>
                  </a:tcPr>
                </a:tc>
                <a:tc>
                  <a:txBody>
                    <a:bodyPr/>
                    <a:lstStyle/>
                    <a:p>
                      <a:r>
                        <a:rPr lang="da-DK" sz="600" dirty="0">
                          <a:solidFill>
                            <a:schemeClr val="tx1"/>
                          </a:solidFill>
                        </a:rPr>
                        <a:t>International Data Space Association, GAIA-X, </a:t>
                      </a:r>
                      <a:r>
                        <a:rPr lang="da-DK" sz="600" dirty="0" err="1">
                          <a:solidFill>
                            <a:schemeClr val="tx1"/>
                          </a:solidFill>
                        </a:rPr>
                        <a:t>Frauenhofer</a:t>
                      </a:r>
                      <a:r>
                        <a:rPr lang="da-DK" sz="600" dirty="0">
                          <a:solidFill>
                            <a:schemeClr val="tx1"/>
                          </a:solidFill>
                        </a:rPr>
                        <a:t> </a:t>
                      </a:r>
                      <a:r>
                        <a:rPr lang="da-DK" sz="600" dirty="0" err="1">
                          <a:solidFill>
                            <a:schemeClr val="tx1"/>
                          </a:solidFill>
                        </a:rPr>
                        <a:t>Institute</a:t>
                      </a:r>
                      <a:r>
                        <a:rPr lang="da-DK" sz="600" dirty="0">
                          <a:solidFill>
                            <a:schemeClr val="tx1"/>
                          </a:solidFill>
                        </a:rPr>
                        <a:t>. Nordic</a:t>
                      </a:r>
                      <a:r>
                        <a:rPr lang="da-DK" sz="600" baseline="0" dirty="0">
                          <a:solidFill>
                            <a:schemeClr val="tx1"/>
                          </a:solidFill>
                        </a:rPr>
                        <a:t> </a:t>
                      </a:r>
                      <a:r>
                        <a:rPr lang="da-DK" sz="600" baseline="0" dirty="0" err="1">
                          <a:solidFill>
                            <a:schemeClr val="tx1"/>
                          </a:solidFill>
                        </a:rPr>
                        <a:t>Institute</a:t>
                      </a:r>
                      <a:r>
                        <a:rPr lang="da-DK" sz="600" baseline="0" dirty="0">
                          <a:solidFill>
                            <a:schemeClr val="tx1"/>
                          </a:solidFill>
                        </a:rPr>
                        <a:t> for </a:t>
                      </a:r>
                      <a:r>
                        <a:rPr lang="da-DK" sz="600" baseline="0" dirty="0" err="1">
                          <a:solidFill>
                            <a:schemeClr val="tx1"/>
                          </a:solidFill>
                        </a:rPr>
                        <a:t>Interoperability</a:t>
                      </a:r>
                      <a:r>
                        <a:rPr lang="da-DK" sz="600" baseline="0" dirty="0">
                          <a:solidFill>
                            <a:schemeClr val="tx1"/>
                          </a:solidFill>
                        </a:rPr>
                        <a:t> Solutions (NIIS)</a:t>
                      </a:r>
                      <a:endParaRPr lang="da-DK" sz="600" dirty="0">
                        <a:solidFill>
                          <a:schemeClr val="tx1"/>
                        </a:solidFill>
                      </a:endParaRPr>
                    </a:p>
                  </a:txBody>
                  <a:tcPr marL="72000" marR="72000" marT="0" marB="0">
                    <a:noFill/>
                  </a:tcPr>
                </a:tc>
                <a:tc>
                  <a:txBody>
                    <a:bodyPr/>
                    <a:lstStyle/>
                    <a:p>
                      <a:r>
                        <a:rPr lang="en-US" sz="600" dirty="0">
                          <a:solidFill>
                            <a:schemeClr val="tx1"/>
                          </a:solidFill>
                        </a:rPr>
                        <a:t>Several Data Space initiatives are ongoing at EU level, involving a large network of actors. SMV’s are supposed to have special condition’s. The water sector does not (yet) appear as a separate entity, and Danish participation is not (yet) </a:t>
                      </a:r>
                      <a:r>
                        <a:rPr lang="en-US" sz="600" dirty="0" err="1">
                          <a:solidFill>
                            <a:schemeClr val="tx1"/>
                          </a:solidFill>
                        </a:rPr>
                        <a:t>formalised</a:t>
                      </a:r>
                      <a:r>
                        <a:rPr lang="en-US" sz="600" dirty="0">
                          <a:solidFill>
                            <a:schemeClr val="tx1"/>
                          </a:solidFill>
                        </a:rPr>
                        <a:t>. Alexandra </a:t>
                      </a:r>
                      <a:r>
                        <a:rPr lang="en-US" sz="600" dirty="0" err="1">
                          <a:solidFill>
                            <a:schemeClr val="tx1"/>
                          </a:solidFill>
                        </a:rPr>
                        <a:t>Insituttet’s</a:t>
                      </a:r>
                      <a:r>
                        <a:rPr lang="en-US" sz="600" dirty="0">
                          <a:solidFill>
                            <a:schemeClr val="tx1"/>
                          </a:solidFill>
                        </a:rPr>
                        <a:t> report om Data Spaces (Jan 2023) provides some insight.</a:t>
                      </a:r>
                    </a:p>
                  </a:txBody>
                  <a:tcPr marL="72000" marR="72000" marT="0" marB="0">
                    <a:noFill/>
                  </a:tcPr>
                </a:tc>
                <a:extLst>
                  <a:ext uri="{0D108BD9-81ED-4DB2-BD59-A6C34878D82A}">
                    <a16:rowId xmlns:a16="http://schemas.microsoft.com/office/drawing/2014/main" val="2654307445"/>
                  </a:ext>
                </a:extLst>
              </a:tr>
              <a:tr h="236806">
                <a:tc rowSpan="3">
                  <a:txBody>
                    <a:bodyPr/>
                    <a:lstStyle/>
                    <a:p>
                      <a:r>
                        <a:rPr lang="da-DK" sz="600" dirty="0" err="1">
                          <a:solidFill>
                            <a:schemeClr val="tx1"/>
                          </a:solidFill>
                        </a:rPr>
                        <a:t>Knoweldge</a:t>
                      </a:r>
                      <a:r>
                        <a:rPr lang="da-DK" sz="600" dirty="0">
                          <a:solidFill>
                            <a:schemeClr val="tx1"/>
                          </a:solidFill>
                        </a:rPr>
                        <a:t> institutions</a:t>
                      </a:r>
                      <a:endParaRPr lang="en-US" sz="600" dirty="0">
                        <a:solidFill>
                          <a:schemeClr val="tx1"/>
                        </a:solidFill>
                      </a:endParaRPr>
                    </a:p>
                  </a:txBody>
                  <a:tcPr marL="72000" marR="72000" marT="0" marB="0">
                    <a:solidFill>
                      <a:schemeClr val="bg1">
                        <a:lumMod val="85000"/>
                      </a:schemeClr>
                    </a:solidFill>
                  </a:tcPr>
                </a:tc>
                <a:tc>
                  <a:txBody>
                    <a:bodyPr/>
                    <a:lstStyle/>
                    <a:p>
                      <a:r>
                        <a:rPr lang="en-US" sz="600" dirty="0">
                          <a:solidFill>
                            <a:schemeClr val="tx1"/>
                          </a:solidFill>
                        </a:rPr>
                        <a:t>Universities and other </a:t>
                      </a:r>
                      <a:r>
                        <a:rPr lang="en-US" sz="600" dirty="0" err="1">
                          <a:solidFill>
                            <a:schemeClr val="tx1"/>
                          </a:solidFill>
                        </a:rPr>
                        <a:t>reserarech</a:t>
                      </a:r>
                      <a:r>
                        <a:rPr lang="en-US" sz="600" dirty="0">
                          <a:solidFill>
                            <a:schemeClr val="tx1"/>
                          </a:solidFill>
                        </a:rPr>
                        <a:t>/education institutes</a:t>
                      </a:r>
                    </a:p>
                  </a:txBody>
                  <a:tcPr marL="72000" marR="72000" marT="0" marB="0">
                    <a:noFill/>
                  </a:tcPr>
                </a:tc>
                <a:tc>
                  <a:txBody>
                    <a:bodyPr/>
                    <a:lstStyle/>
                    <a:p>
                      <a:r>
                        <a:rPr lang="da-DK" sz="600" dirty="0">
                          <a:solidFill>
                            <a:schemeClr val="tx1"/>
                          </a:solidFill>
                        </a:rPr>
                        <a:t>DTU, AU, AAU, VIA</a:t>
                      </a:r>
                    </a:p>
                  </a:txBody>
                  <a:tcPr marL="72000" marR="72000" marT="0" marB="0">
                    <a:noFill/>
                  </a:tcPr>
                </a:tc>
                <a:tc>
                  <a:txBody>
                    <a:bodyPr/>
                    <a:lstStyle/>
                    <a:p>
                      <a:r>
                        <a:rPr lang="en-US" sz="600" dirty="0">
                          <a:solidFill>
                            <a:schemeClr val="tx1"/>
                          </a:solidFill>
                        </a:rPr>
                        <a:t>C</a:t>
                      </a:r>
                      <a:r>
                        <a:rPr lang="en-US" sz="600" baseline="0" dirty="0">
                          <a:solidFill>
                            <a:schemeClr val="tx1"/>
                          </a:solidFill>
                        </a:rPr>
                        <a:t>ontribute with in depth knowledge on both technological and governance innovation. They can also act as facilitators of change and innovation across actor categories. Universities in particular have own innovation ecosystem and startup activities, and access to </a:t>
                      </a:r>
                      <a:r>
                        <a:rPr lang="en-US" sz="600" baseline="0" dirty="0" err="1">
                          <a:solidFill>
                            <a:schemeClr val="tx1"/>
                          </a:solidFill>
                        </a:rPr>
                        <a:t>mobilise</a:t>
                      </a:r>
                      <a:r>
                        <a:rPr lang="en-US" sz="600" baseline="0" dirty="0">
                          <a:solidFill>
                            <a:schemeClr val="tx1"/>
                          </a:solidFill>
                        </a:rPr>
                        <a:t> qualified workforce (students). </a:t>
                      </a:r>
                      <a:endParaRPr lang="da-DK" sz="600" dirty="0">
                        <a:solidFill>
                          <a:schemeClr val="tx1"/>
                        </a:solidFill>
                      </a:endParaRPr>
                    </a:p>
                  </a:txBody>
                  <a:tcPr marL="72000" marR="72000" marT="0" marB="0">
                    <a:noFill/>
                  </a:tcPr>
                </a:tc>
                <a:extLst>
                  <a:ext uri="{0D108BD9-81ED-4DB2-BD59-A6C34878D82A}">
                    <a16:rowId xmlns:a16="http://schemas.microsoft.com/office/drawing/2014/main" val="473552217"/>
                  </a:ext>
                </a:extLst>
              </a:tr>
              <a:tr h="215560">
                <a:tc vMerge="1">
                  <a:txBody>
                    <a:bodyPr/>
                    <a:lstStyle/>
                    <a:p>
                      <a:endParaRPr lang="en-US" sz="800" dirty="0">
                        <a:solidFill>
                          <a:schemeClr val="tx1"/>
                        </a:solidFill>
                      </a:endParaRPr>
                    </a:p>
                  </a:txBody>
                  <a:tcPr marL="72000" marR="72000" marT="0" marB="0">
                    <a:solidFill>
                      <a:schemeClr val="bg1"/>
                    </a:solidFill>
                  </a:tcPr>
                </a:tc>
                <a:tc>
                  <a:txBody>
                    <a:bodyPr/>
                    <a:lstStyle/>
                    <a:p>
                      <a:r>
                        <a:rPr lang="en-US" sz="600" dirty="0">
                          <a:solidFill>
                            <a:schemeClr val="tx1"/>
                          </a:solidFill>
                        </a:rPr>
                        <a:t>GTS (</a:t>
                      </a:r>
                      <a:r>
                        <a:rPr lang="da-DK" sz="600" dirty="0"/>
                        <a:t>Godkendte Teknologiske Serviceinstitutter)</a:t>
                      </a:r>
                      <a:endParaRPr lang="en-US" sz="600" dirty="0">
                        <a:solidFill>
                          <a:schemeClr val="tx1"/>
                        </a:solidFill>
                      </a:endParaRPr>
                    </a:p>
                  </a:txBody>
                  <a:tcPr marL="72000" marR="72000" marT="0" marB="0">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600" dirty="0">
                          <a:solidFill>
                            <a:schemeClr val="tx1"/>
                          </a:solidFill>
                        </a:rPr>
                        <a:t>Alexandra, DHI, TI, FORCE</a:t>
                      </a:r>
                      <a:endParaRPr lang="en-US" sz="600" dirty="0">
                        <a:solidFill>
                          <a:schemeClr val="tx1"/>
                        </a:solidFill>
                      </a:endParaRPr>
                    </a:p>
                  </a:txBody>
                  <a:tcPr marL="72000" marR="72000" marT="0" marB="0">
                    <a:noFill/>
                  </a:tcPr>
                </a:tc>
                <a:tc>
                  <a:txBody>
                    <a:bodyPr/>
                    <a:lstStyle/>
                    <a:p>
                      <a:r>
                        <a:rPr lang="en-US" sz="600" dirty="0">
                          <a:solidFill>
                            <a:schemeClr val="tx1"/>
                          </a:solidFill>
                        </a:rPr>
                        <a:t>C</a:t>
                      </a:r>
                      <a:r>
                        <a:rPr lang="en-US" sz="600" baseline="0" dirty="0">
                          <a:solidFill>
                            <a:schemeClr val="tx1"/>
                          </a:solidFill>
                        </a:rPr>
                        <a:t>ontribute with in-depth knowledge on both technological and governance innovation. They can also act as facilitators of change and innovation across actor categories. GTS often also have a business-support or/and commercial profile and therefore have market interests in the digital transition. </a:t>
                      </a:r>
                      <a:endParaRPr lang="da-DK" sz="600" dirty="0">
                        <a:solidFill>
                          <a:schemeClr val="tx1"/>
                        </a:solidFill>
                      </a:endParaRPr>
                    </a:p>
                  </a:txBody>
                  <a:tcPr marL="72000" marR="72000" marT="0" marB="0">
                    <a:noFill/>
                  </a:tcPr>
                </a:tc>
                <a:extLst>
                  <a:ext uri="{0D108BD9-81ED-4DB2-BD59-A6C34878D82A}">
                    <a16:rowId xmlns:a16="http://schemas.microsoft.com/office/drawing/2014/main" val="374525218"/>
                  </a:ext>
                </a:extLst>
              </a:tr>
              <a:tr h="215560">
                <a:tc vMerge="1">
                  <a:txBody>
                    <a:bodyPr/>
                    <a:lstStyle/>
                    <a:p>
                      <a:endParaRPr lang="da-DK" sz="800" dirty="0">
                        <a:solidFill>
                          <a:schemeClr val="tx1"/>
                        </a:solidFill>
                      </a:endParaRPr>
                    </a:p>
                  </a:txBody>
                  <a:tcPr marL="72000" marR="72000" marT="0" marB="0">
                    <a:solidFill>
                      <a:schemeClr val="bg1"/>
                    </a:solidFill>
                  </a:tcPr>
                </a:tc>
                <a:tc>
                  <a:txBody>
                    <a:bodyPr/>
                    <a:lstStyle/>
                    <a:p>
                      <a:r>
                        <a:rPr lang="da-DK" sz="600" dirty="0" err="1">
                          <a:solidFill>
                            <a:schemeClr val="tx1"/>
                          </a:solidFill>
                        </a:rPr>
                        <a:t>Governmental</a:t>
                      </a:r>
                      <a:r>
                        <a:rPr lang="da-DK" sz="600" dirty="0">
                          <a:solidFill>
                            <a:schemeClr val="tx1"/>
                          </a:solidFill>
                        </a:rPr>
                        <a:t> research institutions</a:t>
                      </a:r>
                    </a:p>
                  </a:txBody>
                  <a:tcPr marL="72000" marR="72000" marT="0" marB="0">
                    <a:noFill/>
                  </a:tcPr>
                </a:tc>
                <a:tc>
                  <a:txBody>
                    <a:bodyPr/>
                    <a:lstStyle/>
                    <a:p>
                      <a:r>
                        <a:rPr lang="da-DK" sz="600" dirty="0">
                          <a:solidFill>
                            <a:schemeClr val="tx1"/>
                          </a:solidFill>
                        </a:rPr>
                        <a:t>DMI, GEUS</a:t>
                      </a:r>
                    </a:p>
                  </a:txBody>
                  <a:tcPr marL="72000" marR="72000" marT="0" marB="0">
                    <a:noFill/>
                  </a:tcPr>
                </a:tc>
                <a:tc>
                  <a:txBody>
                    <a:bodyPr/>
                    <a:lstStyle/>
                    <a:p>
                      <a:r>
                        <a:rPr lang="da-DK" sz="600" dirty="0" err="1">
                          <a:solidFill>
                            <a:schemeClr val="tx1"/>
                          </a:solidFill>
                        </a:rPr>
                        <a:t>Both</a:t>
                      </a:r>
                      <a:r>
                        <a:rPr lang="da-DK" sz="600" baseline="0" dirty="0">
                          <a:solidFill>
                            <a:schemeClr val="tx1"/>
                          </a:solidFill>
                        </a:rPr>
                        <a:t> </a:t>
                      </a:r>
                      <a:r>
                        <a:rPr lang="da-DK" sz="600" baseline="0" dirty="0" err="1">
                          <a:solidFill>
                            <a:schemeClr val="tx1"/>
                          </a:solidFill>
                        </a:rPr>
                        <a:t>are</a:t>
                      </a:r>
                      <a:r>
                        <a:rPr lang="da-DK" sz="600" baseline="0" dirty="0">
                          <a:solidFill>
                            <a:schemeClr val="tx1"/>
                          </a:solidFill>
                        </a:rPr>
                        <a:t> public </a:t>
                      </a:r>
                      <a:r>
                        <a:rPr lang="da-DK" sz="600" baseline="0" dirty="0" err="1">
                          <a:solidFill>
                            <a:schemeClr val="tx1"/>
                          </a:solidFill>
                        </a:rPr>
                        <a:t>bodies</a:t>
                      </a:r>
                      <a:r>
                        <a:rPr lang="da-DK" sz="600" baseline="0" dirty="0">
                          <a:solidFill>
                            <a:schemeClr val="tx1"/>
                          </a:solidFill>
                        </a:rPr>
                        <a:t> with </a:t>
                      </a:r>
                      <a:r>
                        <a:rPr lang="da-DK" sz="600" baseline="0" dirty="0" err="1">
                          <a:solidFill>
                            <a:schemeClr val="tx1"/>
                          </a:solidFill>
                        </a:rPr>
                        <a:t>roles</a:t>
                      </a:r>
                      <a:r>
                        <a:rPr lang="da-DK" sz="600" baseline="0" dirty="0">
                          <a:solidFill>
                            <a:schemeClr val="tx1"/>
                          </a:solidFill>
                        </a:rPr>
                        <a:t> </a:t>
                      </a:r>
                      <a:r>
                        <a:rPr lang="da-DK" sz="600" baseline="0" dirty="0" err="1">
                          <a:solidFill>
                            <a:schemeClr val="tx1"/>
                          </a:solidFill>
                        </a:rPr>
                        <a:t>defined</a:t>
                      </a:r>
                      <a:r>
                        <a:rPr lang="da-DK" sz="600" baseline="0" dirty="0">
                          <a:solidFill>
                            <a:schemeClr val="tx1"/>
                          </a:solidFill>
                        </a:rPr>
                        <a:t> by </a:t>
                      </a:r>
                      <a:r>
                        <a:rPr lang="da-DK" sz="600" baseline="0" dirty="0" err="1">
                          <a:solidFill>
                            <a:schemeClr val="tx1"/>
                          </a:solidFill>
                        </a:rPr>
                        <a:t>law</a:t>
                      </a:r>
                      <a:r>
                        <a:rPr lang="da-DK" sz="600" baseline="0" dirty="0">
                          <a:solidFill>
                            <a:schemeClr val="tx1"/>
                          </a:solidFill>
                        </a:rPr>
                        <a:t>. </a:t>
                      </a:r>
                      <a:r>
                        <a:rPr lang="da-DK" sz="600" dirty="0">
                          <a:solidFill>
                            <a:schemeClr val="tx1"/>
                          </a:solidFill>
                        </a:rPr>
                        <a:t>Have a mix of </a:t>
                      </a:r>
                      <a:r>
                        <a:rPr lang="da-DK" sz="600" dirty="0" err="1">
                          <a:solidFill>
                            <a:schemeClr val="tx1"/>
                          </a:solidFill>
                        </a:rPr>
                        <a:t>different</a:t>
                      </a:r>
                      <a:r>
                        <a:rPr lang="da-DK" sz="600" dirty="0">
                          <a:solidFill>
                            <a:schemeClr val="tx1"/>
                          </a:solidFill>
                        </a:rPr>
                        <a:t> </a:t>
                      </a:r>
                      <a:r>
                        <a:rPr lang="da-DK" sz="600" dirty="0" err="1">
                          <a:solidFill>
                            <a:schemeClr val="tx1"/>
                          </a:solidFill>
                        </a:rPr>
                        <a:t>roles</a:t>
                      </a:r>
                      <a:r>
                        <a:rPr lang="da-DK" sz="600" dirty="0">
                          <a:solidFill>
                            <a:schemeClr val="tx1"/>
                          </a:solidFill>
                        </a:rPr>
                        <a:t>, with </a:t>
                      </a:r>
                      <a:r>
                        <a:rPr lang="da-DK" sz="600" dirty="0" err="1">
                          <a:solidFill>
                            <a:schemeClr val="tx1"/>
                          </a:solidFill>
                        </a:rPr>
                        <a:t>both</a:t>
                      </a:r>
                      <a:r>
                        <a:rPr lang="da-DK" sz="600" dirty="0">
                          <a:solidFill>
                            <a:schemeClr val="tx1"/>
                          </a:solidFill>
                        </a:rPr>
                        <a:t> </a:t>
                      </a:r>
                      <a:r>
                        <a:rPr lang="da-DK" sz="600" dirty="0" err="1">
                          <a:solidFill>
                            <a:schemeClr val="tx1"/>
                          </a:solidFill>
                        </a:rPr>
                        <a:t>similarities</a:t>
                      </a:r>
                      <a:r>
                        <a:rPr lang="da-DK" sz="600" dirty="0">
                          <a:solidFill>
                            <a:schemeClr val="tx1"/>
                          </a:solidFill>
                        </a:rPr>
                        <a:t> and differences. </a:t>
                      </a:r>
                      <a:r>
                        <a:rPr lang="da-DK" sz="600" dirty="0" err="1">
                          <a:solidFill>
                            <a:schemeClr val="tx1"/>
                          </a:solidFill>
                        </a:rPr>
                        <a:t>Roles</a:t>
                      </a:r>
                      <a:r>
                        <a:rPr lang="da-DK" sz="600" dirty="0">
                          <a:solidFill>
                            <a:schemeClr val="tx1"/>
                          </a:solidFill>
                        </a:rPr>
                        <a:t> </a:t>
                      </a:r>
                      <a:r>
                        <a:rPr lang="da-DK" sz="600" dirty="0" err="1">
                          <a:solidFill>
                            <a:schemeClr val="tx1"/>
                          </a:solidFill>
                        </a:rPr>
                        <a:t>including</a:t>
                      </a:r>
                      <a:r>
                        <a:rPr lang="da-DK" sz="600" dirty="0">
                          <a:solidFill>
                            <a:schemeClr val="tx1"/>
                          </a:solidFill>
                        </a:rPr>
                        <a:t> </a:t>
                      </a:r>
                      <a:r>
                        <a:rPr lang="da-DK" sz="600" dirty="0" err="1">
                          <a:solidFill>
                            <a:schemeClr val="tx1"/>
                          </a:solidFill>
                        </a:rPr>
                        <a:t>authority</a:t>
                      </a:r>
                      <a:r>
                        <a:rPr lang="da-DK" sz="600" dirty="0">
                          <a:solidFill>
                            <a:schemeClr val="tx1"/>
                          </a:solidFill>
                        </a:rPr>
                        <a:t>, research</a:t>
                      </a:r>
                      <a:r>
                        <a:rPr lang="da-DK" sz="600" baseline="0" dirty="0">
                          <a:solidFill>
                            <a:schemeClr val="tx1"/>
                          </a:solidFill>
                        </a:rPr>
                        <a:t>, guidance/</a:t>
                      </a:r>
                      <a:r>
                        <a:rPr lang="da-DK" sz="600" baseline="0" dirty="0" err="1">
                          <a:solidFill>
                            <a:schemeClr val="tx1"/>
                          </a:solidFill>
                        </a:rPr>
                        <a:t>consultancy</a:t>
                      </a:r>
                      <a:r>
                        <a:rPr lang="da-DK" sz="600" baseline="0" dirty="0">
                          <a:solidFill>
                            <a:schemeClr val="tx1"/>
                          </a:solidFill>
                        </a:rPr>
                        <a:t> to </a:t>
                      </a:r>
                      <a:r>
                        <a:rPr lang="da-DK" sz="600" baseline="0" dirty="0" err="1">
                          <a:solidFill>
                            <a:schemeClr val="tx1"/>
                          </a:solidFill>
                        </a:rPr>
                        <a:t>government</a:t>
                      </a:r>
                      <a:r>
                        <a:rPr lang="da-DK" sz="600" baseline="0" dirty="0">
                          <a:solidFill>
                            <a:schemeClr val="tx1"/>
                          </a:solidFill>
                        </a:rPr>
                        <a:t>, </a:t>
                      </a:r>
                      <a:r>
                        <a:rPr lang="da-DK" sz="600" baseline="0" dirty="0" err="1">
                          <a:solidFill>
                            <a:schemeClr val="tx1"/>
                          </a:solidFill>
                        </a:rPr>
                        <a:t>teaching</a:t>
                      </a:r>
                      <a:r>
                        <a:rPr lang="da-DK" sz="600" baseline="0" dirty="0">
                          <a:solidFill>
                            <a:schemeClr val="tx1"/>
                          </a:solidFill>
                        </a:rPr>
                        <a:t> (to </a:t>
                      </a:r>
                      <a:r>
                        <a:rPr lang="da-DK" sz="600" baseline="0" dirty="0" err="1">
                          <a:solidFill>
                            <a:schemeClr val="tx1"/>
                          </a:solidFill>
                        </a:rPr>
                        <a:t>some</a:t>
                      </a:r>
                      <a:r>
                        <a:rPr lang="da-DK" sz="600" baseline="0" dirty="0">
                          <a:solidFill>
                            <a:schemeClr val="tx1"/>
                          </a:solidFill>
                        </a:rPr>
                        <a:t> </a:t>
                      </a:r>
                      <a:r>
                        <a:rPr lang="da-DK" sz="600" baseline="0" dirty="0" err="1">
                          <a:solidFill>
                            <a:schemeClr val="tx1"/>
                          </a:solidFill>
                        </a:rPr>
                        <a:t>extent</a:t>
                      </a:r>
                      <a:r>
                        <a:rPr lang="da-DK" sz="600" baseline="0" dirty="0">
                          <a:solidFill>
                            <a:schemeClr val="tx1"/>
                          </a:solidFill>
                        </a:rPr>
                        <a:t>), operators of </a:t>
                      </a:r>
                      <a:r>
                        <a:rPr lang="da-DK" sz="600" baseline="0" dirty="0" err="1">
                          <a:solidFill>
                            <a:schemeClr val="tx1"/>
                          </a:solidFill>
                        </a:rPr>
                        <a:t>monitoring</a:t>
                      </a:r>
                      <a:r>
                        <a:rPr lang="da-DK" sz="600" baseline="0" dirty="0">
                          <a:solidFill>
                            <a:schemeClr val="tx1"/>
                          </a:solidFill>
                        </a:rPr>
                        <a:t> and </a:t>
                      </a:r>
                      <a:r>
                        <a:rPr lang="da-DK" sz="600" baseline="0" dirty="0" err="1">
                          <a:solidFill>
                            <a:schemeClr val="tx1"/>
                          </a:solidFill>
                        </a:rPr>
                        <a:t>modelling</a:t>
                      </a:r>
                      <a:r>
                        <a:rPr lang="da-DK" sz="600" baseline="0" dirty="0">
                          <a:solidFill>
                            <a:schemeClr val="tx1"/>
                          </a:solidFill>
                        </a:rPr>
                        <a:t> systems, and </a:t>
                      </a:r>
                      <a:r>
                        <a:rPr lang="da-DK" sz="600" baseline="0" dirty="0" err="1">
                          <a:solidFill>
                            <a:schemeClr val="tx1"/>
                          </a:solidFill>
                        </a:rPr>
                        <a:t>providers</a:t>
                      </a:r>
                      <a:r>
                        <a:rPr lang="da-DK" sz="600" baseline="0" dirty="0">
                          <a:solidFill>
                            <a:schemeClr val="tx1"/>
                          </a:solidFill>
                        </a:rPr>
                        <a:t> of open data to the </a:t>
                      </a:r>
                      <a:r>
                        <a:rPr lang="da-DK" sz="600" baseline="0" dirty="0" err="1">
                          <a:solidFill>
                            <a:schemeClr val="tx1"/>
                          </a:solidFill>
                        </a:rPr>
                        <a:t>benefit</a:t>
                      </a:r>
                      <a:r>
                        <a:rPr lang="da-DK" sz="600" baseline="0" dirty="0">
                          <a:solidFill>
                            <a:schemeClr val="tx1"/>
                          </a:solidFill>
                        </a:rPr>
                        <a:t> of the general public </a:t>
                      </a:r>
                      <a:r>
                        <a:rPr lang="da-DK" sz="600" baseline="0" dirty="0" err="1">
                          <a:solidFill>
                            <a:schemeClr val="tx1"/>
                          </a:solidFill>
                        </a:rPr>
                        <a:t>including</a:t>
                      </a:r>
                      <a:r>
                        <a:rPr lang="da-DK" sz="600" baseline="0" dirty="0">
                          <a:solidFill>
                            <a:schemeClr val="tx1"/>
                          </a:solidFill>
                        </a:rPr>
                        <a:t> </a:t>
                      </a:r>
                      <a:r>
                        <a:rPr lang="da-DK" sz="600" baseline="0" dirty="0" err="1">
                          <a:solidFill>
                            <a:schemeClr val="tx1"/>
                          </a:solidFill>
                        </a:rPr>
                        <a:t>SMEs</a:t>
                      </a:r>
                      <a:r>
                        <a:rPr lang="da-DK" sz="600" baseline="0" dirty="0">
                          <a:solidFill>
                            <a:schemeClr val="tx1"/>
                          </a:solidFill>
                        </a:rPr>
                        <a:t>.</a:t>
                      </a:r>
                      <a:endParaRPr lang="da-DK" sz="600" dirty="0">
                        <a:solidFill>
                          <a:schemeClr val="tx1"/>
                        </a:solidFill>
                      </a:endParaRPr>
                    </a:p>
                  </a:txBody>
                  <a:tcPr marL="72000" marR="72000" marT="0" marB="0">
                    <a:noFill/>
                  </a:tcPr>
                </a:tc>
                <a:extLst>
                  <a:ext uri="{0D108BD9-81ED-4DB2-BD59-A6C34878D82A}">
                    <a16:rowId xmlns:a16="http://schemas.microsoft.com/office/drawing/2014/main" val="2860007926"/>
                  </a:ext>
                </a:extLst>
              </a:tr>
              <a:tr h="256045">
                <a:tc rowSpan="6">
                  <a:txBody>
                    <a:bodyPr/>
                    <a:lstStyle/>
                    <a:p>
                      <a:r>
                        <a:rPr lang="da-DK" sz="600" dirty="0">
                          <a:solidFill>
                            <a:schemeClr val="tx1"/>
                          </a:solidFill>
                        </a:rPr>
                        <a:t>Private </a:t>
                      </a:r>
                      <a:r>
                        <a:rPr lang="da-DK" sz="600" dirty="0" err="1">
                          <a:solidFill>
                            <a:schemeClr val="tx1"/>
                          </a:solidFill>
                        </a:rPr>
                        <a:t>companies</a:t>
                      </a:r>
                      <a:endParaRPr lang="da-DK" sz="600" dirty="0">
                        <a:solidFill>
                          <a:schemeClr val="tx1"/>
                        </a:solidFill>
                      </a:endParaRPr>
                    </a:p>
                  </a:txBody>
                  <a:tcPr marL="72000" marR="72000" marT="0" marB="0">
                    <a:solidFill>
                      <a:schemeClr val="bg1">
                        <a:lumMod val="85000"/>
                      </a:schemeClr>
                    </a:solidFill>
                  </a:tcPr>
                </a:tc>
                <a:tc>
                  <a:txBody>
                    <a:bodyPr/>
                    <a:lstStyle/>
                    <a:p>
                      <a:r>
                        <a:rPr lang="en-US" sz="600" dirty="0">
                          <a:solidFill>
                            <a:schemeClr val="tx1"/>
                          </a:solidFill>
                        </a:rPr>
                        <a:t>Water Technology</a:t>
                      </a:r>
                      <a:r>
                        <a:rPr lang="en-US" sz="600" baseline="0" dirty="0">
                          <a:solidFill>
                            <a:schemeClr val="tx1"/>
                          </a:solidFill>
                        </a:rPr>
                        <a:t> Companies (Large)</a:t>
                      </a:r>
                      <a:endParaRPr lang="da-DK" sz="600" dirty="0">
                        <a:solidFill>
                          <a:schemeClr val="tx1"/>
                        </a:solidFill>
                      </a:endParaRPr>
                    </a:p>
                  </a:txBody>
                  <a:tcPr marL="72000" marR="72000" marT="0" marB="0">
                    <a:noFill/>
                  </a:tcPr>
                </a:tc>
                <a:tc>
                  <a:txBody>
                    <a:bodyPr/>
                    <a:lstStyle/>
                    <a:p>
                      <a:r>
                        <a:rPr lang="da-DK" sz="600" dirty="0">
                          <a:solidFill>
                            <a:schemeClr val="tx1"/>
                          </a:solidFill>
                        </a:rPr>
                        <a:t>Grundfos, Kamstrup,</a:t>
                      </a:r>
                      <a:r>
                        <a:rPr lang="da-DK" sz="600" baseline="0" dirty="0">
                          <a:solidFill>
                            <a:schemeClr val="tx1"/>
                          </a:solidFill>
                        </a:rPr>
                        <a:t> AVK, Danfoss, …</a:t>
                      </a:r>
                      <a:endParaRPr lang="da-DK" sz="600" dirty="0">
                        <a:solidFill>
                          <a:schemeClr val="tx1"/>
                        </a:solidFill>
                      </a:endParaRPr>
                    </a:p>
                  </a:txBody>
                  <a:tcPr marL="72000" marR="72000" marT="0" marB="0">
                    <a:noFill/>
                  </a:tcPr>
                </a:tc>
                <a:tc>
                  <a:txBody>
                    <a:bodyPr/>
                    <a:lstStyle/>
                    <a:p>
                      <a:r>
                        <a:rPr lang="en-US" sz="600" dirty="0">
                          <a:solidFill>
                            <a:schemeClr val="tx1"/>
                          </a:solidFill>
                        </a:rPr>
                        <a:t>Founding</a:t>
                      </a:r>
                      <a:r>
                        <a:rPr lang="en-US" sz="600" baseline="0" dirty="0">
                          <a:solidFill>
                            <a:schemeClr val="tx1"/>
                          </a:solidFill>
                        </a:rPr>
                        <a:t> members of WVDK. Interested in increased Danish export of Danish water technology (including digital). Have own large innovation activities, and increasingly own digital platforms. </a:t>
                      </a:r>
                      <a:r>
                        <a:rPr lang="en-US" sz="600" baseline="0" dirty="0">
                          <a:solidFill>
                            <a:srgbClr val="FF0000"/>
                          </a:solidFill>
                        </a:rPr>
                        <a:t>Not involved with </a:t>
                      </a:r>
                      <a:r>
                        <a:rPr lang="en-US" sz="600" baseline="0" dirty="0" err="1">
                          <a:solidFill>
                            <a:srgbClr val="FF0000"/>
                          </a:solidFill>
                        </a:rPr>
                        <a:t>Miljøportalen</a:t>
                      </a:r>
                      <a:r>
                        <a:rPr lang="en-US" sz="600" baseline="0" dirty="0">
                          <a:solidFill>
                            <a:srgbClr val="FF0000"/>
                          </a:solidFill>
                        </a:rPr>
                        <a:t>.</a:t>
                      </a:r>
                      <a:endParaRPr lang="da-DK" sz="600" dirty="0">
                        <a:solidFill>
                          <a:srgbClr val="FF0000"/>
                        </a:solidFill>
                      </a:endParaRPr>
                    </a:p>
                  </a:txBody>
                  <a:tcPr marL="72000" marR="72000" marT="0" marB="0">
                    <a:noFill/>
                  </a:tcPr>
                </a:tc>
                <a:extLst>
                  <a:ext uri="{0D108BD9-81ED-4DB2-BD59-A6C34878D82A}">
                    <a16:rowId xmlns:a16="http://schemas.microsoft.com/office/drawing/2014/main" val="2029553247"/>
                  </a:ext>
                </a:extLst>
              </a:tr>
              <a:tr h="0">
                <a:tc vMerge="1">
                  <a:txBody>
                    <a:bodyPr/>
                    <a:lstStyle/>
                    <a:p>
                      <a:endParaRPr lang="en-US"/>
                    </a:p>
                  </a:txBody>
                  <a:tcPr/>
                </a:tc>
                <a:tc>
                  <a:txBody>
                    <a:bodyPr/>
                    <a:lstStyle/>
                    <a:p>
                      <a:r>
                        <a:rPr lang="en-US" sz="600" dirty="0">
                          <a:solidFill>
                            <a:schemeClr val="tx1"/>
                          </a:solidFill>
                        </a:rPr>
                        <a:t>Tech companies (national)</a:t>
                      </a:r>
                      <a:endParaRPr lang="da-DK" sz="600" dirty="0">
                        <a:solidFill>
                          <a:schemeClr val="tx1"/>
                        </a:solidFill>
                      </a:endParaRPr>
                    </a:p>
                  </a:txBody>
                  <a:tcPr marL="72000" marR="72000" marT="0" marB="0">
                    <a:noFill/>
                  </a:tcPr>
                </a:tc>
                <a:tc>
                  <a:txBody>
                    <a:bodyPr/>
                    <a:lstStyle/>
                    <a:p>
                      <a:r>
                        <a:rPr lang="da-DK" sz="600" dirty="0" err="1">
                          <a:solidFill>
                            <a:schemeClr val="tx1"/>
                          </a:solidFill>
                        </a:rPr>
                        <a:t>Systematic</a:t>
                      </a:r>
                      <a:r>
                        <a:rPr lang="da-DK" sz="600" dirty="0">
                          <a:solidFill>
                            <a:schemeClr val="tx1"/>
                          </a:solidFill>
                        </a:rPr>
                        <a:t>, DHI</a:t>
                      </a:r>
                    </a:p>
                  </a:txBody>
                  <a:tcPr marL="72000" marR="72000" marT="0" marB="0">
                    <a:noFill/>
                  </a:tcPr>
                </a:tc>
                <a:tc>
                  <a:txBody>
                    <a:bodyPr/>
                    <a:lstStyle/>
                    <a:p>
                      <a:r>
                        <a:rPr lang="en-US" sz="600" dirty="0">
                          <a:solidFill>
                            <a:schemeClr val="tx1"/>
                          </a:solidFill>
                        </a:rPr>
                        <a:t>Contribute</a:t>
                      </a:r>
                      <a:r>
                        <a:rPr lang="en-US" sz="600" baseline="0" dirty="0">
                          <a:solidFill>
                            <a:schemeClr val="tx1"/>
                          </a:solidFill>
                        </a:rPr>
                        <a:t> with software platforms and design principles for the development of data spaces. To some extent international players providing de-facto technology standards and software systems. </a:t>
                      </a:r>
                      <a:r>
                        <a:rPr lang="en-US" sz="600" dirty="0"/>
                        <a:t>The EC wants to increase the influence and market share of these actors.</a:t>
                      </a:r>
                      <a:r>
                        <a:rPr lang="en-US" sz="600" baseline="0" dirty="0">
                          <a:solidFill>
                            <a:schemeClr val="tx1"/>
                          </a:solidFill>
                        </a:rPr>
                        <a:t> </a:t>
                      </a:r>
                      <a:endParaRPr lang="da-DK" sz="600" dirty="0">
                        <a:solidFill>
                          <a:schemeClr val="tx1"/>
                        </a:solidFill>
                      </a:endParaRPr>
                    </a:p>
                  </a:txBody>
                  <a:tcPr marL="72000" marR="72000" marT="0" marB="0">
                    <a:noFill/>
                  </a:tcPr>
                </a:tc>
                <a:extLst>
                  <a:ext uri="{0D108BD9-81ED-4DB2-BD59-A6C34878D82A}">
                    <a16:rowId xmlns:a16="http://schemas.microsoft.com/office/drawing/2014/main" val="3773762864"/>
                  </a:ext>
                </a:extLst>
              </a:tr>
              <a:tr h="221625">
                <a:tc vMerge="1">
                  <a:txBody>
                    <a:bodyPr/>
                    <a:lstStyle/>
                    <a:p>
                      <a:endParaRPr lang="da-DK" sz="800" dirty="0">
                        <a:solidFill>
                          <a:schemeClr val="tx1"/>
                        </a:solidFill>
                      </a:endParaRPr>
                    </a:p>
                  </a:txBody>
                  <a:tcPr marL="72000" marR="72000" marT="0" marB="0">
                    <a:solidFill>
                      <a:schemeClr val="bg1"/>
                    </a:solidFill>
                  </a:tcPr>
                </a:tc>
                <a:tc>
                  <a:txBody>
                    <a:bodyPr/>
                    <a:lstStyle/>
                    <a:p>
                      <a:r>
                        <a:rPr lang="en-US" sz="600" dirty="0">
                          <a:solidFill>
                            <a:schemeClr val="tx1"/>
                          </a:solidFill>
                        </a:rPr>
                        <a:t>Consultancy companies (Large)</a:t>
                      </a:r>
                      <a:endParaRPr lang="da-DK" sz="600" dirty="0">
                        <a:solidFill>
                          <a:schemeClr val="tx1"/>
                        </a:solidFill>
                      </a:endParaRPr>
                    </a:p>
                  </a:txBody>
                  <a:tcPr marL="72000" marR="72000" marT="0" marB="0">
                    <a:noFill/>
                  </a:tcPr>
                </a:tc>
                <a:tc>
                  <a:txBody>
                    <a:bodyPr/>
                    <a:lstStyle/>
                    <a:p>
                      <a:r>
                        <a:rPr lang="da-DK" sz="600" dirty="0">
                          <a:solidFill>
                            <a:schemeClr val="tx1"/>
                          </a:solidFill>
                        </a:rPr>
                        <a:t>Rambøll, </a:t>
                      </a:r>
                      <a:r>
                        <a:rPr lang="da-DK" sz="600" dirty="0" err="1">
                          <a:solidFill>
                            <a:schemeClr val="tx1"/>
                          </a:solidFill>
                        </a:rPr>
                        <a:t>Niras</a:t>
                      </a:r>
                      <a:r>
                        <a:rPr lang="da-DK" sz="600" dirty="0">
                          <a:solidFill>
                            <a:schemeClr val="tx1"/>
                          </a:solidFill>
                        </a:rPr>
                        <a:t>,</a:t>
                      </a:r>
                      <a:r>
                        <a:rPr lang="da-DK" sz="600" baseline="0" dirty="0">
                          <a:solidFill>
                            <a:schemeClr val="tx1"/>
                          </a:solidFill>
                        </a:rPr>
                        <a:t> </a:t>
                      </a:r>
                      <a:r>
                        <a:rPr lang="da-DK" sz="600" dirty="0">
                          <a:solidFill>
                            <a:schemeClr val="tx1"/>
                          </a:solidFill>
                        </a:rPr>
                        <a:t>COWI, </a:t>
                      </a:r>
                      <a:r>
                        <a:rPr lang="da-DK" sz="600" dirty="0">
                          <a:solidFill>
                            <a:srgbClr val="FF0000"/>
                          </a:solidFill>
                        </a:rPr>
                        <a:t>WSP</a:t>
                      </a:r>
                    </a:p>
                    <a:p>
                      <a:r>
                        <a:rPr lang="da-DK" sz="600" dirty="0">
                          <a:solidFill>
                            <a:schemeClr val="tx1"/>
                          </a:solidFill>
                        </a:rPr>
                        <a:t>Krüger, </a:t>
                      </a:r>
                      <a:r>
                        <a:rPr lang="da-DK" sz="600" dirty="0" err="1">
                          <a:solidFill>
                            <a:schemeClr val="tx1"/>
                          </a:solidFill>
                        </a:rPr>
                        <a:t>Envidan</a:t>
                      </a:r>
                      <a:r>
                        <a:rPr lang="da-DK" sz="600" dirty="0">
                          <a:solidFill>
                            <a:schemeClr val="tx1"/>
                          </a:solidFill>
                        </a:rPr>
                        <a:t>, </a:t>
                      </a:r>
                      <a:r>
                        <a:rPr lang="da-DK" sz="600" dirty="0">
                          <a:solidFill>
                            <a:srgbClr val="FF0000"/>
                          </a:solidFill>
                        </a:rPr>
                        <a:t>DHI, </a:t>
                      </a:r>
                      <a:r>
                        <a:rPr lang="da-DK" sz="600" dirty="0" err="1">
                          <a:solidFill>
                            <a:srgbClr val="FF0000"/>
                          </a:solidFill>
                        </a:rPr>
                        <a:t>Frontmatec</a:t>
                      </a:r>
                      <a:endParaRPr lang="da-DK" sz="600" dirty="0">
                        <a:solidFill>
                          <a:srgbClr val="FF0000"/>
                        </a:solidFill>
                      </a:endParaRPr>
                    </a:p>
                  </a:txBody>
                  <a:tcPr marL="72000" marR="72000" marT="0" marB="0">
                    <a:noFill/>
                  </a:tcPr>
                </a:tc>
                <a:tc>
                  <a:txBody>
                    <a:bodyPr/>
                    <a:lstStyle/>
                    <a:p>
                      <a:r>
                        <a:rPr lang="en-US" sz="600" dirty="0">
                          <a:solidFill>
                            <a:schemeClr val="tx1"/>
                          </a:solidFill>
                        </a:rPr>
                        <a:t>Data users, data</a:t>
                      </a:r>
                      <a:r>
                        <a:rPr lang="en-US" sz="600" baseline="0" dirty="0">
                          <a:solidFill>
                            <a:schemeClr val="tx1"/>
                          </a:solidFill>
                        </a:rPr>
                        <a:t> providers but also data space developers (each company has different strategies </a:t>
                      </a:r>
                      <a:r>
                        <a:rPr lang="en-US" sz="600" baseline="0" dirty="0" err="1">
                          <a:solidFill>
                            <a:schemeClr val="tx1"/>
                          </a:solidFill>
                        </a:rPr>
                        <a:t>wrt</a:t>
                      </a:r>
                      <a:r>
                        <a:rPr lang="en-US" sz="600" baseline="0" dirty="0">
                          <a:solidFill>
                            <a:schemeClr val="tx1"/>
                          </a:solidFill>
                        </a:rPr>
                        <a:t>. digitalization). They might be protective of their knowledge and data. Some are multi-sector consultancies (1</a:t>
                      </a:r>
                      <a:r>
                        <a:rPr lang="en-US" sz="600" baseline="30000" dirty="0">
                          <a:solidFill>
                            <a:schemeClr val="tx1"/>
                          </a:solidFill>
                        </a:rPr>
                        <a:t>st</a:t>
                      </a:r>
                      <a:r>
                        <a:rPr lang="en-US" sz="600" baseline="0" dirty="0">
                          <a:solidFill>
                            <a:schemeClr val="tx1"/>
                          </a:solidFill>
                        </a:rPr>
                        <a:t> line), whereas others are more specialized (</a:t>
                      </a:r>
                      <a:r>
                        <a:rPr lang="en-US" sz="600" baseline="0" dirty="0">
                          <a:solidFill>
                            <a:srgbClr val="FF0000"/>
                          </a:solidFill>
                        </a:rPr>
                        <a:t>in water or food</a:t>
                      </a:r>
                      <a:r>
                        <a:rPr lang="en-US" sz="600" baseline="0" dirty="0">
                          <a:solidFill>
                            <a:schemeClr val="tx1"/>
                          </a:solidFill>
                        </a:rPr>
                        <a:t>, 2nd line). Some (Krüger) also act as construction actor and water technology supplier. </a:t>
                      </a:r>
                    </a:p>
                  </a:txBody>
                  <a:tcPr marL="72000" marR="72000" marT="0" marB="0">
                    <a:noFill/>
                  </a:tcPr>
                </a:tc>
                <a:extLst>
                  <a:ext uri="{0D108BD9-81ED-4DB2-BD59-A6C34878D82A}">
                    <a16:rowId xmlns:a16="http://schemas.microsoft.com/office/drawing/2014/main" val="3354593219"/>
                  </a:ext>
                </a:extLst>
              </a:tr>
              <a:tr h="218998">
                <a:tc vMerge="1">
                  <a:txBody>
                    <a:bodyPr/>
                    <a:lstStyle/>
                    <a:p>
                      <a:endParaRPr lang="en-US"/>
                    </a:p>
                  </a:txBody>
                  <a:tcPr/>
                </a:tc>
                <a:tc>
                  <a:txBody>
                    <a:bodyPr/>
                    <a:lstStyle/>
                    <a:p>
                      <a:r>
                        <a:rPr lang="da-DK" sz="600" dirty="0" err="1">
                          <a:solidFill>
                            <a:schemeClr val="tx1"/>
                          </a:solidFill>
                        </a:rPr>
                        <a:t>Wastewater</a:t>
                      </a:r>
                      <a:r>
                        <a:rPr lang="da-DK" sz="600" dirty="0">
                          <a:solidFill>
                            <a:schemeClr val="tx1"/>
                          </a:solidFill>
                        </a:rPr>
                        <a:t> </a:t>
                      </a:r>
                      <a:r>
                        <a:rPr lang="da-DK" sz="600" dirty="0" err="1">
                          <a:solidFill>
                            <a:schemeClr val="tx1"/>
                          </a:solidFill>
                        </a:rPr>
                        <a:t>discharging</a:t>
                      </a:r>
                      <a:r>
                        <a:rPr lang="da-DK" sz="600" dirty="0">
                          <a:solidFill>
                            <a:schemeClr val="tx1"/>
                          </a:solidFill>
                        </a:rPr>
                        <a:t> </a:t>
                      </a:r>
                      <a:r>
                        <a:rPr lang="da-DK" sz="600" dirty="0" err="1">
                          <a:solidFill>
                            <a:schemeClr val="tx1"/>
                          </a:solidFill>
                        </a:rPr>
                        <a:t>industries</a:t>
                      </a:r>
                      <a:r>
                        <a:rPr lang="da-DK" sz="600" dirty="0">
                          <a:solidFill>
                            <a:schemeClr val="tx1"/>
                          </a:solidFill>
                        </a:rPr>
                        <a:t>/organisations</a:t>
                      </a:r>
                    </a:p>
                  </a:txBody>
                  <a:tcPr marL="72000" marR="72000" marT="0" marB="0">
                    <a:solidFill>
                      <a:schemeClr val="bg1">
                        <a:lumMod val="85000"/>
                      </a:schemeClr>
                    </a:solidFill>
                  </a:tcPr>
                </a:tc>
                <a:tc>
                  <a:txBody>
                    <a:bodyPr/>
                    <a:lstStyle/>
                    <a:p>
                      <a:r>
                        <a:rPr lang="da-DK" sz="600" dirty="0" err="1">
                          <a:solidFill>
                            <a:schemeClr val="tx1"/>
                          </a:solidFill>
                        </a:rPr>
                        <a:t>Production</a:t>
                      </a:r>
                      <a:r>
                        <a:rPr lang="da-DK" sz="600" dirty="0">
                          <a:solidFill>
                            <a:schemeClr val="tx1"/>
                          </a:solidFill>
                        </a:rPr>
                        <a:t> </a:t>
                      </a:r>
                      <a:r>
                        <a:rPr lang="da-DK" sz="600" dirty="0" err="1">
                          <a:solidFill>
                            <a:schemeClr val="tx1"/>
                          </a:solidFill>
                        </a:rPr>
                        <a:t>companies</a:t>
                      </a:r>
                      <a:r>
                        <a:rPr lang="da-DK" sz="600" dirty="0">
                          <a:solidFill>
                            <a:schemeClr val="tx1"/>
                          </a:solidFill>
                        </a:rPr>
                        <a:t>, car </a:t>
                      </a:r>
                      <a:r>
                        <a:rPr lang="da-DK" sz="600" dirty="0" err="1">
                          <a:solidFill>
                            <a:schemeClr val="tx1"/>
                          </a:solidFill>
                        </a:rPr>
                        <a:t>washes</a:t>
                      </a:r>
                      <a:r>
                        <a:rPr lang="da-DK" sz="600" dirty="0">
                          <a:solidFill>
                            <a:schemeClr val="tx1"/>
                          </a:solidFill>
                        </a:rPr>
                        <a:t>, </a:t>
                      </a:r>
                      <a:r>
                        <a:rPr lang="da-DK" sz="600" dirty="0" err="1">
                          <a:solidFill>
                            <a:schemeClr val="tx1"/>
                          </a:solidFill>
                        </a:rPr>
                        <a:t>waste</a:t>
                      </a:r>
                      <a:r>
                        <a:rPr lang="da-DK" sz="600" dirty="0">
                          <a:solidFill>
                            <a:schemeClr val="tx1"/>
                          </a:solidFill>
                        </a:rPr>
                        <a:t> </a:t>
                      </a:r>
                      <a:r>
                        <a:rPr lang="da-DK" sz="600" dirty="0" err="1">
                          <a:solidFill>
                            <a:schemeClr val="tx1"/>
                          </a:solidFill>
                        </a:rPr>
                        <a:t>deposits</a:t>
                      </a:r>
                      <a:r>
                        <a:rPr lang="da-DK" sz="600" dirty="0">
                          <a:solidFill>
                            <a:schemeClr val="tx1"/>
                          </a:solidFill>
                        </a:rPr>
                        <a:t>, hospitals</a:t>
                      </a:r>
                    </a:p>
                  </a:txBody>
                  <a:tcPr marL="72000" marR="72000" marT="0" marB="0">
                    <a:solidFill>
                      <a:schemeClr val="bg1">
                        <a:lumMod val="85000"/>
                      </a:schemeClr>
                    </a:solidFill>
                  </a:tcPr>
                </a:tc>
                <a:tc>
                  <a:txBody>
                    <a:bodyPr/>
                    <a:lstStyle/>
                    <a:p>
                      <a:r>
                        <a:rPr lang="en-US" sz="600" baseline="0" dirty="0">
                          <a:solidFill>
                            <a:schemeClr val="tx1"/>
                          </a:solidFill>
                        </a:rPr>
                        <a:t>Industries with industrial production that have a high water use and discharge of pollutants. Relevant specifically in relation to how water use and discharge in industries are regulated. Their business model and operation can potentially be impacted by regulation and by public insights into their environmental performance through </a:t>
                      </a:r>
                      <a:r>
                        <a:rPr lang="en-US" sz="600" baseline="0" dirty="0" err="1">
                          <a:solidFill>
                            <a:schemeClr val="tx1"/>
                          </a:solidFill>
                        </a:rPr>
                        <a:t>digitilisation</a:t>
                      </a:r>
                      <a:r>
                        <a:rPr lang="en-US" sz="600" baseline="0" dirty="0">
                          <a:solidFill>
                            <a:schemeClr val="tx1"/>
                          </a:solidFill>
                        </a:rPr>
                        <a:t> and sharing of data. Hospitals discharge specific pollutants and are also responsible for individual discharges at the household level (depending on treatment)</a:t>
                      </a:r>
                    </a:p>
                  </a:txBody>
                  <a:tcPr marL="72000" marR="72000" marT="0" marB="0">
                    <a:solidFill>
                      <a:schemeClr val="bg1">
                        <a:lumMod val="85000"/>
                      </a:schemeClr>
                    </a:solidFill>
                  </a:tcPr>
                </a:tc>
                <a:extLst>
                  <a:ext uri="{0D108BD9-81ED-4DB2-BD59-A6C34878D82A}">
                    <a16:rowId xmlns:a16="http://schemas.microsoft.com/office/drawing/2014/main" val="3772590073"/>
                  </a:ext>
                </a:extLst>
              </a:tr>
              <a:tr h="88694">
                <a:tc vMerge="1">
                  <a:txBody>
                    <a:bodyPr/>
                    <a:lstStyle/>
                    <a:p>
                      <a:endParaRPr lang="en-US"/>
                    </a:p>
                  </a:txBody>
                  <a:tcPr/>
                </a:tc>
                <a:tc>
                  <a:txBody>
                    <a:bodyPr/>
                    <a:lstStyle/>
                    <a:p>
                      <a:r>
                        <a:rPr lang="da-DK" sz="600" dirty="0" err="1">
                          <a:solidFill>
                            <a:schemeClr val="tx1"/>
                          </a:solidFill>
                        </a:rPr>
                        <a:t>Acredited</a:t>
                      </a:r>
                      <a:r>
                        <a:rPr lang="da-DK" sz="600" dirty="0">
                          <a:solidFill>
                            <a:schemeClr val="tx1"/>
                          </a:solidFill>
                        </a:rPr>
                        <a:t> labs for sampling/</a:t>
                      </a:r>
                      <a:r>
                        <a:rPr lang="da-DK" sz="600" dirty="0" err="1">
                          <a:solidFill>
                            <a:schemeClr val="tx1"/>
                          </a:solidFill>
                        </a:rPr>
                        <a:t>analysis</a:t>
                      </a:r>
                      <a:endParaRPr lang="da-DK" sz="600" dirty="0">
                        <a:solidFill>
                          <a:schemeClr val="tx1"/>
                        </a:solidFill>
                      </a:endParaRPr>
                    </a:p>
                  </a:txBody>
                  <a:tcPr marL="72000" marR="72000" marT="0" marB="0">
                    <a:solidFill>
                      <a:schemeClr val="bg1">
                        <a:lumMod val="85000"/>
                      </a:schemeClr>
                    </a:solidFill>
                  </a:tcPr>
                </a:tc>
                <a:tc>
                  <a:txBody>
                    <a:bodyPr/>
                    <a:lstStyle/>
                    <a:p>
                      <a:r>
                        <a:rPr lang="da-DK" sz="600" dirty="0" err="1">
                          <a:solidFill>
                            <a:schemeClr val="tx1"/>
                          </a:solidFill>
                        </a:rPr>
                        <a:t>Eurofins</a:t>
                      </a:r>
                      <a:r>
                        <a:rPr lang="da-DK" sz="600" dirty="0">
                          <a:solidFill>
                            <a:schemeClr val="tx1"/>
                          </a:solidFill>
                        </a:rPr>
                        <a:t>, ALS, Højvang</a:t>
                      </a:r>
                    </a:p>
                  </a:txBody>
                  <a:tcPr marL="72000" marR="72000" marT="0" marB="0">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600" strike="noStrike" dirty="0">
                          <a:solidFill>
                            <a:schemeClr val="tx1"/>
                          </a:solidFill>
                        </a:rPr>
                        <a:t>C</a:t>
                      </a:r>
                      <a:r>
                        <a:rPr lang="da-DK" sz="600" dirty="0">
                          <a:solidFill>
                            <a:schemeClr val="tx1"/>
                          </a:solidFill>
                        </a:rPr>
                        <a:t>ompanies in charge of </a:t>
                      </a:r>
                      <a:r>
                        <a:rPr lang="da-DK" sz="600" strike="sngStrike" dirty="0" err="1">
                          <a:solidFill>
                            <a:schemeClr val="tx1"/>
                          </a:solidFill>
                        </a:rPr>
                        <a:t>e</a:t>
                      </a:r>
                      <a:r>
                        <a:rPr lang="da-DK" sz="600" strike="noStrike" dirty="0" err="1">
                          <a:solidFill>
                            <a:schemeClr val="tx1"/>
                          </a:solidFill>
                        </a:rPr>
                        <a:t>nvironmental</a:t>
                      </a:r>
                      <a:r>
                        <a:rPr lang="da-DK" sz="600" strike="noStrike" dirty="0">
                          <a:solidFill>
                            <a:schemeClr val="tx1"/>
                          </a:solidFill>
                        </a:rPr>
                        <a:t> </a:t>
                      </a:r>
                      <a:r>
                        <a:rPr lang="da-DK" sz="600" dirty="0">
                          <a:solidFill>
                            <a:schemeClr val="tx1"/>
                          </a:solidFill>
                        </a:rPr>
                        <a:t>sampling and </a:t>
                      </a:r>
                      <a:r>
                        <a:rPr lang="da-DK" sz="600" dirty="0" err="1">
                          <a:solidFill>
                            <a:schemeClr val="tx1"/>
                          </a:solidFill>
                        </a:rPr>
                        <a:t>analysis</a:t>
                      </a:r>
                      <a:r>
                        <a:rPr lang="da-DK" sz="600" dirty="0">
                          <a:solidFill>
                            <a:schemeClr val="tx1"/>
                          </a:solidFill>
                        </a:rPr>
                        <a:t> of </a:t>
                      </a:r>
                      <a:r>
                        <a:rPr lang="da-DK" sz="600" dirty="0" err="1">
                          <a:solidFill>
                            <a:schemeClr val="tx1"/>
                          </a:solidFill>
                        </a:rPr>
                        <a:t>concentrations</a:t>
                      </a:r>
                      <a:r>
                        <a:rPr lang="da-DK" sz="600" dirty="0">
                          <a:solidFill>
                            <a:schemeClr val="tx1"/>
                          </a:solidFill>
                        </a:rPr>
                        <a:t> of </a:t>
                      </a:r>
                      <a:r>
                        <a:rPr lang="da-DK" sz="600" dirty="0" err="1">
                          <a:solidFill>
                            <a:schemeClr val="tx1"/>
                          </a:solidFill>
                        </a:rPr>
                        <a:t>specific</a:t>
                      </a:r>
                      <a:r>
                        <a:rPr lang="da-DK" sz="600" dirty="0">
                          <a:solidFill>
                            <a:schemeClr val="tx1"/>
                          </a:solidFill>
                        </a:rPr>
                        <a:t> </a:t>
                      </a:r>
                      <a:r>
                        <a:rPr lang="da-DK" sz="600" dirty="0" err="1">
                          <a:solidFill>
                            <a:schemeClr val="tx1"/>
                          </a:solidFill>
                        </a:rPr>
                        <a:t>pollutants</a:t>
                      </a:r>
                      <a:r>
                        <a:rPr lang="da-DK" sz="600" dirty="0">
                          <a:solidFill>
                            <a:schemeClr val="tx1"/>
                          </a:solidFill>
                        </a:rPr>
                        <a:t> </a:t>
                      </a:r>
                    </a:p>
                  </a:txBody>
                  <a:tcPr marL="72000" marR="72000" marT="0" marB="0">
                    <a:solidFill>
                      <a:schemeClr val="bg1">
                        <a:lumMod val="85000"/>
                      </a:schemeClr>
                    </a:solidFill>
                  </a:tcPr>
                </a:tc>
                <a:extLst>
                  <a:ext uri="{0D108BD9-81ED-4DB2-BD59-A6C34878D82A}">
                    <a16:rowId xmlns:a16="http://schemas.microsoft.com/office/drawing/2014/main" val="4173472029"/>
                  </a:ext>
                </a:extLst>
              </a:tr>
              <a:tr h="45769">
                <a:tc vMerge="1">
                  <a:txBody>
                    <a:bodyPr/>
                    <a:lstStyle/>
                    <a:p>
                      <a:endParaRPr lang="da-DK" sz="800" dirty="0">
                        <a:solidFill>
                          <a:schemeClr val="tx1"/>
                        </a:solidFill>
                      </a:endParaRPr>
                    </a:p>
                  </a:txBody>
                  <a:tcPr marL="72000" marR="72000" marT="0" marB="0">
                    <a:solidFill>
                      <a:schemeClr val="bg1"/>
                    </a:solidFill>
                  </a:tcPr>
                </a:tc>
                <a:tc>
                  <a:txBody>
                    <a:bodyPr/>
                    <a:lstStyle/>
                    <a:p>
                      <a:r>
                        <a:rPr lang="en-US" sz="600" dirty="0">
                          <a:solidFill>
                            <a:schemeClr val="tx1"/>
                          </a:solidFill>
                        </a:rPr>
                        <a:t>SMEs and Startups</a:t>
                      </a:r>
                      <a:r>
                        <a:rPr lang="en-US" sz="600" baseline="0" dirty="0">
                          <a:solidFill>
                            <a:schemeClr val="tx1"/>
                          </a:solidFill>
                        </a:rPr>
                        <a:t> </a:t>
                      </a:r>
                      <a:endParaRPr lang="da-DK" sz="600" dirty="0">
                        <a:solidFill>
                          <a:schemeClr val="tx1"/>
                        </a:solidFill>
                      </a:endParaRPr>
                    </a:p>
                  </a:txBody>
                  <a:tcPr marL="72000" marR="72000" marT="0" marB="0">
                    <a:noFill/>
                  </a:tcPr>
                </a:tc>
                <a:tc>
                  <a:txBody>
                    <a:bodyPr/>
                    <a:lstStyle/>
                    <a:p>
                      <a:r>
                        <a:rPr lang="da-DK" sz="600" dirty="0">
                          <a:solidFill>
                            <a:schemeClr val="tx1"/>
                          </a:solidFill>
                        </a:rPr>
                        <a:t>DRYP/Tech Instrumentering/</a:t>
                      </a:r>
                      <a:r>
                        <a:rPr lang="da-DK" sz="600" dirty="0" err="1">
                          <a:solidFill>
                            <a:schemeClr val="tx1"/>
                          </a:solidFill>
                        </a:rPr>
                        <a:t>Envco</a:t>
                      </a:r>
                      <a:r>
                        <a:rPr lang="da-DK" sz="600" dirty="0">
                          <a:solidFill>
                            <a:schemeClr val="tx1"/>
                          </a:solidFill>
                        </a:rPr>
                        <a:t> </a:t>
                      </a:r>
                      <a:r>
                        <a:rPr lang="da-DK" sz="600" dirty="0" err="1">
                          <a:solidFill>
                            <a:schemeClr val="tx1"/>
                          </a:solidFill>
                        </a:rPr>
                        <a:t>Logistics</a:t>
                      </a:r>
                      <a:r>
                        <a:rPr lang="da-DK" sz="600" dirty="0">
                          <a:solidFill>
                            <a:schemeClr val="tx1"/>
                          </a:solidFill>
                        </a:rPr>
                        <a:t> – all </a:t>
                      </a:r>
                      <a:r>
                        <a:rPr lang="da-DK" sz="600" dirty="0" err="1">
                          <a:solidFill>
                            <a:schemeClr val="tx1"/>
                          </a:solidFill>
                        </a:rPr>
                        <a:t>Use</a:t>
                      </a:r>
                      <a:r>
                        <a:rPr lang="da-DK" sz="600" dirty="0">
                          <a:solidFill>
                            <a:schemeClr val="tx1"/>
                          </a:solidFill>
                        </a:rPr>
                        <a:t> case</a:t>
                      </a:r>
                      <a:r>
                        <a:rPr lang="da-DK" sz="600" baseline="0" dirty="0">
                          <a:solidFill>
                            <a:schemeClr val="tx1"/>
                          </a:solidFill>
                        </a:rPr>
                        <a:t> 2</a:t>
                      </a:r>
                    </a:p>
                    <a:p>
                      <a:r>
                        <a:rPr lang="da-DK" sz="600" dirty="0">
                          <a:solidFill>
                            <a:schemeClr val="tx1"/>
                          </a:solidFill>
                        </a:rPr>
                        <a:t>SCALGO, APX10</a:t>
                      </a:r>
                      <a:r>
                        <a:rPr lang="da-DK" sz="600" dirty="0">
                          <a:solidFill>
                            <a:srgbClr val="FF0000"/>
                          </a:solidFill>
                        </a:rPr>
                        <a:t>, </a:t>
                      </a:r>
                      <a:r>
                        <a:rPr lang="da-DK" sz="600" dirty="0" err="1">
                          <a:solidFill>
                            <a:srgbClr val="FF0000"/>
                          </a:solidFill>
                        </a:rPr>
                        <a:t>Unisense</a:t>
                      </a:r>
                      <a:r>
                        <a:rPr lang="da-DK" sz="600" dirty="0">
                          <a:solidFill>
                            <a:srgbClr val="FF0000"/>
                          </a:solidFill>
                        </a:rPr>
                        <a:t> </a:t>
                      </a:r>
                      <a:r>
                        <a:rPr lang="da-DK" sz="600" dirty="0" err="1">
                          <a:solidFill>
                            <a:srgbClr val="FF0000"/>
                          </a:solidFill>
                        </a:rPr>
                        <a:t>Envir</a:t>
                      </a:r>
                      <a:r>
                        <a:rPr lang="da-DK" sz="600" dirty="0">
                          <a:solidFill>
                            <a:srgbClr val="FF0000"/>
                          </a:solidFill>
                        </a:rPr>
                        <a:t>., </a:t>
                      </a:r>
                      <a:r>
                        <a:rPr lang="da-DK" sz="600" dirty="0" err="1">
                          <a:solidFill>
                            <a:srgbClr val="FF0000"/>
                          </a:solidFill>
                        </a:rPr>
                        <a:t>Aquarden</a:t>
                      </a:r>
                      <a:r>
                        <a:rPr lang="da-DK" sz="600" dirty="0">
                          <a:solidFill>
                            <a:srgbClr val="FF0000"/>
                          </a:solidFill>
                        </a:rPr>
                        <a:t>, Innovation Lab</a:t>
                      </a:r>
                      <a:r>
                        <a:rPr lang="da-DK" sz="600" dirty="0">
                          <a:solidFill>
                            <a:schemeClr val="tx1"/>
                          </a:solidFill>
                        </a:rPr>
                        <a:t> ... </a:t>
                      </a:r>
                      <a:r>
                        <a:rPr lang="da-DK" sz="600" dirty="0">
                          <a:solidFill>
                            <a:srgbClr val="FF0000"/>
                          </a:solidFill>
                        </a:rPr>
                        <a:t>(</a:t>
                      </a:r>
                      <a:r>
                        <a:rPr lang="da-DK" sz="600" baseline="0" dirty="0">
                          <a:solidFill>
                            <a:srgbClr val="FF0000"/>
                          </a:solidFill>
                        </a:rPr>
                        <a:t>more</a:t>
                      </a:r>
                      <a:r>
                        <a:rPr lang="da-DK" sz="600" baseline="0" dirty="0">
                          <a:solidFill>
                            <a:schemeClr val="tx1"/>
                          </a:solidFill>
                        </a:rPr>
                        <a:t>)</a:t>
                      </a:r>
                      <a:endParaRPr lang="da-DK" sz="600" dirty="0">
                        <a:solidFill>
                          <a:schemeClr val="tx1"/>
                        </a:solidFill>
                      </a:endParaRPr>
                    </a:p>
                  </a:txBody>
                  <a:tcPr marL="72000" marR="72000" marT="0" marB="0">
                    <a:noFill/>
                  </a:tcPr>
                </a:tc>
                <a:tc>
                  <a:txBody>
                    <a:bodyPr/>
                    <a:lstStyle/>
                    <a:p>
                      <a:r>
                        <a:rPr lang="en-US" sz="600" dirty="0">
                          <a:solidFill>
                            <a:srgbClr val="FF0000"/>
                          </a:solidFill>
                        </a:rPr>
                        <a:t>Many,</a:t>
                      </a:r>
                      <a:r>
                        <a:rPr lang="en-US" sz="600" baseline="0" dirty="0">
                          <a:solidFill>
                            <a:srgbClr val="FF0000"/>
                          </a:solidFill>
                        </a:rPr>
                        <a:t> with </a:t>
                      </a:r>
                      <a:r>
                        <a:rPr lang="en-US" sz="600" baseline="0" dirty="0">
                          <a:solidFill>
                            <a:schemeClr val="tx1"/>
                          </a:solidFill>
                        </a:rPr>
                        <a:t>very different focus/products and busyness models. Some are spinouts from universities, still maintaining close links, and some have utility companies as partial owner. Crucial actors establishing the water data space ecosystem, </a:t>
                      </a:r>
                      <a:r>
                        <a:rPr lang="en-US" sz="600" baseline="0" dirty="0">
                          <a:solidFill>
                            <a:srgbClr val="FF0000"/>
                          </a:solidFill>
                        </a:rPr>
                        <a:t>due to REACT funding requirements</a:t>
                      </a:r>
                      <a:r>
                        <a:rPr lang="en-US" sz="600" baseline="0" dirty="0">
                          <a:solidFill>
                            <a:schemeClr val="tx1"/>
                          </a:solidFill>
                        </a:rPr>
                        <a:t>. </a:t>
                      </a:r>
                      <a:r>
                        <a:rPr lang="en-US" sz="600" baseline="0" dirty="0">
                          <a:solidFill>
                            <a:srgbClr val="FF0000"/>
                          </a:solidFill>
                        </a:rPr>
                        <a:t>SMEs can push new technologies into the market, and can be both data owners, - holders, - distributors, - consumers, and - end-users. </a:t>
                      </a:r>
                      <a:endParaRPr lang="da-DK" sz="600" dirty="0">
                        <a:solidFill>
                          <a:srgbClr val="FF0000"/>
                        </a:solidFill>
                      </a:endParaRPr>
                    </a:p>
                  </a:txBody>
                  <a:tcPr marL="72000" marR="72000" marT="0" marB="0">
                    <a:noFill/>
                  </a:tcPr>
                </a:tc>
                <a:extLst>
                  <a:ext uri="{0D108BD9-81ED-4DB2-BD59-A6C34878D82A}">
                    <a16:rowId xmlns:a16="http://schemas.microsoft.com/office/drawing/2014/main" val="3486566195"/>
                  </a:ext>
                </a:extLst>
              </a:tr>
              <a:tr h="222929">
                <a:tc rowSpan="2">
                  <a:txBody>
                    <a:bodyPr/>
                    <a:lstStyle/>
                    <a:p>
                      <a:r>
                        <a:rPr lang="da-DK" sz="600" dirty="0">
                          <a:solidFill>
                            <a:schemeClr val="tx1"/>
                          </a:solidFill>
                        </a:rPr>
                        <a:t>Utility service </a:t>
                      </a:r>
                      <a:r>
                        <a:rPr lang="da-DK" sz="600" dirty="0" err="1">
                          <a:solidFill>
                            <a:schemeClr val="tx1"/>
                          </a:solidFill>
                        </a:rPr>
                        <a:t>providers</a:t>
                      </a:r>
                      <a:endParaRPr lang="da-DK" sz="600" dirty="0">
                        <a:solidFill>
                          <a:schemeClr val="tx1"/>
                        </a:solidFill>
                      </a:endParaRPr>
                    </a:p>
                  </a:txBody>
                  <a:tcPr marL="72000" marR="72000" marT="0" marB="0">
                    <a:solidFill>
                      <a:schemeClr val="bg1">
                        <a:lumMod val="85000"/>
                      </a:schemeClr>
                    </a:solidFill>
                  </a:tcPr>
                </a:tc>
                <a:tc>
                  <a:txBody>
                    <a:bodyPr/>
                    <a:lstStyle/>
                    <a:p>
                      <a:r>
                        <a:rPr lang="en-US" sz="600" dirty="0">
                          <a:solidFill>
                            <a:schemeClr val="tx1"/>
                          </a:solidFill>
                        </a:rPr>
                        <a:t>Water Utilities </a:t>
                      </a:r>
                      <a:endParaRPr lang="da-DK" sz="600" dirty="0">
                        <a:solidFill>
                          <a:schemeClr val="tx1"/>
                        </a:solidFill>
                      </a:endParaRPr>
                    </a:p>
                  </a:txBody>
                  <a:tcPr marL="72000" marR="72000" marT="0" marB="0">
                    <a:noFill/>
                  </a:tcPr>
                </a:tc>
                <a:tc>
                  <a:txBody>
                    <a:bodyPr/>
                    <a:lstStyle/>
                    <a:p>
                      <a:r>
                        <a:rPr lang="da-DK" sz="600" dirty="0">
                          <a:solidFill>
                            <a:schemeClr val="tx1"/>
                          </a:solidFill>
                        </a:rPr>
                        <a:t>Aarhus Vand (</a:t>
                      </a:r>
                      <a:r>
                        <a:rPr lang="da-DK" sz="600" dirty="0" err="1">
                          <a:solidFill>
                            <a:schemeClr val="tx1"/>
                          </a:solidFill>
                        </a:rPr>
                        <a:t>Steering</a:t>
                      </a:r>
                      <a:r>
                        <a:rPr lang="da-DK" sz="600" dirty="0">
                          <a:solidFill>
                            <a:schemeClr val="tx1"/>
                          </a:solidFill>
                        </a:rPr>
                        <a:t> </a:t>
                      </a:r>
                      <a:r>
                        <a:rPr lang="da-DK" sz="600" dirty="0" err="1">
                          <a:solidFill>
                            <a:schemeClr val="tx1"/>
                          </a:solidFill>
                        </a:rPr>
                        <a:t>Committee</a:t>
                      </a:r>
                      <a:r>
                        <a:rPr lang="da-DK" sz="600" dirty="0">
                          <a:solidFill>
                            <a:schemeClr val="tx1"/>
                          </a:solidFill>
                        </a:rPr>
                        <a:t> </a:t>
                      </a:r>
                      <a:r>
                        <a:rPr lang="da-DK" sz="600" dirty="0">
                          <a:solidFill>
                            <a:srgbClr val="FF0000"/>
                          </a:solidFill>
                        </a:rPr>
                        <a:t>of WDS </a:t>
                      </a:r>
                      <a:r>
                        <a:rPr lang="da-DK" sz="600" dirty="0" err="1">
                          <a:solidFill>
                            <a:srgbClr val="FF0000"/>
                          </a:solidFill>
                        </a:rPr>
                        <a:t>project</a:t>
                      </a:r>
                      <a:r>
                        <a:rPr lang="da-DK" sz="600" dirty="0">
                          <a:solidFill>
                            <a:schemeClr val="tx1"/>
                          </a:solidFill>
                        </a:rPr>
                        <a:t>)</a:t>
                      </a:r>
                    </a:p>
                    <a:p>
                      <a:r>
                        <a:rPr lang="da-DK" sz="600" dirty="0">
                          <a:solidFill>
                            <a:schemeClr val="tx1"/>
                          </a:solidFill>
                        </a:rPr>
                        <a:t>HOFOR,</a:t>
                      </a:r>
                      <a:r>
                        <a:rPr lang="da-DK" sz="600" baseline="0" dirty="0">
                          <a:solidFill>
                            <a:schemeClr val="tx1"/>
                          </a:solidFill>
                        </a:rPr>
                        <a:t> VCS, Herning Vand (Reference </a:t>
                      </a:r>
                      <a:r>
                        <a:rPr lang="da-DK" sz="600" baseline="0" dirty="0" err="1">
                          <a:solidFill>
                            <a:schemeClr val="tx1"/>
                          </a:solidFill>
                        </a:rPr>
                        <a:t>group</a:t>
                      </a:r>
                      <a:r>
                        <a:rPr lang="da-DK" sz="600" baseline="0" dirty="0">
                          <a:solidFill>
                            <a:schemeClr val="tx1"/>
                          </a:solidFill>
                        </a:rPr>
                        <a:t> </a:t>
                      </a:r>
                      <a:r>
                        <a:rPr lang="da-DK" sz="600" baseline="0" dirty="0">
                          <a:solidFill>
                            <a:srgbClr val="FF0000"/>
                          </a:solidFill>
                        </a:rPr>
                        <a:t>of WDS </a:t>
                      </a:r>
                      <a:r>
                        <a:rPr lang="da-DK" sz="600" baseline="0" dirty="0" err="1">
                          <a:solidFill>
                            <a:srgbClr val="FF0000"/>
                          </a:solidFill>
                        </a:rPr>
                        <a:t>project</a:t>
                      </a:r>
                      <a:r>
                        <a:rPr lang="da-DK" sz="600" baseline="0" dirty="0">
                          <a:solidFill>
                            <a:schemeClr val="tx1"/>
                          </a:solidFill>
                        </a:rPr>
                        <a:t>)</a:t>
                      </a:r>
                      <a:endParaRPr lang="da-DK" sz="600" dirty="0">
                        <a:solidFill>
                          <a:schemeClr val="tx1"/>
                        </a:solidFill>
                      </a:endParaRPr>
                    </a:p>
                  </a:txBody>
                  <a:tcPr marL="72000" marR="72000" marT="0" marB="0">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dirty="0">
                          <a:solidFill>
                            <a:schemeClr val="tx1"/>
                          </a:solidFill>
                        </a:rPr>
                        <a:t>Water Utilities</a:t>
                      </a:r>
                      <a:r>
                        <a:rPr lang="en-US" sz="600" baseline="0" dirty="0">
                          <a:solidFill>
                            <a:schemeClr val="tx1"/>
                          </a:solidFill>
                        </a:rPr>
                        <a:t> are quite different in size, capacity and strategy, and this will affect the role they can have in the Water Data Space ecosystem. They are the key user of the data space and therefore key actors in the ecosystem. Aarhus Vand is the only utility directly involved as a core partner in the WDS project; HOFOR, VCS and </a:t>
                      </a:r>
                      <a:r>
                        <a:rPr lang="en-US" sz="600" baseline="0" dirty="0" err="1">
                          <a:solidFill>
                            <a:schemeClr val="tx1"/>
                          </a:solidFill>
                        </a:rPr>
                        <a:t>Herning</a:t>
                      </a:r>
                      <a:r>
                        <a:rPr lang="en-US" sz="600" baseline="0" dirty="0">
                          <a:solidFill>
                            <a:schemeClr val="tx1"/>
                          </a:solidFill>
                        </a:rPr>
                        <a:t> Vand are part of the “Reference group” where regular meetings take place in relation to use cases. Other utilities are involved in public meetings from time to time. </a:t>
                      </a:r>
                      <a:r>
                        <a:rPr lang="en-US" sz="600" baseline="0" dirty="0">
                          <a:solidFill>
                            <a:srgbClr val="FF0000"/>
                          </a:solidFill>
                        </a:rPr>
                        <a:t>Not involved with </a:t>
                      </a:r>
                      <a:r>
                        <a:rPr lang="en-US" sz="600" baseline="0" dirty="0" err="1">
                          <a:solidFill>
                            <a:srgbClr val="FF0000"/>
                          </a:solidFill>
                        </a:rPr>
                        <a:t>Miljøportalen</a:t>
                      </a:r>
                      <a:r>
                        <a:rPr lang="en-US" sz="600" baseline="0" dirty="0">
                          <a:solidFill>
                            <a:srgbClr val="FF0000"/>
                          </a:solidFill>
                        </a:rPr>
                        <a:t>.</a:t>
                      </a:r>
                      <a:endParaRPr lang="da-DK" sz="600" dirty="0">
                        <a:solidFill>
                          <a:srgbClr val="FF0000"/>
                        </a:solidFill>
                      </a:endParaRPr>
                    </a:p>
                  </a:txBody>
                  <a:tcPr marL="72000" marR="72000" marT="0" marB="0">
                    <a:noFill/>
                  </a:tcPr>
                </a:tc>
                <a:extLst>
                  <a:ext uri="{0D108BD9-81ED-4DB2-BD59-A6C34878D82A}">
                    <a16:rowId xmlns:a16="http://schemas.microsoft.com/office/drawing/2014/main" val="3067373232"/>
                  </a:ext>
                </a:extLst>
              </a:tr>
              <a:tr h="302802">
                <a:tc vMerge="1">
                  <a:txBody>
                    <a:bodyPr/>
                    <a:lstStyle/>
                    <a:p>
                      <a:endParaRPr lang="da-DK" sz="800" dirty="0">
                        <a:solidFill>
                          <a:schemeClr val="tx1"/>
                        </a:solidFill>
                      </a:endParaRPr>
                    </a:p>
                  </a:txBody>
                  <a:tcPr marL="72000" marR="72000" marT="0" marB="0">
                    <a:solidFill>
                      <a:schemeClr val="bg1"/>
                    </a:solidFill>
                  </a:tcPr>
                </a:tc>
                <a:tc>
                  <a:txBody>
                    <a:bodyPr/>
                    <a:lstStyle/>
                    <a:p>
                      <a:r>
                        <a:rPr lang="en-US" sz="600" dirty="0" err="1">
                          <a:solidFill>
                            <a:schemeClr val="tx1"/>
                          </a:solidFill>
                        </a:rPr>
                        <a:t>Danmarks</a:t>
                      </a:r>
                      <a:r>
                        <a:rPr lang="en-US" sz="600" dirty="0">
                          <a:solidFill>
                            <a:schemeClr val="tx1"/>
                          </a:solidFill>
                        </a:rPr>
                        <a:t> </a:t>
                      </a:r>
                      <a:r>
                        <a:rPr lang="en-US" sz="600" dirty="0" err="1">
                          <a:solidFill>
                            <a:schemeClr val="tx1"/>
                          </a:solidFill>
                        </a:rPr>
                        <a:t>Miljøportal</a:t>
                      </a:r>
                      <a:r>
                        <a:rPr lang="en-US" sz="600" dirty="0">
                          <a:solidFill>
                            <a:schemeClr val="tx1"/>
                          </a:solidFill>
                        </a:rPr>
                        <a:t> (</a:t>
                      </a:r>
                      <a:r>
                        <a:rPr lang="en-US" sz="600" dirty="0" err="1">
                          <a:solidFill>
                            <a:schemeClr val="tx1"/>
                          </a:solidFill>
                        </a:rPr>
                        <a:t>Miljøportalen</a:t>
                      </a:r>
                      <a:r>
                        <a:rPr lang="en-US" sz="600" dirty="0">
                          <a:solidFill>
                            <a:schemeClr val="tx1"/>
                          </a:solidFill>
                        </a:rPr>
                        <a:t>)</a:t>
                      </a:r>
                      <a:endParaRPr lang="da-DK" sz="600" dirty="0">
                        <a:solidFill>
                          <a:schemeClr val="tx1"/>
                        </a:solidFill>
                      </a:endParaRPr>
                    </a:p>
                  </a:txBody>
                  <a:tcPr marL="72000" marR="72000" marT="0" marB="0">
                    <a:noFill/>
                  </a:tcPr>
                </a:tc>
                <a:tc>
                  <a:txBody>
                    <a:bodyPr/>
                    <a:lstStyle/>
                    <a:p>
                      <a:r>
                        <a:rPr lang="da-DK" sz="600" dirty="0">
                          <a:solidFill>
                            <a:schemeClr val="tx1"/>
                          </a:solidFill>
                        </a:rPr>
                        <a:t>Separate unit, </a:t>
                      </a:r>
                      <a:r>
                        <a:rPr lang="da-DK" sz="600" dirty="0" err="1">
                          <a:solidFill>
                            <a:schemeClr val="tx1"/>
                          </a:solidFill>
                        </a:rPr>
                        <a:t>owned</a:t>
                      </a:r>
                      <a:r>
                        <a:rPr lang="da-DK" sz="600" dirty="0">
                          <a:solidFill>
                            <a:schemeClr val="tx1"/>
                          </a:solidFill>
                        </a:rPr>
                        <a:t> by </a:t>
                      </a:r>
                      <a:r>
                        <a:rPr lang="da-DK" sz="600" dirty="0" err="1">
                          <a:solidFill>
                            <a:schemeClr val="tx1"/>
                          </a:solidFill>
                        </a:rPr>
                        <a:t>Government</a:t>
                      </a:r>
                      <a:r>
                        <a:rPr lang="da-DK" sz="600" dirty="0">
                          <a:solidFill>
                            <a:schemeClr val="tx1"/>
                          </a:solidFill>
                        </a:rPr>
                        <a:t>, the </a:t>
                      </a:r>
                      <a:r>
                        <a:rPr lang="da-DK" sz="600" dirty="0" err="1">
                          <a:solidFill>
                            <a:schemeClr val="tx1"/>
                          </a:solidFill>
                        </a:rPr>
                        <a:t>municipalities</a:t>
                      </a:r>
                      <a:r>
                        <a:rPr lang="da-DK" sz="600" dirty="0">
                          <a:solidFill>
                            <a:schemeClr val="tx1"/>
                          </a:solidFill>
                        </a:rPr>
                        <a:t>, and the regions</a:t>
                      </a:r>
                    </a:p>
                  </a:txBody>
                  <a:tcPr marL="72000" marR="72000" marT="0" marB="0">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aseline="0" dirty="0">
                          <a:solidFill>
                            <a:schemeClr val="tx1"/>
                          </a:solidFill>
                        </a:rPr>
                        <a:t>Has expertise and ideas on how to design the water data space and its ecosystem. Focus on data related to the environment, so far only little focus on data owned/produced by utility companies (e.g. emission data in PULS, but not data from “inside the fence”). </a:t>
                      </a:r>
                      <a:r>
                        <a:rPr lang="da-DK" sz="600" dirty="0">
                          <a:solidFill>
                            <a:schemeClr val="tx1"/>
                          </a:solidFill>
                        </a:rPr>
                        <a:t>Can</a:t>
                      </a:r>
                      <a:r>
                        <a:rPr lang="da-DK" sz="600" baseline="0" dirty="0">
                          <a:solidFill>
                            <a:schemeClr val="tx1"/>
                          </a:solidFill>
                        </a:rPr>
                        <a:t> </a:t>
                      </a:r>
                      <a:r>
                        <a:rPr lang="da-DK" sz="600" baseline="0" dirty="0" err="1">
                          <a:solidFill>
                            <a:schemeClr val="tx1"/>
                          </a:solidFill>
                        </a:rPr>
                        <a:t>be</a:t>
                      </a:r>
                      <a:r>
                        <a:rPr lang="da-DK" sz="600" baseline="0" dirty="0">
                          <a:solidFill>
                            <a:schemeClr val="tx1"/>
                          </a:solidFill>
                        </a:rPr>
                        <a:t> </a:t>
                      </a:r>
                      <a:r>
                        <a:rPr lang="da-DK" sz="600" baseline="0" dirty="0" err="1">
                          <a:solidFill>
                            <a:schemeClr val="tx1"/>
                          </a:solidFill>
                        </a:rPr>
                        <a:t>considered</a:t>
                      </a:r>
                      <a:r>
                        <a:rPr lang="da-DK" sz="600" baseline="0" dirty="0">
                          <a:solidFill>
                            <a:schemeClr val="tx1"/>
                          </a:solidFill>
                        </a:rPr>
                        <a:t> a ”</a:t>
                      </a:r>
                      <a:r>
                        <a:rPr lang="da-DK" sz="600" baseline="0" dirty="0" err="1">
                          <a:solidFill>
                            <a:schemeClr val="tx1"/>
                          </a:solidFill>
                        </a:rPr>
                        <a:t>supplier</a:t>
                      </a:r>
                      <a:r>
                        <a:rPr lang="da-DK" sz="600" baseline="0" dirty="0">
                          <a:solidFill>
                            <a:schemeClr val="tx1"/>
                          </a:solidFill>
                        </a:rPr>
                        <a:t> of data” </a:t>
                      </a:r>
                      <a:r>
                        <a:rPr lang="da-DK" sz="600" baseline="0" dirty="0" err="1">
                          <a:solidFill>
                            <a:schemeClr val="tx1"/>
                          </a:solidFill>
                        </a:rPr>
                        <a:t>much</a:t>
                      </a:r>
                      <a:r>
                        <a:rPr lang="da-DK" sz="600" baseline="0" dirty="0">
                          <a:solidFill>
                            <a:schemeClr val="tx1"/>
                          </a:solidFill>
                        </a:rPr>
                        <a:t> in the same </a:t>
                      </a:r>
                      <a:r>
                        <a:rPr lang="da-DK" sz="600" baseline="0" dirty="0" err="1">
                          <a:solidFill>
                            <a:schemeClr val="tx1"/>
                          </a:solidFill>
                        </a:rPr>
                        <a:t>way</a:t>
                      </a:r>
                      <a:r>
                        <a:rPr lang="da-DK" sz="600" baseline="0" dirty="0">
                          <a:solidFill>
                            <a:schemeClr val="tx1"/>
                          </a:solidFill>
                        </a:rPr>
                        <a:t> as </a:t>
                      </a:r>
                      <a:r>
                        <a:rPr lang="da-DK" sz="600" baseline="0" dirty="0" err="1">
                          <a:solidFill>
                            <a:schemeClr val="tx1"/>
                          </a:solidFill>
                        </a:rPr>
                        <a:t>other</a:t>
                      </a:r>
                      <a:r>
                        <a:rPr lang="da-DK" sz="600" baseline="0" dirty="0">
                          <a:solidFill>
                            <a:schemeClr val="tx1"/>
                          </a:solidFill>
                        </a:rPr>
                        <a:t> </a:t>
                      </a:r>
                      <a:r>
                        <a:rPr lang="da-DK" sz="600" baseline="0" dirty="0" err="1">
                          <a:solidFill>
                            <a:schemeClr val="tx1"/>
                          </a:solidFill>
                        </a:rPr>
                        <a:t>publically</a:t>
                      </a:r>
                      <a:r>
                        <a:rPr lang="da-DK" sz="600" baseline="0" dirty="0">
                          <a:solidFill>
                            <a:schemeClr val="tx1"/>
                          </a:solidFill>
                        </a:rPr>
                        <a:t> </a:t>
                      </a:r>
                      <a:r>
                        <a:rPr lang="da-DK" sz="600" baseline="0" dirty="0" err="1">
                          <a:solidFill>
                            <a:schemeClr val="tx1"/>
                          </a:solidFill>
                        </a:rPr>
                        <a:t>owned</a:t>
                      </a:r>
                      <a:r>
                        <a:rPr lang="da-DK" sz="600" baseline="0" dirty="0">
                          <a:solidFill>
                            <a:schemeClr val="tx1"/>
                          </a:solidFill>
                        </a:rPr>
                        <a:t> </a:t>
                      </a:r>
                      <a:r>
                        <a:rPr lang="da-DK" sz="600" baseline="0" dirty="0" err="1">
                          <a:solidFill>
                            <a:schemeClr val="tx1"/>
                          </a:solidFill>
                        </a:rPr>
                        <a:t>utility</a:t>
                      </a:r>
                      <a:r>
                        <a:rPr lang="da-DK" sz="600" baseline="0" dirty="0">
                          <a:solidFill>
                            <a:schemeClr val="tx1"/>
                          </a:solidFill>
                        </a:rPr>
                        <a:t> </a:t>
                      </a:r>
                      <a:r>
                        <a:rPr lang="da-DK" sz="600" baseline="0" dirty="0" err="1">
                          <a:solidFill>
                            <a:schemeClr val="tx1"/>
                          </a:solidFill>
                        </a:rPr>
                        <a:t>companies</a:t>
                      </a:r>
                      <a:r>
                        <a:rPr lang="da-DK" sz="600" baseline="0" dirty="0">
                          <a:solidFill>
                            <a:schemeClr val="tx1"/>
                          </a:solidFill>
                        </a:rPr>
                        <a:t> </a:t>
                      </a:r>
                      <a:r>
                        <a:rPr lang="da-DK" sz="600" baseline="0" dirty="0" err="1">
                          <a:solidFill>
                            <a:schemeClr val="tx1"/>
                          </a:solidFill>
                        </a:rPr>
                        <a:t>are</a:t>
                      </a:r>
                      <a:r>
                        <a:rPr lang="da-DK" sz="600" baseline="0" dirty="0">
                          <a:solidFill>
                            <a:schemeClr val="tx1"/>
                          </a:solidFill>
                        </a:rPr>
                        <a:t> </a:t>
                      </a:r>
                      <a:r>
                        <a:rPr lang="da-DK" sz="600" baseline="0" dirty="0" err="1">
                          <a:solidFill>
                            <a:schemeClr val="tx1"/>
                          </a:solidFill>
                        </a:rPr>
                        <a:t>suppliers</a:t>
                      </a:r>
                      <a:r>
                        <a:rPr lang="da-DK" sz="600" baseline="0" dirty="0">
                          <a:solidFill>
                            <a:schemeClr val="tx1"/>
                          </a:solidFill>
                        </a:rPr>
                        <a:t> of services or </a:t>
                      </a:r>
                      <a:r>
                        <a:rPr lang="da-DK" sz="600" baseline="0" dirty="0" err="1">
                          <a:solidFill>
                            <a:schemeClr val="tx1"/>
                          </a:solidFill>
                        </a:rPr>
                        <a:t>goods</a:t>
                      </a:r>
                      <a:r>
                        <a:rPr lang="da-DK" sz="600" baseline="0" dirty="0">
                          <a:solidFill>
                            <a:schemeClr val="tx1"/>
                          </a:solidFill>
                        </a:rPr>
                        <a:t>. Can </a:t>
                      </a:r>
                      <a:r>
                        <a:rPr lang="da-DK" sz="600" baseline="0" dirty="0" err="1">
                          <a:solidFill>
                            <a:schemeClr val="tx1"/>
                          </a:solidFill>
                        </a:rPr>
                        <a:t>be</a:t>
                      </a:r>
                      <a:r>
                        <a:rPr lang="da-DK" sz="600" baseline="0" dirty="0">
                          <a:solidFill>
                            <a:schemeClr val="tx1"/>
                          </a:solidFill>
                        </a:rPr>
                        <a:t> </a:t>
                      </a:r>
                      <a:r>
                        <a:rPr lang="da-DK" sz="600" baseline="0" dirty="0" err="1">
                          <a:solidFill>
                            <a:schemeClr val="tx1"/>
                          </a:solidFill>
                        </a:rPr>
                        <a:t>considered</a:t>
                      </a:r>
                      <a:r>
                        <a:rPr lang="da-DK" sz="600" baseline="0" dirty="0">
                          <a:solidFill>
                            <a:schemeClr val="tx1"/>
                          </a:solidFill>
                        </a:rPr>
                        <a:t> a ”data </a:t>
                      </a:r>
                      <a:r>
                        <a:rPr lang="da-DK" sz="600" baseline="0" dirty="0" err="1">
                          <a:solidFill>
                            <a:schemeClr val="tx1"/>
                          </a:solidFill>
                        </a:rPr>
                        <a:t>dissemination</a:t>
                      </a:r>
                      <a:r>
                        <a:rPr lang="da-DK" sz="600" baseline="0" dirty="0">
                          <a:solidFill>
                            <a:schemeClr val="tx1"/>
                          </a:solidFill>
                        </a:rPr>
                        <a:t> service” </a:t>
                      </a:r>
                      <a:r>
                        <a:rPr lang="da-DK" sz="600" baseline="0" dirty="0" err="1">
                          <a:solidFill>
                            <a:schemeClr val="tx1"/>
                          </a:solidFill>
                        </a:rPr>
                        <a:t>within</a:t>
                      </a:r>
                      <a:r>
                        <a:rPr lang="da-DK" sz="600" baseline="0" dirty="0">
                          <a:solidFill>
                            <a:schemeClr val="tx1"/>
                          </a:solidFill>
                        </a:rPr>
                        <a:t> an </a:t>
                      </a:r>
                      <a:r>
                        <a:rPr lang="da-DK" sz="600" baseline="0" dirty="0" err="1">
                          <a:solidFill>
                            <a:schemeClr val="tx1"/>
                          </a:solidFill>
                        </a:rPr>
                        <a:t>environmental</a:t>
                      </a:r>
                      <a:r>
                        <a:rPr lang="da-DK" sz="600" baseline="0" dirty="0">
                          <a:solidFill>
                            <a:schemeClr val="tx1"/>
                          </a:solidFill>
                        </a:rPr>
                        <a:t> data </a:t>
                      </a:r>
                      <a:r>
                        <a:rPr lang="da-DK" sz="600" baseline="0" dirty="0" err="1">
                          <a:solidFill>
                            <a:schemeClr val="tx1"/>
                          </a:solidFill>
                        </a:rPr>
                        <a:t>space</a:t>
                      </a:r>
                      <a:r>
                        <a:rPr lang="da-DK" sz="600" baseline="0" dirty="0">
                          <a:solidFill>
                            <a:schemeClr val="tx1"/>
                          </a:solidFill>
                        </a:rPr>
                        <a:t> </a:t>
                      </a:r>
                      <a:r>
                        <a:rPr lang="da-DK" sz="600" baseline="0" dirty="0" err="1">
                          <a:solidFill>
                            <a:schemeClr val="tx1"/>
                          </a:solidFill>
                        </a:rPr>
                        <a:t>ecosystyem</a:t>
                      </a:r>
                      <a:r>
                        <a:rPr lang="da-DK" sz="600" baseline="0" dirty="0">
                          <a:solidFill>
                            <a:schemeClr val="tx1"/>
                          </a:solidFill>
                        </a:rPr>
                        <a:t> (</a:t>
                      </a:r>
                      <a:r>
                        <a:rPr lang="da-DK" sz="600" baseline="0" dirty="0" err="1">
                          <a:solidFill>
                            <a:schemeClr val="tx1"/>
                          </a:solidFill>
                        </a:rPr>
                        <a:t>Fig</a:t>
                      </a:r>
                      <a:r>
                        <a:rPr lang="da-DK" sz="600" baseline="0" dirty="0">
                          <a:solidFill>
                            <a:schemeClr val="tx1"/>
                          </a:solidFill>
                        </a:rPr>
                        <a:t> 5 in the Alexandra </a:t>
                      </a:r>
                      <a:r>
                        <a:rPr lang="da-DK" sz="600" baseline="0" dirty="0" err="1">
                          <a:solidFill>
                            <a:schemeClr val="tx1"/>
                          </a:solidFill>
                        </a:rPr>
                        <a:t>report</a:t>
                      </a:r>
                      <a:r>
                        <a:rPr lang="da-DK" sz="600" baseline="0" dirty="0">
                          <a:solidFill>
                            <a:schemeClr val="tx1"/>
                          </a:solidFill>
                        </a:rPr>
                        <a:t> from Jan 2023).</a:t>
                      </a:r>
                      <a:endParaRPr lang="en-US" sz="600" dirty="0">
                        <a:solidFill>
                          <a:schemeClr val="tx1"/>
                        </a:solidFill>
                      </a:endParaRPr>
                    </a:p>
                  </a:txBody>
                  <a:tcPr marL="72000" marR="72000" marT="0" marB="0">
                    <a:noFill/>
                  </a:tcPr>
                </a:tc>
                <a:extLst>
                  <a:ext uri="{0D108BD9-81ED-4DB2-BD59-A6C34878D82A}">
                    <a16:rowId xmlns:a16="http://schemas.microsoft.com/office/drawing/2014/main" val="3913780547"/>
                  </a:ext>
                </a:extLst>
              </a:tr>
              <a:tr h="166123">
                <a:tc rowSpan="2">
                  <a:txBody>
                    <a:bodyPr/>
                    <a:lstStyle/>
                    <a:p>
                      <a:r>
                        <a:rPr lang="da-DK" sz="600" strike="noStrike" dirty="0">
                          <a:solidFill>
                            <a:schemeClr val="tx1"/>
                          </a:solidFill>
                        </a:rPr>
                        <a:t>Users/ </a:t>
                      </a:r>
                      <a:r>
                        <a:rPr lang="da-DK" sz="600" strike="noStrike" dirty="0" err="1">
                          <a:solidFill>
                            <a:schemeClr val="tx1"/>
                          </a:solidFill>
                        </a:rPr>
                        <a:t>citizens</a:t>
                      </a:r>
                      <a:endParaRPr lang="da-DK" sz="600" strike="noStrike" dirty="0">
                        <a:solidFill>
                          <a:schemeClr val="tx1"/>
                        </a:solidFill>
                      </a:endParaRPr>
                    </a:p>
                  </a:txBody>
                  <a:tcPr marL="72000" marR="72000" marT="0" marB="0">
                    <a:solidFill>
                      <a:schemeClr val="bg1">
                        <a:lumMod val="85000"/>
                      </a:schemeClr>
                    </a:solidFill>
                  </a:tcPr>
                </a:tc>
                <a:tc>
                  <a:txBody>
                    <a:bodyPr/>
                    <a:lstStyle/>
                    <a:p>
                      <a:r>
                        <a:rPr lang="en-US" sz="600" strike="noStrike" dirty="0">
                          <a:solidFill>
                            <a:schemeClr val="tx1"/>
                          </a:solidFill>
                        </a:rPr>
                        <a:t>Water costumers and citizens</a:t>
                      </a:r>
                      <a:endParaRPr lang="da-DK" sz="600" strike="noStrike" dirty="0">
                        <a:solidFill>
                          <a:schemeClr val="tx1"/>
                        </a:solidFill>
                      </a:endParaRPr>
                    </a:p>
                  </a:txBody>
                  <a:tcPr marL="72000" marR="72000" marT="0" marB="0">
                    <a:noFill/>
                  </a:tcPr>
                </a:tc>
                <a:tc>
                  <a:txBody>
                    <a:bodyPr/>
                    <a:lstStyle/>
                    <a:p>
                      <a:r>
                        <a:rPr lang="da-DK" sz="600" strike="noStrike" dirty="0">
                          <a:solidFill>
                            <a:schemeClr val="tx1"/>
                          </a:solidFill>
                        </a:rPr>
                        <a:t>…</a:t>
                      </a:r>
                    </a:p>
                  </a:txBody>
                  <a:tcPr marL="72000" marR="72000" marT="0" marB="0">
                    <a:noFill/>
                  </a:tcPr>
                </a:tc>
                <a:tc>
                  <a:txBody>
                    <a:bodyPr/>
                    <a:lstStyle/>
                    <a:p>
                      <a:r>
                        <a:rPr lang="en-US" sz="600" strike="noStrike" dirty="0">
                          <a:solidFill>
                            <a:schemeClr val="tx1"/>
                          </a:solidFill>
                        </a:rPr>
                        <a:t>They need to be kept informed as they</a:t>
                      </a:r>
                      <a:r>
                        <a:rPr lang="en-US" sz="600" strike="noStrike" baseline="0" dirty="0">
                          <a:solidFill>
                            <a:schemeClr val="tx1"/>
                          </a:solidFill>
                        </a:rPr>
                        <a:t> might both become data producers and/or users </a:t>
                      </a:r>
                      <a:endParaRPr lang="da-DK" sz="600" strike="noStrike" dirty="0">
                        <a:solidFill>
                          <a:schemeClr val="tx1"/>
                        </a:solidFill>
                      </a:endParaRPr>
                    </a:p>
                  </a:txBody>
                  <a:tcPr marL="72000" marR="72000" marT="0" marB="0">
                    <a:noFill/>
                  </a:tcPr>
                </a:tc>
                <a:extLst>
                  <a:ext uri="{0D108BD9-81ED-4DB2-BD59-A6C34878D82A}">
                    <a16:rowId xmlns:a16="http://schemas.microsoft.com/office/drawing/2014/main" val="4087162010"/>
                  </a:ext>
                </a:extLst>
              </a:tr>
              <a:tr h="145501">
                <a:tc vMerge="1">
                  <a:txBody>
                    <a:bodyPr/>
                    <a:lstStyle/>
                    <a:p>
                      <a:endParaRPr lang="da-DK" sz="800" strike="noStrike" dirty="0">
                        <a:solidFill>
                          <a:schemeClr val="tx1"/>
                        </a:solidFill>
                      </a:endParaRPr>
                    </a:p>
                  </a:txBody>
                  <a:tcPr marL="72000" marR="72000" marT="0" marB="0">
                    <a:solidFill>
                      <a:schemeClr val="bg1"/>
                    </a:solidFill>
                  </a:tcPr>
                </a:tc>
                <a:tc>
                  <a:txBody>
                    <a:bodyPr/>
                    <a:lstStyle/>
                    <a:p>
                      <a:r>
                        <a:rPr lang="en-US" sz="600" strike="noStrike" dirty="0">
                          <a:solidFill>
                            <a:schemeClr val="tx1"/>
                          </a:solidFill>
                        </a:rPr>
                        <a:t>Students</a:t>
                      </a:r>
                      <a:r>
                        <a:rPr lang="en-US" sz="600" strike="noStrike" baseline="0" dirty="0">
                          <a:solidFill>
                            <a:schemeClr val="tx1"/>
                          </a:solidFill>
                        </a:rPr>
                        <a:t> and Entrepreneurs </a:t>
                      </a:r>
                      <a:endParaRPr lang="da-DK" sz="600" strike="noStrike" dirty="0">
                        <a:solidFill>
                          <a:schemeClr val="tx1"/>
                        </a:solidFill>
                      </a:endParaRPr>
                    </a:p>
                  </a:txBody>
                  <a:tcPr marL="72000" marR="72000" marT="0" marB="0">
                    <a:noFill/>
                  </a:tcPr>
                </a:tc>
                <a:tc>
                  <a:txBody>
                    <a:bodyPr/>
                    <a:lstStyle/>
                    <a:p>
                      <a:r>
                        <a:rPr lang="da-DK" sz="600" strike="noStrike" dirty="0">
                          <a:solidFill>
                            <a:schemeClr val="tx1"/>
                          </a:solidFill>
                        </a:rPr>
                        <a:t>…</a:t>
                      </a:r>
                    </a:p>
                  </a:txBody>
                  <a:tcPr marL="72000" marR="72000" marT="0" marB="0">
                    <a:noFill/>
                  </a:tcPr>
                </a:tc>
                <a:tc>
                  <a:txBody>
                    <a:bodyPr/>
                    <a:lstStyle/>
                    <a:p>
                      <a:r>
                        <a:rPr lang="en-US" sz="600" strike="noStrike" dirty="0">
                          <a:solidFill>
                            <a:schemeClr val="tx1"/>
                          </a:solidFill>
                        </a:rPr>
                        <a:t>They are an important source of new ideas and potential data</a:t>
                      </a:r>
                      <a:r>
                        <a:rPr lang="en-US" sz="600" strike="noStrike" baseline="0" dirty="0">
                          <a:solidFill>
                            <a:schemeClr val="tx1"/>
                          </a:solidFill>
                        </a:rPr>
                        <a:t> producers and/or users</a:t>
                      </a:r>
                      <a:endParaRPr lang="da-DK" sz="600" strike="noStrike" dirty="0">
                        <a:solidFill>
                          <a:schemeClr val="tx1"/>
                        </a:solidFill>
                      </a:endParaRPr>
                    </a:p>
                  </a:txBody>
                  <a:tcPr marL="72000" marR="72000" marT="0" marB="0">
                    <a:noFill/>
                  </a:tcPr>
                </a:tc>
                <a:extLst>
                  <a:ext uri="{0D108BD9-81ED-4DB2-BD59-A6C34878D82A}">
                    <a16:rowId xmlns:a16="http://schemas.microsoft.com/office/drawing/2014/main" val="3064982309"/>
                  </a:ext>
                </a:extLst>
              </a:tr>
              <a:tr h="215560">
                <a:tc rowSpan="8">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600" dirty="0">
                          <a:solidFill>
                            <a:schemeClr val="tx1"/>
                          </a:solidFill>
                        </a:rPr>
                        <a:t>Public </a:t>
                      </a:r>
                      <a:r>
                        <a:rPr lang="da-DK" sz="600" dirty="0" err="1">
                          <a:solidFill>
                            <a:schemeClr val="tx1"/>
                          </a:solidFill>
                        </a:rPr>
                        <a:t>authorities</a:t>
                      </a:r>
                      <a:r>
                        <a:rPr lang="da-DK" sz="600" dirty="0">
                          <a:solidFill>
                            <a:schemeClr val="tx1"/>
                          </a:solidFill>
                        </a:rPr>
                        <a:t> (</a:t>
                      </a:r>
                      <a:r>
                        <a:rPr lang="da-DK" sz="600" dirty="0" err="1">
                          <a:solidFill>
                            <a:schemeClr val="tx1"/>
                          </a:solidFill>
                        </a:rPr>
                        <a:t>nationally</a:t>
                      </a:r>
                      <a:r>
                        <a:rPr lang="da-DK" sz="600" dirty="0">
                          <a:solidFill>
                            <a:schemeClr val="tx1"/>
                          </a:solidFill>
                        </a:rPr>
                        <a:t>)</a:t>
                      </a:r>
                    </a:p>
                  </a:txBody>
                  <a:tcPr marL="72000" marR="72000" marT="0" marB="0">
                    <a:solidFill>
                      <a:schemeClr val="bg1">
                        <a:lumMod val="85000"/>
                      </a:schemeClr>
                    </a:solidFill>
                  </a:tcPr>
                </a:tc>
                <a:tc>
                  <a:txBody>
                    <a:bodyPr/>
                    <a:lstStyle/>
                    <a:p>
                      <a:r>
                        <a:rPr lang="en-US" sz="600" dirty="0">
                          <a:solidFill>
                            <a:schemeClr val="tx1"/>
                          </a:solidFill>
                        </a:rPr>
                        <a:t>Municipalities</a:t>
                      </a:r>
                      <a:r>
                        <a:rPr lang="en-US" sz="600" dirty="0">
                          <a:solidFill>
                            <a:srgbClr val="FF0000"/>
                          </a:solidFill>
                        </a:rPr>
                        <a:t> (98 in total)</a:t>
                      </a:r>
                      <a:endParaRPr lang="da-DK" sz="600" dirty="0">
                        <a:solidFill>
                          <a:srgbClr val="FF0000"/>
                        </a:solidFill>
                      </a:endParaRPr>
                    </a:p>
                  </a:txBody>
                  <a:tcPr marL="72000" marR="72000" marT="0" marB="0">
                    <a:noFill/>
                  </a:tcPr>
                </a:tc>
                <a:tc>
                  <a:txBody>
                    <a:bodyPr/>
                    <a:lstStyle/>
                    <a:p>
                      <a:r>
                        <a:rPr lang="da-DK" sz="600" dirty="0">
                          <a:solidFill>
                            <a:srgbClr val="FF0000"/>
                          </a:solidFill>
                        </a:rPr>
                        <a:t>The 98 </a:t>
                      </a:r>
                      <a:r>
                        <a:rPr lang="da-DK" sz="600" dirty="0" err="1">
                          <a:solidFill>
                            <a:srgbClr val="FF0000"/>
                          </a:solidFill>
                        </a:rPr>
                        <a:t>municipalities</a:t>
                      </a:r>
                      <a:r>
                        <a:rPr lang="da-DK" sz="600" baseline="0" dirty="0">
                          <a:solidFill>
                            <a:srgbClr val="FF0000"/>
                          </a:solidFill>
                        </a:rPr>
                        <a:t> </a:t>
                      </a:r>
                      <a:r>
                        <a:rPr lang="da-DK" sz="600" baseline="0" dirty="0" err="1">
                          <a:solidFill>
                            <a:srgbClr val="FF0000"/>
                          </a:solidFill>
                        </a:rPr>
                        <a:t>are</a:t>
                      </a:r>
                      <a:r>
                        <a:rPr lang="da-DK" sz="600" baseline="0" dirty="0">
                          <a:solidFill>
                            <a:srgbClr val="FF0000"/>
                          </a:solidFill>
                        </a:rPr>
                        <a:t> </a:t>
                      </a:r>
                      <a:r>
                        <a:rPr lang="da-DK" sz="600" dirty="0" err="1">
                          <a:solidFill>
                            <a:srgbClr val="FF0000"/>
                          </a:solidFill>
                        </a:rPr>
                        <a:t>local</a:t>
                      </a:r>
                      <a:r>
                        <a:rPr lang="da-DK" sz="600" dirty="0">
                          <a:solidFill>
                            <a:srgbClr val="FF0000"/>
                          </a:solidFill>
                        </a:rPr>
                        <a:t> </a:t>
                      </a:r>
                      <a:r>
                        <a:rPr lang="da-DK" sz="600" dirty="0" err="1">
                          <a:solidFill>
                            <a:srgbClr val="FF0000"/>
                          </a:solidFill>
                        </a:rPr>
                        <a:t>environmental</a:t>
                      </a:r>
                      <a:r>
                        <a:rPr lang="da-DK" sz="600" dirty="0">
                          <a:solidFill>
                            <a:srgbClr val="FF0000"/>
                          </a:solidFill>
                        </a:rPr>
                        <a:t> </a:t>
                      </a:r>
                      <a:r>
                        <a:rPr lang="da-DK" sz="600" dirty="0" err="1">
                          <a:solidFill>
                            <a:srgbClr val="FF0000"/>
                          </a:solidFill>
                        </a:rPr>
                        <a:t>authorities</a:t>
                      </a:r>
                      <a:endParaRPr lang="da-DK" sz="600" dirty="0">
                        <a:solidFill>
                          <a:srgbClr val="FF0000"/>
                        </a:solidFill>
                      </a:endParaRPr>
                    </a:p>
                  </a:txBody>
                  <a:tcPr marL="72000" marR="72000" marT="0" marB="0">
                    <a:noFill/>
                  </a:tcPr>
                </a:tc>
                <a:tc>
                  <a:txBody>
                    <a:bodyPr/>
                    <a:lstStyle/>
                    <a:p>
                      <a:r>
                        <a:rPr lang="en-US" sz="600" dirty="0">
                          <a:solidFill>
                            <a:srgbClr val="FF0000"/>
                          </a:solidFill>
                        </a:rPr>
                        <a:t>Owners of the (water) utility companies. </a:t>
                      </a:r>
                      <a:r>
                        <a:rPr lang="en-US" sz="600" dirty="0">
                          <a:solidFill>
                            <a:schemeClr val="tx1"/>
                          </a:solidFill>
                        </a:rPr>
                        <a:t>Have important influence on </a:t>
                      </a:r>
                      <a:r>
                        <a:rPr lang="en-US" sz="600" dirty="0">
                          <a:solidFill>
                            <a:srgbClr val="FF0000"/>
                          </a:solidFill>
                        </a:rPr>
                        <a:t>the</a:t>
                      </a:r>
                      <a:r>
                        <a:rPr lang="en-US" sz="600" baseline="0" dirty="0">
                          <a:solidFill>
                            <a:srgbClr val="FF0000"/>
                          </a:solidFill>
                        </a:rPr>
                        <a:t> local environmental targets and </a:t>
                      </a:r>
                      <a:r>
                        <a:rPr lang="en-US" sz="600" baseline="0" dirty="0">
                          <a:solidFill>
                            <a:schemeClr val="tx1"/>
                          </a:solidFill>
                        </a:rPr>
                        <a:t>the service goals the water utilities have to fulfill, through the board of the utilities. Influence on spatial and industrial planning at municipal level. Aarhus Municipality and </a:t>
                      </a:r>
                      <a:r>
                        <a:rPr lang="en-US" sz="600" baseline="0" dirty="0" err="1">
                          <a:solidFill>
                            <a:schemeClr val="tx1"/>
                          </a:solidFill>
                        </a:rPr>
                        <a:t>Lemvig</a:t>
                      </a:r>
                      <a:r>
                        <a:rPr lang="en-US" sz="600" baseline="0" dirty="0">
                          <a:solidFill>
                            <a:schemeClr val="tx1"/>
                          </a:solidFill>
                        </a:rPr>
                        <a:t> Municipality are both core actors in the </a:t>
                      </a:r>
                      <a:r>
                        <a:rPr lang="en-US" sz="600" baseline="0" dirty="0" err="1">
                          <a:solidFill>
                            <a:schemeClr val="tx1"/>
                          </a:solidFill>
                        </a:rPr>
                        <a:t>Erhvervsfyrtårn</a:t>
                      </a:r>
                      <a:r>
                        <a:rPr lang="en-US" sz="600" baseline="0" dirty="0">
                          <a:solidFill>
                            <a:schemeClr val="tx1"/>
                          </a:solidFill>
                        </a:rPr>
                        <a:t> for </a:t>
                      </a:r>
                      <a:r>
                        <a:rPr lang="en-US" sz="600" baseline="0" dirty="0" err="1">
                          <a:solidFill>
                            <a:schemeClr val="tx1"/>
                          </a:solidFill>
                        </a:rPr>
                        <a:t>vandteknologi</a:t>
                      </a:r>
                      <a:r>
                        <a:rPr lang="en-US" sz="600" baseline="0" dirty="0">
                          <a:solidFill>
                            <a:schemeClr val="tx1"/>
                          </a:solidFill>
                        </a:rPr>
                        <a:t> project. </a:t>
                      </a:r>
                      <a:r>
                        <a:rPr lang="en-US" sz="600" baseline="0" dirty="0">
                          <a:solidFill>
                            <a:srgbClr val="FF0000"/>
                          </a:solidFill>
                        </a:rPr>
                        <a:t>Several are actively involved with </a:t>
                      </a:r>
                      <a:r>
                        <a:rPr lang="en-US" sz="600" baseline="0" dirty="0" err="1">
                          <a:solidFill>
                            <a:srgbClr val="FF0000"/>
                          </a:solidFill>
                        </a:rPr>
                        <a:t>Miljøportalen</a:t>
                      </a:r>
                      <a:r>
                        <a:rPr lang="en-US" sz="600" baseline="0" dirty="0">
                          <a:solidFill>
                            <a:srgbClr val="FF0000"/>
                          </a:solidFill>
                        </a:rPr>
                        <a:t>.</a:t>
                      </a:r>
                      <a:endParaRPr lang="da-DK" sz="600" dirty="0">
                        <a:solidFill>
                          <a:srgbClr val="FF0000"/>
                        </a:solidFill>
                      </a:endParaRPr>
                    </a:p>
                  </a:txBody>
                  <a:tcPr marL="72000" marR="72000" marT="0" marB="0">
                    <a:noFill/>
                  </a:tcPr>
                </a:tc>
                <a:extLst>
                  <a:ext uri="{0D108BD9-81ED-4DB2-BD59-A6C34878D82A}">
                    <a16:rowId xmlns:a16="http://schemas.microsoft.com/office/drawing/2014/main" val="382617181"/>
                  </a:ext>
                </a:extLst>
              </a:tr>
              <a:tr h="106107">
                <a:tc vMerge="1">
                  <a:txBody>
                    <a:bodyPr/>
                    <a:lstStyle/>
                    <a:p>
                      <a:endParaRPr lang="da-DK" sz="800" strike="noStrike" dirty="0">
                        <a:solidFill>
                          <a:schemeClr val="tx1"/>
                        </a:solidFill>
                      </a:endParaRPr>
                    </a:p>
                  </a:txBody>
                  <a:tcPr marL="72000" marR="72000" marT="0" marB="0">
                    <a:solidFill>
                      <a:schemeClr val="bg1"/>
                    </a:solidFill>
                  </a:tcPr>
                </a:tc>
                <a:tc>
                  <a:txBody>
                    <a:bodyPr/>
                    <a:lstStyle/>
                    <a:p>
                      <a:r>
                        <a:rPr lang="en-US" sz="600" strike="noStrike" dirty="0">
                          <a:solidFill>
                            <a:schemeClr val="tx1"/>
                          </a:solidFill>
                        </a:rPr>
                        <a:t>Regions </a:t>
                      </a:r>
                      <a:r>
                        <a:rPr lang="en-US" sz="600" strike="noStrike" dirty="0">
                          <a:solidFill>
                            <a:srgbClr val="FF0000"/>
                          </a:solidFill>
                        </a:rPr>
                        <a:t>(5 in total)</a:t>
                      </a:r>
                      <a:r>
                        <a:rPr lang="en-US" sz="600" strike="noStrike" baseline="0" dirty="0">
                          <a:solidFill>
                            <a:srgbClr val="FF0000"/>
                          </a:solidFill>
                        </a:rPr>
                        <a:t> </a:t>
                      </a:r>
                      <a:endParaRPr lang="da-DK" sz="600" strike="noStrike" dirty="0">
                        <a:solidFill>
                          <a:srgbClr val="FF0000"/>
                        </a:solidFill>
                      </a:endParaRPr>
                    </a:p>
                  </a:txBody>
                  <a:tcPr marL="72000" marR="72000" marT="0" marB="0">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600" strike="noStrike" dirty="0">
                          <a:solidFill>
                            <a:srgbClr val="FF0000"/>
                          </a:solidFill>
                        </a:rPr>
                        <a:t>Midtjylland, Nordjylland, Syddanmark, Hovedstaden, Sjælland</a:t>
                      </a:r>
                    </a:p>
                  </a:txBody>
                  <a:tcPr marL="72000" marR="72000" marT="0" marB="0">
                    <a:noFill/>
                  </a:tcPr>
                </a:tc>
                <a:tc>
                  <a:txBody>
                    <a:bodyPr/>
                    <a:lstStyle/>
                    <a:p>
                      <a:r>
                        <a:rPr lang="en-US" sz="600" strike="noStrike" dirty="0">
                          <a:solidFill>
                            <a:schemeClr val="tx1"/>
                          </a:solidFill>
                        </a:rPr>
                        <a:t>Role</a:t>
                      </a:r>
                      <a:r>
                        <a:rPr lang="en-US" sz="600" strike="noStrike" baseline="0" dirty="0">
                          <a:solidFill>
                            <a:schemeClr val="tx1"/>
                          </a:solidFill>
                        </a:rPr>
                        <a:t> and relation to this project is not clear. The </a:t>
                      </a:r>
                      <a:r>
                        <a:rPr lang="en-US" sz="600" strike="noStrike" baseline="0" dirty="0" err="1">
                          <a:solidFill>
                            <a:schemeClr val="tx1"/>
                          </a:solidFill>
                        </a:rPr>
                        <a:t>Fyrtårn</a:t>
                      </a:r>
                      <a:r>
                        <a:rPr lang="en-US" sz="600" strike="noStrike" baseline="0" dirty="0">
                          <a:solidFill>
                            <a:schemeClr val="tx1"/>
                          </a:solidFill>
                        </a:rPr>
                        <a:t> is in Region </a:t>
                      </a:r>
                      <a:r>
                        <a:rPr lang="en-US" sz="600" strike="noStrike" baseline="0" dirty="0" err="1">
                          <a:solidFill>
                            <a:schemeClr val="tx1"/>
                          </a:solidFill>
                        </a:rPr>
                        <a:t>Midtjylland</a:t>
                      </a:r>
                      <a:r>
                        <a:rPr lang="en-US" sz="600" strike="noStrike" baseline="0" dirty="0">
                          <a:solidFill>
                            <a:schemeClr val="tx1"/>
                          </a:solidFill>
                        </a:rPr>
                        <a:t>. The national/regional/local setup of “</a:t>
                      </a:r>
                      <a:r>
                        <a:rPr lang="en-US" sz="600" strike="noStrike" baseline="0" dirty="0" err="1">
                          <a:solidFill>
                            <a:schemeClr val="tx1"/>
                          </a:solidFill>
                        </a:rPr>
                        <a:t>erhvervsfremmesystemet</a:t>
                      </a:r>
                      <a:r>
                        <a:rPr lang="en-US" sz="600" strike="noStrike" baseline="0" dirty="0">
                          <a:solidFill>
                            <a:schemeClr val="tx1"/>
                          </a:solidFill>
                        </a:rPr>
                        <a:t>” and what this means to the WDS project is currently not well understood and agreed among actors. </a:t>
                      </a:r>
                      <a:r>
                        <a:rPr lang="en-US" sz="600" strike="noStrike" baseline="0" dirty="0">
                          <a:solidFill>
                            <a:srgbClr val="FF0000"/>
                          </a:solidFill>
                        </a:rPr>
                        <a:t>Regions are owners of public hospitals.</a:t>
                      </a:r>
                      <a:endParaRPr lang="da-DK" sz="600" strike="noStrike" dirty="0">
                        <a:solidFill>
                          <a:srgbClr val="FF0000"/>
                        </a:solidFill>
                      </a:endParaRPr>
                    </a:p>
                  </a:txBody>
                  <a:tcPr marL="72000" marR="72000" marT="0" marB="0">
                    <a:noFill/>
                  </a:tcPr>
                </a:tc>
                <a:extLst>
                  <a:ext uri="{0D108BD9-81ED-4DB2-BD59-A6C34878D82A}">
                    <a16:rowId xmlns:a16="http://schemas.microsoft.com/office/drawing/2014/main" val="3797181351"/>
                  </a:ext>
                </a:extLst>
              </a:tr>
              <a:tr h="154032">
                <a:tc vMerge="1">
                  <a:txBody>
                    <a:bodyPr/>
                    <a:lstStyle/>
                    <a:p>
                      <a:endParaRPr lang="da-DK" sz="700" dirty="0">
                        <a:solidFill>
                          <a:schemeClr val="tx1"/>
                        </a:solidFill>
                      </a:endParaRPr>
                    </a:p>
                  </a:txBody>
                  <a:tcPr marL="72000" marR="72000" marT="0" marB="0">
                    <a:solidFill>
                      <a:schemeClr val="bg1">
                        <a:lumMod val="85000"/>
                      </a:schemeClr>
                    </a:solidFill>
                  </a:tcPr>
                </a:tc>
                <a:tc>
                  <a:txBody>
                    <a:bodyPr/>
                    <a:lstStyle/>
                    <a:p>
                      <a:r>
                        <a:rPr lang="en-US" sz="600" dirty="0">
                          <a:solidFill>
                            <a:schemeClr val="tx1"/>
                          </a:solidFill>
                        </a:rPr>
                        <a:t>Danish Ministry of Environment</a:t>
                      </a:r>
                      <a:r>
                        <a:rPr lang="en-US" sz="600" baseline="0" dirty="0">
                          <a:solidFill>
                            <a:schemeClr val="tx1"/>
                          </a:solidFill>
                        </a:rPr>
                        <a:t> (</a:t>
                      </a:r>
                      <a:r>
                        <a:rPr lang="en-US" sz="600" baseline="0" dirty="0" err="1">
                          <a:solidFill>
                            <a:schemeClr val="tx1"/>
                          </a:solidFill>
                        </a:rPr>
                        <a:t>Miljøministeriet</a:t>
                      </a:r>
                      <a:r>
                        <a:rPr lang="en-US" sz="600" baseline="0" dirty="0">
                          <a:solidFill>
                            <a:schemeClr val="tx1"/>
                          </a:solidFill>
                        </a:rPr>
                        <a:t>)</a:t>
                      </a:r>
                      <a:endParaRPr lang="da-DK" sz="600" dirty="0">
                        <a:solidFill>
                          <a:schemeClr val="tx1"/>
                        </a:solidFill>
                      </a:endParaRPr>
                    </a:p>
                  </a:txBody>
                  <a:tcPr marL="72000" marR="72000" marT="0" marB="0">
                    <a:noFill/>
                  </a:tcPr>
                </a:tc>
                <a:tc>
                  <a:txBody>
                    <a:bodyPr/>
                    <a:lstStyle/>
                    <a:p>
                      <a:r>
                        <a:rPr lang="da-DK" sz="600" dirty="0" err="1">
                          <a:solidFill>
                            <a:schemeClr val="tx1"/>
                          </a:solidFill>
                        </a:rPr>
                        <a:t>Ministry</a:t>
                      </a:r>
                      <a:endParaRPr lang="da-DK" sz="600" dirty="0">
                        <a:solidFill>
                          <a:schemeClr val="tx1"/>
                        </a:solidFill>
                      </a:endParaRPr>
                    </a:p>
                  </a:txBody>
                  <a:tcPr marL="72000" marR="72000" marT="0" marB="0">
                    <a:noFill/>
                  </a:tcPr>
                </a:tc>
                <a:tc>
                  <a:txBody>
                    <a:bodyPr/>
                    <a:lstStyle/>
                    <a:p>
                      <a:r>
                        <a:rPr lang="en-US" sz="600" dirty="0">
                          <a:solidFill>
                            <a:schemeClr val="tx1"/>
                          </a:solidFill>
                        </a:rPr>
                        <a:t>Has important influence of environmental</a:t>
                      </a:r>
                      <a:r>
                        <a:rPr lang="en-US" sz="600" baseline="0" dirty="0">
                          <a:solidFill>
                            <a:schemeClr val="tx1"/>
                          </a:solidFill>
                        </a:rPr>
                        <a:t> policies and regulations. Portfolio of responsibility changes over the years (was earlier part of the Ministry of Environment and Food). Responsibility for the water sector is currently shared with the “Danish Ministry of Climate, Energy and Utilities”, and the “Ministry of Industry, Business and Financial Affairs”.</a:t>
                      </a:r>
                      <a:endParaRPr lang="da-DK" sz="600" dirty="0">
                        <a:solidFill>
                          <a:schemeClr val="tx1"/>
                        </a:solidFill>
                      </a:endParaRPr>
                    </a:p>
                  </a:txBody>
                  <a:tcPr marL="72000" marR="72000" marT="0" marB="0">
                    <a:noFill/>
                  </a:tcPr>
                </a:tc>
                <a:extLst>
                  <a:ext uri="{0D108BD9-81ED-4DB2-BD59-A6C34878D82A}">
                    <a16:rowId xmlns:a16="http://schemas.microsoft.com/office/drawing/2014/main" val="1383480029"/>
                  </a:ext>
                </a:extLst>
              </a:tr>
              <a:tr h="0">
                <a:tc vMerge="1">
                  <a:txBody>
                    <a:bodyPr/>
                    <a:lstStyle/>
                    <a:p>
                      <a:endParaRPr lang="en-US"/>
                    </a:p>
                  </a:txBody>
                  <a:tcPr/>
                </a:tc>
                <a:tc>
                  <a:txBody>
                    <a:bodyPr/>
                    <a:lstStyle/>
                    <a:p>
                      <a:r>
                        <a:rPr lang="en-US" sz="600" dirty="0">
                          <a:solidFill>
                            <a:schemeClr val="tx1"/>
                          </a:solidFill>
                        </a:rPr>
                        <a:t>Ministry of Digital Government and Gender Equality (MDGGE)</a:t>
                      </a:r>
                      <a:endParaRPr lang="da-DK" sz="600" dirty="0">
                        <a:solidFill>
                          <a:schemeClr val="tx1"/>
                        </a:solidFill>
                      </a:endParaRPr>
                    </a:p>
                  </a:txBody>
                  <a:tcPr marL="72000" marR="72000" marT="0" marB="0">
                    <a:noFill/>
                  </a:tcPr>
                </a:tc>
                <a:tc>
                  <a:txBody>
                    <a:bodyPr/>
                    <a:lstStyle/>
                    <a:p>
                      <a:r>
                        <a:rPr lang="da-DK" sz="600" dirty="0">
                          <a:solidFill>
                            <a:schemeClr val="tx1"/>
                          </a:solidFill>
                        </a:rPr>
                        <a:t>New </a:t>
                      </a:r>
                      <a:r>
                        <a:rPr lang="da-DK" sz="600" dirty="0" err="1">
                          <a:solidFill>
                            <a:schemeClr val="tx1"/>
                          </a:solidFill>
                        </a:rPr>
                        <a:t>ministry</a:t>
                      </a:r>
                      <a:r>
                        <a:rPr lang="da-DK" sz="600" dirty="0">
                          <a:solidFill>
                            <a:schemeClr val="tx1"/>
                          </a:solidFill>
                        </a:rPr>
                        <a:t> </a:t>
                      </a:r>
                      <a:r>
                        <a:rPr lang="da-DK" sz="600" dirty="0" err="1">
                          <a:solidFill>
                            <a:schemeClr val="tx1"/>
                          </a:solidFill>
                        </a:rPr>
                        <a:t>formed</a:t>
                      </a:r>
                      <a:r>
                        <a:rPr lang="da-DK" sz="600" dirty="0">
                          <a:solidFill>
                            <a:schemeClr val="tx1"/>
                          </a:solidFill>
                        </a:rPr>
                        <a:t> 15/12-2022</a:t>
                      </a:r>
                    </a:p>
                  </a:txBody>
                  <a:tcPr marL="72000" marR="72000" marT="0" marB="0">
                    <a:noFill/>
                  </a:tcPr>
                </a:tc>
                <a:tc>
                  <a:txBody>
                    <a:bodyPr/>
                    <a:lstStyle/>
                    <a:p>
                      <a:r>
                        <a:rPr lang="en-US" sz="600" dirty="0">
                          <a:solidFill>
                            <a:schemeClr val="tx1"/>
                          </a:solidFill>
                        </a:rPr>
                        <a:t>New ministry, and new minister (Marie Bjerre, V), formed by the new (December-2022) Danish government (A, V, M). We don’t know yet exactly how it will develop. We</a:t>
                      </a:r>
                      <a:r>
                        <a:rPr lang="en-US" sz="600" baseline="0" dirty="0">
                          <a:solidFill>
                            <a:schemeClr val="tx1"/>
                          </a:solidFill>
                        </a:rPr>
                        <a:t> assume it will be r</a:t>
                      </a:r>
                      <a:r>
                        <a:rPr lang="en-US" sz="600" dirty="0">
                          <a:solidFill>
                            <a:schemeClr val="tx1"/>
                          </a:solidFill>
                        </a:rPr>
                        <a:t>egulative entity for</a:t>
                      </a:r>
                      <a:r>
                        <a:rPr lang="en-US" sz="600" baseline="0" dirty="0">
                          <a:solidFill>
                            <a:schemeClr val="tx1"/>
                          </a:solidFill>
                        </a:rPr>
                        <a:t> data security and management in Denmark. </a:t>
                      </a:r>
                      <a:endParaRPr lang="da-DK" sz="600" dirty="0">
                        <a:solidFill>
                          <a:schemeClr val="tx1"/>
                        </a:solidFill>
                      </a:endParaRPr>
                    </a:p>
                  </a:txBody>
                  <a:tcPr marL="72000" marR="72000" marT="0" marB="0">
                    <a:noFill/>
                  </a:tcPr>
                </a:tc>
                <a:extLst>
                  <a:ext uri="{0D108BD9-81ED-4DB2-BD59-A6C34878D82A}">
                    <a16:rowId xmlns:a16="http://schemas.microsoft.com/office/drawing/2014/main" val="508090199"/>
                  </a:ext>
                </a:extLst>
              </a:tr>
              <a:tr h="264880">
                <a:tc vMerge="1">
                  <a:txBody>
                    <a:bodyPr/>
                    <a:lstStyle/>
                    <a:p>
                      <a:endParaRPr lang="en-US"/>
                    </a:p>
                  </a:txBody>
                  <a:tcPr/>
                </a:tc>
                <a:tc>
                  <a:txBody>
                    <a:bodyPr/>
                    <a:lstStyle/>
                    <a:p>
                      <a:r>
                        <a:rPr lang="da-DK" sz="600" dirty="0" err="1">
                          <a:solidFill>
                            <a:schemeClr val="tx1"/>
                          </a:solidFill>
                        </a:rPr>
                        <a:t>Other</a:t>
                      </a:r>
                      <a:r>
                        <a:rPr lang="da-DK" sz="600" dirty="0">
                          <a:solidFill>
                            <a:schemeClr val="tx1"/>
                          </a:solidFill>
                        </a:rPr>
                        <a:t> </a:t>
                      </a:r>
                      <a:r>
                        <a:rPr lang="da-DK" sz="600" dirty="0" err="1">
                          <a:solidFill>
                            <a:schemeClr val="tx1"/>
                          </a:solidFill>
                        </a:rPr>
                        <a:t>ministries</a:t>
                      </a:r>
                      <a:endParaRPr lang="da-DK" sz="600" dirty="0">
                        <a:solidFill>
                          <a:schemeClr val="tx1"/>
                        </a:solidFill>
                      </a:endParaRPr>
                    </a:p>
                  </a:txBody>
                  <a:tcPr marL="72000" marR="72000" marT="0" marB="0">
                    <a:solidFill>
                      <a:schemeClr val="bg1">
                        <a:lumMod val="85000"/>
                      </a:schemeClr>
                    </a:solidFill>
                  </a:tcPr>
                </a:tc>
                <a:tc>
                  <a:txBody>
                    <a:bodyPr/>
                    <a:lstStyle/>
                    <a:p>
                      <a:r>
                        <a:rPr lang="da-DK" sz="600" baseline="0" dirty="0" err="1">
                          <a:solidFill>
                            <a:schemeClr val="tx1"/>
                          </a:solidFill>
                        </a:rPr>
                        <a:t>Ministry</a:t>
                      </a:r>
                      <a:r>
                        <a:rPr lang="da-DK" sz="600" baseline="0" dirty="0">
                          <a:solidFill>
                            <a:schemeClr val="tx1"/>
                          </a:solidFill>
                        </a:rPr>
                        <a:t> of </a:t>
                      </a:r>
                      <a:r>
                        <a:rPr lang="da-DK" sz="600" baseline="0" dirty="0" err="1">
                          <a:solidFill>
                            <a:schemeClr val="tx1"/>
                          </a:solidFill>
                        </a:rPr>
                        <a:t>Climate</a:t>
                      </a:r>
                      <a:r>
                        <a:rPr lang="da-DK" sz="600" baseline="0" dirty="0">
                          <a:solidFill>
                            <a:schemeClr val="tx1"/>
                          </a:solidFill>
                        </a:rPr>
                        <a:t>, Energy and </a:t>
                      </a:r>
                      <a:r>
                        <a:rPr lang="da-DK" sz="600" baseline="0" dirty="0" err="1">
                          <a:solidFill>
                            <a:schemeClr val="tx1"/>
                          </a:solidFill>
                        </a:rPr>
                        <a:t>Utilties</a:t>
                      </a:r>
                      <a:r>
                        <a:rPr lang="da-DK" sz="600" baseline="0" dirty="0">
                          <a:solidFill>
                            <a:schemeClr val="tx1"/>
                          </a:solidFill>
                        </a:rPr>
                        <a:t> (MCEU); </a:t>
                      </a:r>
                      <a:r>
                        <a:rPr lang="da-DK" sz="600" baseline="0" dirty="0" err="1">
                          <a:solidFill>
                            <a:schemeClr val="tx1"/>
                          </a:solidFill>
                        </a:rPr>
                        <a:t>Ministry</a:t>
                      </a:r>
                      <a:r>
                        <a:rPr lang="da-DK" sz="600" baseline="0" dirty="0">
                          <a:solidFill>
                            <a:schemeClr val="tx1"/>
                          </a:solidFill>
                        </a:rPr>
                        <a:t> of Industry, Business and Financial Affairs (IBFA); </a:t>
                      </a:r>
                      <a:r>
                        <a:rPr lang="da-DK" sz="600" dirty="0" err="1">
                          <a:solidFill>
                            <a:schemeClr val="tx1"/>
                          </a:solidFill>
                        </a:rPr>
                        <a:t>Ministry</a:t>
                      </a:r>
                      <a:r>
                        <a:rPr lang="da-DK" sz="600" dirty="0">
                          <a:solidFill>
                            <a:schemeClr val="tx1"/>
                          </a:solidFill>
                        </a:rPr>
                        <a:t> of Food, </a:t>
                      </a:r>
                      <a:r>
                        <a:rPr lang="da-DK" sz="600" dirty="0" err="1">
                          <a:solidFill>
                            <a:schemeClr val="tx1"/>
                          </a:solidFill>
                        </a:rPr>
                        <a:t>Agriculture</a:t>
                      </a:r>
                      <a:r>
                        <a:rPr lang="da-DK" sz="600" dirty="0">
                          <a:solidFill>
                            <a:schemeClr val="tx1"/>
                          </a:solidFill>
                        </a:rPr>
                        <a:t> and Fisheries (MFAF); </a:t>
                      </a:r>
                      <a:r>
                        <a:rPr lang="da-DK" sz="600" dirty="0" err="1">
                          <a:solidFill>
                            <a:schemeClr val="tx1"/>
                          </a:solidFill>
                        </a:rPr>
                        <a:t>Ministry</a:t>
                      </a:r>
                      <a:r>
                        <a:rPr lang="da-DK" sz="600" dirty="0">
                          <a:solidFill>
                            <a:schemeClr val="tx1"/>
                          </a:solidFill>
                        </a:rPr>
                        <a:t> of Transport (MT)</a:t>
                      </a:r>
                    </a:p>
                  </a:txBody>
                  <a:tcPr marL="72000" marR="72000" marT="0" marB="0">
                    <a:solidFill>
                      <a:schemeClr val="bg1">
                        <a:lumMod val="85000"/>
                      </a:schemeClr>
                    </a:solidFill>
                  </a:tcPr>
                </a:tc>
                <a:tc>
                  <a:txBody>
                    <a:bodyPr/>
                    <a:lstStyle/>
                    <a:p>
                      <a:r>
                        <a:rPr lang="da-DK" sz="600" dirty="0">
                          <a:solidFill>
                            <a:schemeClr val="tx1"/>
                          </a:solidFill>
                        </a:rPr>
                        <a:t>The </a:t>
                      </a:r>
                      <a:r>
                        <a:rPr lang="da-DK" sz="600" dirty="0" err="1">
                          <a:solidFill>
                            <a:schemeClr val="tx1"/>
                          </a:solidFill>
                        </a:rPr>
                        <a:t>first</a:t>
                      </a:r>
                      <a:r>
                        <a:rPr lang="da-DK" sz="600" dirty="0">
                          <a:solidFill>
                            <a:schemeClr val="tx1"/>
                          </a:solidFill>
                        </a:rPr>
                        <a:t> </a:t>
                      </a:r>
                      <a:r>
                        <a:rPr lang="da-DK" sz="600" dirty="0" err="1">
                          <a:solidFill>
                            <a:schemeClr val="tx1"/>
                          </a:solidFill>
                        </a:rPr>
                        <a:t>two</a:t>
                      </a:r>
                      <a:r>
                        <a:rPr lang="da-DK" sz="600" dirty="0">
                          <a:solidFill>
                            <a:schemeClr val="tx1"/>
                          </a:solidFill>
                        </a:rPr>
                        <a:t> have </a:t>
                      </a:r>
                      <a:r>
                        <a:rPr lang="da-DK" sz="600" dirty="0" err="1">
                          <a:solidFill>
                            <a:schemeClr val="tx1"/>
                          </a:solidFill>
                        </a:rPr>
                        <a:t>direct</a:t>
                      </a:r>
                      <a:r>
                        <a:rPr lang="da-DK" sz="600" dirty="0">
                          <a:solidFill>
                            <a:schemeClr val="tx1"/>
                          </a:solidFill>
                        </a:rPr>
                        <a:t> </a:t>
                      </a:r>
                      <a:r>
                        <a:rPr lang="da-DK" sz="600" dirty="0" err="1">
                          <a:solidFill>
                            <a:schemeClr val="tx1"/>
                          </a:solidFill>
                        </a:rPr>
                        <a:t>influence</a:t>
                      </a:r>
                      <a:r>
                        <a:rPr lang="da-DK" sz="600" dirty="0">
                          <a:solidFill>
                            <a:schemeClr val="tx1"/>
                          </a:solidFill>
                        </a:rPr>
                        <a:t> on </a:t>
                      </a:r>
                      <a:r>
                        <a:rPr lang="da-DK" sz="600" dirty="0" err="1">
                          <a:solidFill>
                            <a:schemeClr val="tx1"/>
                          </a:solidFill>
                        </a:rPr>
                        <a:t>water</a:t>
                      </a:r>
                      <a:r>
                        <a:rPr lang="da-DK" sz="600" dirty="0">
                          <a:solidFill>
                            <a:schemeClr val="tx1"/>
                          </a:solidFill>
                        </a:rPr>
                        <a:t> policy and </a:t>
                      </a:r>
                      <a:r>
                        <a:rPr lang="da-DK" sz="600" dirty="0" err="1">
                          <a:solidFill>
                            <a:schemeClr val="tx1"/>
                          </a:solidFill>
                        </a:rPr>
                        <a:t>reguation</a:t>
                      </a:r>
                      <a:r>
                        <a:rPr lang="da-DK" sz="600" dirty="0">
                          <a:solidFill>
                            <a:schemeClr val="tx1"/>
                          </a:solidFill>
                        </a:rPr>
                        <a:t>, the </a:t>
                      </a:r>
                      <a:r>
                        <a:rPr lang="da-DK" sz="600" dirty="0" err="1">
                          <a:solidFill>
                            <a:schemeClr val="tx1"/>
                          </a:solidFill>
                        </a:rPr>
                        <a:t>third</a:t>
                      </a:r>
                      <a:r>
                        <a:rPr lang="da-DK" sz="600" dirty="0">
                          <a:solidFill>
                            <a:schemeClr val="tx1"/>
                          </a:solidFill>
                        </a:rPr>
                        <a:t> and </a:t>
                      </a:r>
                      <a:r>
                        <a:rPr lang="da-DK" sz="600" dirty="0" err="1">
                          <a:solidFill>
                            <a:schemeClr val="tx1"/>
                          </a:solidFill>
                        </a:rPr>
                        <a:t>fourth</a:t>
                      </a:r>
                      <a:r>
                        <a:rPr lang="da-DK" sz="600" dirty="0">
                          <a:solidFill>
                            <a:schemeClr val="tx1"/>
                          </a:solidFill>
                        </a:rPr>
                        <a:t> have </a:t>
                      </a:r>
                      <a:r>
                        <a:rPr lang="da-DK" sz="600" dirty="0" err="1">
                          <a:solidFill>
                            <a:schemeClr val="tx1"/>
                          </a:solidFill>
                        </a:rPr>
                        <a:t>indirect</a:t>
                      </a:r>
                      <a:r>
                        <a:rPr lang="da-DK" sz="600" dirty="0">
                          <a:solidFill>
                            <a:schemeClr val="tx1"/>
                          </a:solidFill>
                        </a:rPr>
                        <a:t> </a:t>
                      </a:r>
                      <a:r>
                        <a:rPr lang="da-DK" sz="600" dirty="0" err="1">
                          <a:solidFill>
                            <a:schemeClr val="tx1"/>
                          </a:solidFill>
                        </a:rPr>
                        <a:t>influence</a:t>
                      </a:r>
                      <a:r>
                        <a:rPr lang="da-DK" sz="600" dirty="0">
                          <a:solidFill>
                            <a:schemeClr val="tx1"/>
                          </a:solidFill>
                        </a:rPr>
                        <a:t> (as </a:t>
                      </a:r>
                      <a:r>
                        <a:rPr lang="da-DK" sz="600" dirty="0" err="1">
                          <a:solidFill>
                            <a:schemeClr val="tx1"/>
                          </a:solidFill>
                        </a:rPr>
                        <a:t>several</a:t>
                      </a:r>
                      <a:r>
                        <a:rPr lang="da-DK" sz="600" dirty="0">
                          <a:solidFill>
                            <a:schemeClr val="tx1"/>
                          </a:solidFill>
                        </a:rPr>
                        <a:t> </a:t>
                      </a:r>
                      <a:r>
                        <a:rPr lang="da-DK" sz="600" dirty="0" err="1">
                          <a:solidFill>
                            <a:schemeClr val="tx1"/>
                          </a:solidFill>
                        </a:rPr>
                        <a:t>other</a:t>
                      </a:r>
                      <a:r>
                        <a:rPr lang="da-DK" sz="600" dirty="0">
                          <a:solidFill>
                            <a:schemeClr val="tx1"/>
                          </a:solidFill>
                        </a:rPr>
                        <a:t> </a:t>
                      </a:r>
                      <a:r>
                        <a:rPr lang="da-DK" sz="600" dirty="0" err="1">
                          <a:solidFill>
                            <a:schemeClr val="tx1"/>
                          </a:solidFill>
                        </a:rPr>
                        <a:t>ministries</a:t>
                      </a:r>
                      <a:r>
                        <a:rPr lang="da-DK" sz="600" dirty="0">
                          <a:solidFill>
                            <a:schemeClr val="tx1"/>
                          </a:solidFill>
                        </a:rPr>
                        <a:t>)</a:t>
                      </a:r>
                    </a:p>
                  </a:txBody>
                  <a:tcPr marL="72000" marR="72000" marT="0" marB="0">
                    <a:solidFill>
                      <a:schemeClr val="bg1">
                        <a:lumMod val="85000"/>
                      </a:schemeClr>
                    </a:solidFill>
                  </a:tcPr>
                </a:tc>
                <a:extLst>
                  <a:ext uri="{0D108BD9-81ED-4DB2-BD59-A6C34878D82A}">
                    <a16:rowId xmlns:a16="http://schemas.microsoft.com/office/drawing/2014/main" val="4242879886"/>
                  </a:ext>
                </a:extLst>
              </a:tr>
              <a:tr h="57363">
                <a:tc vMerge="1">
                  <a:txBody>
                    <a:bodyPr/>
                    <a:lstStyle/>
                    <a:p>
                      <a:endParaRPr lang="en-US"/>
                    </a:p>
                  </a:txBody>
                  <a:tcPr/>
                </a:tc>
                <a:tc>
                  <a:txBody>
                    <a:bodyPr/>
                    <a:lstStyle/>
                    <a:p>
                      <a:r>
                        <a:rPr lang="en-US" sz="600" dirty="0" err="1">
                          <a:solidFill>
                            <a:schemeClr val="tx1"/>
                          </a:solidFill>
                        </a:rPr>
                        <a:t>Miljøstyrelsen</a:t>
                      </a:r>
                      <a:r>
                        <a:rPr lang="en-US" sz="600" dirty="0">
                          <a:solidFill>
                            <a:schemeClr val="tx1"/>
                          </a:solidFill>
                        </a:rPr>
                        <a:t> </a:t>
                      </a:r>
                      <a:r>
                        <a:rPr lang="en-US" sz="600" dirty="0">
                          <a:solidFill>
                            <a:srgbClr val="FF0000"/>
                          </a:solidFill>
                        </a:rPr>
                        <a:t>&amp; </a:t>
                      </a:r>
                      <a:r>
                        <a:rPr lang="en-US" sz="600" dirty="0" err="1">
                          <a:solidFill>
                            <a:srgbClr val="FF0000"/>
                          </a:solidFill>
                        </a:rPr>
                        <a:t>Naturstyrelsen</a:t>
                      </a:r>
                      <a:endParaRPr lang="da-DK" sz="600" dirty="0">
                        <a:solidFill>
                          <a:srgbClr val="FF0000"/>
                        </a:solidFill>
                      </a:endParaRPr>
                    </a:p>
                  </a:txBody>
                  <a:tcPr marL="72000" marR="72000" marT="0" marB="0">
                    <a:noFill/>
                  </a:tcPr>
                </a:tc>
                <a:tc>
                  <a:txBody>
                    <a:bodyPr/>
                    <a:lstStyle/>
                    <a:p>
                      <a:r>
                        <a:rPr lang="da-DK" sz="600" dirty="0" err="1">
                          <a:solidFill>
                            <a:schemeClr val="tx1"/>
                          </a:solidFill>
                        </a:rPr>
                        <a:t>Agencie</a:t>
                      </a:r>
                      <a:r>
                        <a:rPr lang="da-DK" sz="600" dirty="0" err="1">
                          <a:solidFill>
                            <a:srgbClr val="FF0000"/>
                          </a:solidFill>
                        </a:rPr>
                        <a:t>s</a:t>
                      </a:r>
                      <a:r>
                        <a:rPr lang="da-DK" sz="600" dirty="0">
                          <a:solidFill>
                            <a:schemeClr val="tx1"/>
                          </a:solidFill>
                        </a:rPr>
                        <a:t> </a:t>
                      </a:r>
                      <a:r>
                        <a:rPr lang="da-DK" sz="600" baseline="0" dirty="0">
                          <a:solidFill>
                            <a:schemeClr val="tx1"/>
                          </a:solidFill>
                        </a:rPr>
                        <a:t>under the Environment </a:t>
                      </a:r>
                      <a:r>
                        <a:rPr lang="da-DK" sz="600" baseline="0" dirty="0" err="1">
                          <a:solidFill>
                            <a:schemeClr val="tx1"/>
                          </a:solidFill>
                        </a:rPr>
                        <a:t>Ministry</a:t>
                      </a:r>
                      <a:endParaRPr lang="da-DK" sz="600" dirty="0">
                        <a:solidFill>
                          <a:schemeClr val="tx1"/>
                        </a:solidFill>
                      </a:endParaRPr>
                    </a:p>
                  </a:txBody>
                  <a:tcPr marL="72000" marR="72000" marT="0" marB="0">
                    <a:noFill/>
                  </a:tcPr>
                </a:tc>
                <a:tc>
                  <a:txBody>
                    <a:bodyPr/>
                    <a:lstStyle/>
                    <a:p>
                      <a:r>
                        <a:rPr lang="en-US" sz="600" dirty="0">
                          <a:solidFill>
                            <a:schemeClr val="tx1"/>
                          </a:solidFill>
                        </a:rPr>
                        <a:t>Can be facilitator of changes</a:t>
                      </a:r>
                      <a:r>
                        <a:rPr lang="en-US" sz="600" baseline="0" dirty="0">
                          <a:solidFill>
                            <a:schemeClr val="tx1"/>
                          </a:solidFill>
                        </a:rPr>
                        <a:t> in service goals and also have interest on water data that deal with environmental regulation. </a:t>
                      </a:r>
                      <a:r>
                        <a:rPr lang="en-US" sz="600" dirty="0">
                          <a:solidFill>
                            <a:schemeClr val="tx1"/>
                          </a:solidFill>
                        </a:rPr>
                        <a:t> </a:t>
                      </a:r>
                      <a:endParaRPr lang="da-DK" sz="600" dirty="0">
                        <a:solidFill>
                          <a:schemeClr val="tx1"/>
                        </a:solidFill>
                      </a:endParaRPr>
                    </a:p>
                  </a:txBody>
                  <a:tcPr marL="72000" marR="72000" marT="0" marB="0">
                    <a:noFill/>
                  </a:tcPr>
                </a:tc>
                <a:extLst>
                  <a:ext uri="{0D108BD9-81ED-4DB2-BD59-A6C34878D82A}">
                    <a16:rowId xmlns:a16="http://schemas.microsoft.com/office/drawing/2014/main" val="3149428764"/>
                  </a:ext>
                </a:extLst>
              </a:tr>
              <a:tr h="57363">
                <a:tc vMerge="1">
                  <a:txBody>
                    <a:bodyPr/>
                    <a:lstStyle/>
                    <a:p>
                      <a:endParaRPr lang="da-DK" sz="700" dirty="0">
                        <a:solidFill>
                          <a:schemeClr val="tx1"/>
                        </a:solidFill>
                      </a:endParaRPr>
                    </a:p>
                  </a:txBody>
                  <a:tcPr marL="72000" marR="72000" marT="0" marB="0">
                    <a:solidFill>
                      <a:schemeClr val="bg1">
                        <a:lumMod val="85000"/>
                      </a:schemeClr>
                    </a:solidFill>
                  </a:tcPr>
                </a:tc>
                <a:tc>
                  <a:txBody>
                    <a:bodyPr/>
                    <a:lstStyle/>
                    <a:p>
                      <a:r>
                        <a:rPr lang="da-DK" sz="600" dirty="0" err="1">
                          <a:solidFill>
                            <a:schemeClr val="tx1"/>
                          </a:solidFill>
                        </a:rPr>
                        <a:t>Other</a:t>
                      </a:r>
                      <a:r>
                        <a:rPr lang="da-DK" sz="600" baseline="0" dirty="0">
                          <a:solidFill>
                            <a:schemeClr val="tx1"/>
                          </a:solidFill>
                        </a:rPr>
                        <a:t> </a:t>
                      </a:r>
                      <a:r>
                        <a:rPr lang="da-DK" sz="600" baseline="0" dirty="0" err="1">
                          <a:solidFill>
                            <a:schemeClr val="tx1"/>
                          </a:solidFill>
                        </a:rPr>
                        <a:t>agencies</a:t>
                      </a:r>
                      <a:endParaRPr lang="da-DK" sz="600" dirty="0">
                        <a:solidFill>
                          <a:schemeClr val="tx1"/>
                        </a:solidFill>
                      </a:endParaRPr>
                    </a:p>
                  </a:txBody>
                  <a:tcPr marL="72000" marR="72000" marT="0" marB="0">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600" dirty="0">
                          <a:solidFill>
                            <a:schemeClr val="tx1"/>
                          </a:solidFill>
                        </a:rPr>
                        <a:t>Digitaliseringsstyrelsen; The Danish Road </a:t>
                      </a:r>
                      <a:r>
                        <a:rPr lang="da-DK" sz="600" dirty="0" err="1">
                          <a:solidFill>
                            <a:schemeClr val="tx1"/>
                          </a:solidFill>
                        </a:rPr>
                        <a:t>Directorate</a:t>
                      </a:r>
                      <a:r>
                        <a:rPr lang="da-DK" sz="600" dirty="0">
                          <a:solidFill>
                            <a:schemeClr val="tx1"/>
                          </a:solidFill>
                        </a:rPr>
                        <a:t> (Vejdirektoratet); Landbrugsstyrelsen; Energistyrelsen</a:t>
                      </a:r>
                    </a:p>
                  </a:txBody>
                  <a:tcPr marL="72000" marR="72000" marT="0" marB="0">
                    <a:solidFill>
                      <a:schemeClr val="bg1">
                        <a:lumMod val="85000"/>
                      </a:schemeClr>
                    </a:solidFill>
                  </a:tcPr>
                </a:tc>
                <a:tc>
                  <a:txBody>
                    <a:bodyPr/>
                    <a:lstStyle/>
                    <a:p>
                      <a:r>
                        <a:rPr lang="da-DK" sz="600" dirty="0" err="1">
                          <a:solidFill>
                            <a:schemeClr val="tx1"/>
                          </a:solidFill>
                        </a:rPr>
                        <a:t>Agencies</a:t>
                      </a:r>
                      <a:r>
                        <a:rPr lang="da-DK" sz="600" dirty="0">
                          <a:solidFill>
                            <a:schemeClr val="tx1"/>
                          </a:solidFill>
                        </a:rPr>
                        <a:t> under</a:t>
                      </a:r>
                      <a:r>
                        <a:rPr lang="da-DK" sz="600" baseline="0" dirty="0">
                          <a:solidFill>
                            <a:schemeClr val="tx1"/>
                          </a:solidFill>
                        </a:rPr>
                        <a:t> MDGGE, MT, MFAF &amp; MCEU. </a:t>
                      </a:r>
                      <a:r>
                        <a:rPr lang="da-DK" sz="600" baseline="0" dirty="0" err="1">
                          <a:solidFill>
                            <a:schemeClr val="tx1"/>
                          </a:solidFill>
                        </a:rPr>
                        <a:t>Interest</a:t>
                      </a:r>
                      <a:r>
                        <a:rPr lang="da-DK" sz="600" baseline="0" dirty="0">
                          <a:solidFill>
                            <a:schemeClr val="tx1"/>
                          </a:solidFill>
                        </a:rPr>
                        <a:t> in </a:t>
                      </a:r>
                      <a:r>
                        <a:rPr lang="da-DK" sz="600" baseline="0" dirty="0" err="1">
                          <a:solidFill>
                            <a:schemeClr val="tx1"/>
                          </a:solidFill>
                        </a:rPr>
                        <a:t>water</a:t>
                      </a:r>
                      <a:r>
                        <a:rPr lang="da-DK" sz="600" baseline="0" dirty="0">
                          <a:solidFill>
                            <a:schemeClr val="tx1"/>
                          </a:solidFill>
                        </a:rPr>
                        <a:t> data </a:t>
                      </a:r>
                      <a:r>
                        <a:rPr lang="da-DK" sz="600" baseline="0" dirty="0" err="1">
                          <a:solidFill>
                            <a:schemeClr val="tx1"/>
                          </a:solidFill>
                        </a:rPr>
                        <a:t>that</a:t>
                      </a:r>
                      <a:r>
                        <a:rPr lang="da-DK" sz="600" baseline="0" dirty="0">
                          <a:solidFill>
                            <a:schemeClr val="tx1"/>
                          </a:solidFill>
                        </a:rPr>
                        <a:t> </a:t>
                      </a:r>
                      <a:r>
                        <a:rPr lang="da-DK" sz="600" baseline="0" dirty="0" err="1">
                          <a:solidFill>
                            <a:schemeClr val="tx1"/>
                          </a:solidFill>
                        </a:rPr>
                        <a:t>can</a:t>
                      </a:r>
                      <a:r>
                        <a:rPr lang="da-DK" sz="600" baseline="0" dirty="0">
                          <a:solidFill>
                            <a:schemeClr val="tx1"/>
                          </a:solidFill>
                        </a:rPr>
                        <a:t> support </a:t>
                      </a:r>
                      <a:r>
                        <a:rPr lang="da-DK" sz="600" baseline="0" dirty="0" err="1">
                          <a:solidFill>
                            <a:schemeClr val="tx1"/>
                          </a:solidFill>
                        </a:rPr>
                        <a:t>regulations</a:t>
                      </a:r>
                      <a:r>
                        <a:rPr lang="da-DK" sz="600" baseline="0" dirty="0">
                          <a:solidFill>
                            <a:schemeClr val="tx1"/>
                          </a:solidFill>
                        </a:rPr>
                        <a:t> </a:t>
                      </a:r>
                      <a:r>
                        <a:rPr lang="da-DK" sz="600" baseline="0" dirty="0" err="1">
                          <a:solidFill>
                            <a:schemeClr val="tx1"/>
                          </a:solidFill>
                        </a:rPr>
                        <a:t>within</a:t>
                      </a:r>
                      <a:r>
                        <a:rPr lang="da-DK" sz="600" baseline="0" dirty="0">
                          <a:solidFill>
                            <a:schemeClr val="tx1"/>
                          </a:solidFill>
                        </a:rPr>
                        <a:t> </a:t>
                      </a:r>
                      <a:r>
                        <a:rPr lang="da-DK" sz="600" baseline="0" dirty="0" err="1">
                          <a:solidFill>
                            <a:schemeClr val="tx1"/>
                          </a:solidFill>
                        </a:rPr>
                        <a:t>their</a:t>
                      </a:r>
                      <a:r>
                        <a:rPr lang="da-DK" sz="600" baseline="0" dirty="0">
                          <a:solidFill>
                            <a:schemeClr val="tx1"/>
                          </a:solidFill>
                        </a:rPr>
                        <a:t> </a:t>
                      </a:r>
                      <a:r>
                        <a:rPr lang="da-DK" sz="600" baseline="0" dirty="0" err="1">
                          <a:solidFill>
                            <a:schemeClr val="tx1"/>
                          </a:solidFill>
                        </a:rPr>
                        <a:t>resort</a:t>
                      </a:r>
                      <a:r>
                        <a:rPr lang="da-DK" sz="600" baseline="0" dirty="0">
                          <a:solidFill>
                            <a:schemeClr val="tx1"/>
                          </a:solidFill>
                        </a:rPr>
                        <a:t> </a:t>
                      </a:r>
                      <a:r>
                        <a:rPr lang="da-DK" sz="600" baseline="0" dirty="0" err="1">
                          <a:solidFill>
                            <a:schemeClr val="tx1"/>
                          </a:solidFill>
                        </a:rPr>
                        <a:t>area</a:t>
                      </a:r>
                      <a:r>
                        <a:rPr lang="da-DK" sz="600" baseline="0" dirty="0">
                          <a:solidFill>
                            <a:schemeClr val="tx1"/>
                          </a:solidFill>
                        </a:rPr>
                        <a:t>.</a:t>
                      </a:r>
                      <a:endParaRPr lang="da-DK" sz="600" dirty="0">
                        <a:solidFill>
                          <a:schemeClr val="tx1"/>
                        </a:solidFill>
                      </a:endParaRPr>
                    </a:p>
                  </a:txBody>
                  <a:tcPr marL="72000" marR="72000" marT="0" marB="0">
                    <a:solidFill>
                      <a:schemeClr val="bg1">
                        <a:lumMod val="85000"/>
                      </a:schemeClr>
                    </a:solidFill>
                  </a:tcPr>
                </a:tc>
                <a:extLst>
                  <a:ext uri="{0D108BD9-81ED-4DB2-BD59-A6C34878D82A}">
                    <a16:rowId xmlns:a16="http://schemas.microsoft.com/office/drawing/2014/main" val="349468454"/>
                  </a:ext>
                </a:extLst>
              </a:tr>
              <a:tr h="163357">
                <a:tc vMerge="1">
                  <a:txBody>
                    <a:bodyPr/>
                    <a:lstStyle/>
                    <a:p>
                      <a:endParaRPr lang="da-DK" sz="800" dirty="0">
                        <a:solidFill>
                          <a:schemeClr val="tx1"/>
                        </a:solidFill>
                      </a:endParaRPr>
                    </a:p>
                  </a:txBody>
                  <a:tcPr marL="72000" marR="72000" marT="0" marB="0">
                    <a:solidFill>
                      <a:schemeClr val="bg1"/>
                    </a:solidFill>
                  </a:tcPr>
                </a:tc>
                <a:tc>
                  <a:txBody>
                    <a:bodyPr/>
                    <a:lstStyle/>
                    <a:p>
                      <a:r>
                        <a:rPr lang="en-US" sz="600" dirty="0" err="1">
                          <a:solidFill>
                            <a:schemeClr val="tx1"/>
                          </a:solidFill>
                        </a:rPr>
                        <a:t>Forsyningssekretariatet</a:t>
                      </a:r>
                      <a:r>
                        <a:rPr lang="en-US" sz="600" dirty="0">
                          <a:solidFill>
                            <a:schemeClr val="tx1"/>
                          </a:solidFill>
                        </a:rPr>
                        <a:t> (Utility Secretariat</a:t>
                      </a:r>
                      <a:r>
                        <a:rPr lang="en-US" sz="600" baseline="0" dirty="0">
                          <a:solidFill>
                            <a:schemeClr val="tx1"/>
                          </a:solidFill>
                        </a:rPr>
                        <a:t>)</a:t>
                      </a:r>
                      <a:endParaRPr lang="da-DK" sz="600" dirty="0">
                        <a:solidFill>
                          <a:schemeClr val="tx1"/>
                        </a:solidFill>
                      </a:endParaRPr>
                    </a:p>
                  </a:txBody>
                  <a:tcPr marL="72000" marR="72000" marT="0" marB="0">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600" dirty="0" err="1">
                          <a:solidFill>
                            <a:schemeClr val="tx1"/>
                          </a:solidFill>
                        </a:rPr>
                        <a:t>Officially</a:t>
                      </a:r>
                      <a:r>
                        <a:rPr lang="da-DK" sz="600" dirty="0">
                          <a:solidFill>
                            <a:schemeClr val="tx1"/>
                          </a:solidFill>
                        </a:rPr>
                        <a:t> </a:t>
                      </a:r>
                      <a:r>
                        <a:rPr lang="da-DK" sz="600" dirty="0" err="1">
                          <a:solidFill>
                            <a:schemeClr val="tx1"/>
                          </a:solidFill>
                        </a:rPr>
                        <a:t>called</a:t>
                      </a:r>
                      <a:r>
                        <a:rPr lang="da-DK" sz="600" dirty="0">
                          <a:solidFill>
                            <a:schemeClr val="tx1"/>
                          </a:solidFill>
                        </a:rPr>
                        <a:t> ”Vandtilsynet”. Unit under the Konkurrence- og Forbrugerstyrelse. </a:t>
                      </a:r>
                    </a:p>
                  </a:txBody>
                  <a:tcPr marL="72000" marR="72000" marT="0" marB="0">
                    <a:noFill/>
                  </a:tcPr>
                </a:tc>
                <a:tc>
                  <a:txBody>
                    <a:bodyPr/>
                    <a:lstStyle/>
                    <a:p>
                      <a:r>
                        <a:rPr lang="en-US" sz="600" dirty="0">
                          <a:solidFill>
                            <a:schemeClr val="tx1"/>
                          </a:solidFill>
                        </a:rPr>
                        <a:t>I</a:t>
                      </a:r>
                      <a:r>
                        <a:rPr lang="en-US" sz="600" baseline="0" dirty="0">
                          <a:solidFill>
                            <a:schemeClr val="tx1"/>
                          </a:solidFill>
                        </a:rPr>
                        <a:t>n charge of the efficiency requirements and assessments of water utilities. Interested on water data related to these requirements. </a:t>
                      </a:r>
                      <a:endParaRPr lang="da-DK" sz="600" dirty="0">
                        <a:solidFill>
                          <a:schemeClr val="tx1"/>
                        </a:solidFill>
                      </a:endParaRPr>
                    </a:p>
                  </a:txBody>
                  <a:tcPr marL="72000" marR="72000" marT="0" marB="0">
                    <a:noFill/>
                  </a:tcPr>
                </a:tc>
                <a:extLst>
                  <a:ext uri="{0D108BD9-81ED-4DB2-BD59-A6C34878D82A}">
                    <a16:rowId xmlns:a16="http://schemas.microsoft.com/office/drawing/2014/main" val="3899713905"/>
                  </a:ext>
                </a:extLst>
              </a:tr>
              <a:tr h="124493">
                <a:tc rowSpan="7">
                  <a:txBody>
                    <a:bodyPr/>
                    <a:lstStyle/>
                    <a:p>
                      <a:r>
                        <a:rPr lang="da-DK" sz="600" dirty="0" err="1">
                          <a:solidFill>
                            <a:schemeClr val="tx1"/>
                          </a:solidFill>
                        </a:rPr>
                        <a:t>Interest</a:t>
                      </a:r>
                      <a:r>
                        <a:rPr lang="da-DK" sz="600" dirty="0">
                          <a:solidFill>
                            <a:schemeClr val="tx1"/>
                          </a:solidFill>
                        </a:rPr>
                        <a:t> organisations</a:t>
                      </a:r>
                    </a:p>
                  </a:txBody>
                  <a:tcPr marL="72000" marR="72000" marT="0" marB="0">
                    <a:solidFill>
                      <a:schemeClr val="bg1">
                        <a:lumMod val="85000"/>
                      </a:schemeClr>
                    </a:solidFill>
                  </a:tcPr>
                </a:tc>
                <a:tc>
                  <a:txBody>
                    <a:bodyPr/>
                    <a:lstStyle/>
                    <a:p>
                      <a:r>
                        <a:rPr lang="en-US" sz="600" dirty="0">
                          <a:solidFill>
                            <a:schemeClr val="tx1"/>
                          </a:solidFill>
                        </a:rPr>
                        <a:t>Water Valley Denmark </a:t>
                      </a:r>
                      <a:endParaRPr lang="da-DK" sz="600" dirty="0">
                        <a:solidFill>
                          <a:schemeClr val="tx1"/>
                        </a:solidFill>
                      </a:endParaRPr>
                    </a:p>
                  </a:txBody>
                  <a:tcPr marL="72000" marR="72000" marT="0" marB="0">
                    <a:noFill/>
                  </a:tcPr>
                </a:tc>
                <a:tc>
                  <a:txBody>
                    <a:bodyPr/>
                    <a:lstStyle/>
                    <a:p>
                      <a:r>
                        <a:rPr lang="da-DK" sz="600" dirty="0" err="1">
                          <a:solidFill>
                            <a:schemeClr val="tx1"/>
                          </a:solidFill>
                        </a:rPr>
                        <a:t>Ofice</a:t>
                      </a:r>
                      <a:r>
                        <a:rPr lang="da-DK" sz="600" baseline="0" dirty="0">
                          <a:solidFill>
                            <a:schemeClr val="tx1"/>
                          </a:solidFill>
                        </a:rPr>
                        <a:t> in Aarhus, private </a:t>
                      </a:r>
                      <a:r>
                        <a:rPr lang="da-DK" sz="600" baseline="0" dirty="0" err="1">
                          <a:solidFill>
                            <a:schemeClr val="tx1"/>
                          </a:solidFill>
                        </a:rPr>
                        <a:t>interest</a:t>
                      </a:r>
                      <a:r>
                        <a:rPr lang="da-DK" sz="600" baseline="0" dirty="0">
                          <a:solidFill>
                            <a:schemeClr val="tx1"/>
                          </a:solidFill>
                        </a:rPr>
                        <a:t> organisation</a:t>
                      </a:r>
                      <a:endParaRPr lang="da-DK" sz="600" dirty="0">
                        <a:solidFill>
                          <a:schemeClr val="tx1"/>
                        </a:solidFill>
                      </a:endParaRPr>
                    </a:p>
                  </a:txBody>
                  <a:tcPr marL="72000" marR="72000" marT="0" marB="0">
                    <a:noFill/>
                  </a:tcPr>
                </a:tc>
                <a:tc>
                  <a:txBody>
                    <a:bodyPr/>
                    <a:lstStyle/>
                    <a:p>
                      <a:r>
                        <a:rPr lang="en-US" sz="600" dirty="0">
                          <a:solidFill>
                            <a:schemeClr val="tx1"/>
                          </a:solidFill>
                        </a:rPr>
                        <a:t>Is a</a:t>
                      </a:r>
                      <a:r>
                        <a:rPr lang="en-US" sz="600" baseline="0" dirty="0">
                          <a:solidFill>
                            <a:schemeClr val="tx1"/>
                          </a:solidFill>
                        </a:rPr>
                        <a:t> key interest organization driving the Water Data Space project. Founded by a range of (mainly large) private water technology companies and utility companies.</a:t>
                      </a:r>
                      <a:endParaRPr lang="da-DK" sz="600" dirty="0">
                        <a:solidFill>
                          <a:schemeClr val="tx1"/>
                        </a:solidFill>
                      </a:endParaRPr>
                    </a:p>
                  </a:txBody>
                  <a:tcPr marL="72000" marR="72000" marT="0" marB="0">
                    <a:noFill/>
                  </a:tcPr>
                </a:tc>
                <a:extLst>
                  <a:ext uri="{0D108BD9-81ED-4DB2-BD59-A6C34878D82A}">
                    <a16:rowId xmlns:a16="http://schemas.microsoft.com/office/drawing/2014/main" val="1384351764"/>
                  </a:ext>
                </a:extLst>
              </a:tr>
              <a:tr h="144016">
                <a:tc vMerge="1">
                  <a:txBody>
                    <a:bodyPr/>
                    <a:lstStyle/>
                    <a:p>
                      <a:endParaRPr lang="da-DK" sz="800" dirty="0">
                        <a:solidFill>
                          <a:schemeClr val="tx1"/>
                        </a:solidFill>
                      </a:endParaRPr>
                    </a:p>
                  </a:txBody>
                  <a:tcPr marL="72000" marR="72000" marT="0" marB="0">
                    <a:solidFill>
                      <a:schemeClr val="bg1"/>
                    </a:solidFill>
                  </a:tcPr>
                </a:tc>
                <a:tc>
                  <a:txBody>
                    <a:bodyPr/>
                    <a:lstStyle/>
                    <a:p>
                      <a:r>
                        <a:rPr lang="en-US" sz="600" dirty="0">
                          <a:solidFill>
                            <a:schemeClr val="tx1"/>
                          </a:solidFill>
                        </a:rPr>
                        <a:t>CLEAN</a:t>
                      </a:r>
                      <a:endParaRPr lang="da-DK" sz="600" dirty="0">
                        <a:solidFill>
                          <a:schemeClr val="tx1"/>
                        </a:solidFill>
                      </a:endParaRPr>
                    </a:p>
                  </a:txBody>
                  <a:tcPr marL="72000" marR="72000" marT="0" marB="0">
                    <a:noFill/>
                  </a:tcPr>
                </a:tc>
                <a:tc>
                  <a:txBody>
                    <a:bodyPr/>
                    <a:lstStyle/>
                    <a:p>
                      <a:r>
                        <a:rPr lang="da-DK" sz="600" dirty="0">
                          <a:solidFill>
                            <a:schemeClr val="tx1"/>
                          </a:solidFill>
                        </a:rPr>
                        <a:t>Offices</a:t>
                      </a:r>
                      <a:r>
                        <a:rPr lang="da-DK" sz="600" baseline="0" dirty="0">
                          <a:solidFill>
                            <a:schemeClr val="tx1"/>
                          </a:solidFill>
                        </a:rPr>
                        <a:t> </a:t>
                      </a:r>
                      <a:r>
                        <a:rPr lang="da-DK" sz="600" baseline="0" dirty="0" err="1">
                          <a:solidFill>
                            <a:schemeClr val="tx1"/>
                          </a:solidFill>
                        </a:rPr>
                        <a:t>thoughout</a:t>
                      </a:r>
                      <a:r>
                        <a:rPr lang="da-DK" sz="600" baseline="0" dirty="0">
                          <a:solidFill>
                            <a:schemeClr val="tx1"/>
                          </a:solidFill>
                        </a:rPr>
                        <a:t> DK, has 5 </a:t>
                      </a:r>
                      <a:r>
                        <a:rPr lang="da-DK" sz="600" baseline="0" dirty="0" err="1">
                          <a:solidFill>
                            <a:schemeClr val="tx1"/>
                          </a:solidFill>
                        </a:rPr>
                        <a:t>focus</a:t>
                      </a:r>
                      <a:r>
                        <a:rPr lang="da-DK" sz="600" baseline="0" dirty="0">
                          <a:solidFill>
                            <a:schemeClr val="tx1"/>
                          </a:solidFill>
                        </a:rPr>
                        <a:t> </a:t>
                      </a:r>
                      <a:r>
                        <a:rPr lang="da-DK" sz="600" baseline="0" dirty="0" err="1">
                          <a:solidFill>
                            <a:schemeClr val="tx1"/>
                          </a:solidFill>
                        </a:rPr>
                        <a:t>areas</a:t>
                      </a:r>
                      <a:r>
                        <a:rPr lang="da-DK" sz="600" baseline="0" dirty="0">
                          <a:solidFill>
                            <a:schemeClr val="tx1"/>
                          </a:solidFill>
                        </a:rPr>
                        <a:t> + </a:t>
                      </a:r>
                      <a:r>
                        <a:rPr lang="da-DK" sz="600" baseline="0" dirty="0" err="1">
                          <a:solidFill>
                            <a:schemeClr val="tx1"/>
                          </a:solidFill>
                        </a:rPr>
                        <a:t>internationalisation</a:t>
                      </a:r>
                      <a:endParaRPr lang="da-DK" sz="600" dirty="0">
                        <a:solidFill>
                          <a:schemeClr val="tx1"/>
                        </a:solidFill>
                      </a:endParaRPr>
                    </a:p>
                  </a:txBody>
                  <a:tcPr marL="72000" marR="72000" marT="0" marB="0">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dirty="0">
                          <a:solidFill>
                            <a:schemeClr val="tx1"/>
                          </a:solidFill>
                        </a:rPr>
                        <a:t>The (national)</a:t>
                      </a:r>
                      <a:r>
                        <a:rPr lang="en-US" sz="600" baseline="0" dirty="0">
                          <a:solidFill>
                            <a:schemeClr val="tx1"/>
                          </a:solidFill>
                        </a:rPr>
                        <a:t> </a:t>
                      </a:r>
                      <a:r>
                        <a:rPr lang="en-US" sz="600" dirty="0">
                          <a:solidFill>
                            <a:schemeClr val="tx1"/>
                          </a:solidFill>
                        </a:rPr>
                        <a:t>cluster organization in environmental technology,</a:t>
                      </a:r>
                      <a:r>
                        <a:rPr lang="en-US" sz="600" baseline="0" dirty="0">
                          <a:solidFill>
                            <a:schemeClr val="tx1"/>
                          </a:solidFill>
                        </a:rPr>
                        <a:t> managing the </a:t>
                      </a:r>
                      <a:r>
                        <a:rPr lang="en-US" sz="600" dirty="0" err="1">
                          <a:solidFill>
                            <a:schemeClr val="tx1"/>
                          </a:solidFill>
                        </a:rPr>
                        <a:t>Erhvervsfyrtårn</a:t>
                      </a:r>
                      <a:r>
                        <a:rPr lang="en-US" sz="600" dirty="0">
                          <a:solidFill>
                            <a:schemeClr val="tx1"/>
                          </a:solidFill>
                        </a:rPr>
                        <a:t> for </a:t>
                      </a:r>
                      <a:r>
                        <a:rPr lang="en-US" sz="600" dirty="0" err="1">
                          <a:solidFill>
                            <a:schemeClr val="tx1"/>
                          </a:solidFill>
                        </a:rPr>
                        <a:t>vandteknologi</a:t>
                      </a:r>
                      <a:r>
                        <a:rPr lang="en-US" sz="600" dirty="0">
                          <a:solidFill>
                            <a:schemeClr val="tx1"/>
                          </a:solidFill>
                        </a:rPr>
                        <a:t>.</a:t>
                      </a:r>
                      <a:r>
                        <a:rPr lang="en-US" sz="600" baseline="0" dirty="0">
                          <a:solidFill>
                            <a:schemeClr val="tx1"/>
                          </a:solidFill>
                        </a:rPr>
                        <a:t> Has important knowledge and data on SMEs in the field of water technology. </a:t>
                      </a:r>
                      <a:r>
                        <a:rPr lang="da-DK" sz="600" baseline="0" dirty="0">
                          <a:solidFill>
                            <a:schemeClr val="tx1"/>
                          </a:solidFill>
                        </a:rPr>
                        <a:t>Has </a:t>
                      </a:r>
                      <a:r>
                        <a:rPr lang="da-DK" sz="600" baseline="0" dirty="0" err="1">
                          <a:solidFill>
                            <a:schemeClr val="tx1"/>
                          </a:solidFill>
                        </a:rPr>
                        <a:t>both</a:t>
                      </a:r>
                      <a:r>
                        <a:rPr lang="da-DK" sz="600" baseline="0" dirty="0">
                          <a:solidFill>
                            <a:schemeClr val="tx1"/>
                          </a:solidFill>
                        </a:rPr>
                        <a:t> national and international </a:t>
                      </a:r>
                      <a:r>
                        <a:rPr lang="da-DK" sz="600" baseline="0" dirty="0" err="1">
                          <a:solidFill>
                            <a:schemeClr val="tx1"/>
                          </a:solidFill>
                        </a:rPr>
                        <a:t>focus</a:t>
                      </a:r>
                      <a:r>
                        <a:rPr lang="da-DK" sz="600" baseline="0" dirty="0">
                          <a:solidFill>
                            <a:schemeClr val="tx1"/>
                          </a:solidFill>
                        </a:rPr>
                        <a:t>, </a:t>
                      </a:r>
                      <a:r>
                        <a:rPr lang="da-DK" sz="600" baseline="0" dirty="0" err="1">
                          <a:solidFill>
                            <a:schemeClr val="tx1"/>
                          </a:solidFill>
                        </a:rPr>
                        <a:t>digitalization</a:t>
                      </a:r>
                      <a:r>
                        <a:rPr lang="da-DK" sz="600" baseline="0" dirty="0">
                          <a:solidFill>
                            <a:schemeClr val="tx1"/>
                          </a:solidFill>
                        </a:rPr>
                        <a:t> is a </a:t>
                      </a:r>
                      <a:r>
                        <a:rPr lang="da-DK" sz="600" baseline="0" dirty="0" err="1">
                          <a:solidFill>
                            <a:schemeClr val="tx1"/>
                          </a:solidFill>
                        </a:rPr>
                        <a:t>cross-cutting</a:t>
                      </a:r>
                      <a:r>
                        <a:rPr lang="da-DK" sz="600" baseline="0" dirty="0">
                          <a:solidFill>
                            <a:schemeClr val="tx1"/>
                          </a:solidFill>
                        </a:rPr>
                        <a:t> </a:t>
                      </a:r>
                      <a:r>
                        <a:rPr lang="da-DK" sz="600" baseline="0" dirty="0" err="1">
                          <a:solidFill>
                            <a:schemeClr val="tx1"/>
                          </a:solidFill>
                        </a:rPr>
                        <a:t>activity</a:t>
                      </a:r>
                      <a:r>
                        <a:rPr lang="da-DK" sz="600" baseline="0" dirty="0">
                          <a:solidFill>
                            <a:schemeClr val="tx1"/>
                          </a:solidFill>
                        </a:rPr>
                        <a:t>, </a:t>
                      </a:r>
                      <a:r>
                        <a:rPr lang="da-DK" sz="600" baseline="0" dirty="0" err="1">
                          <a:solidFill>
                            <a:schemeClr val="tx1"/>
                          </a:solidFill>
                        </a:rPr>
                        <a:t>across</a:t>
                      </a:r>
                      <a:r>
                        <a:rPr lang="da-DK" sz="600" baseline="0" dirty="0">
                          <a:solidFill>
                            <a:schemeClr val="tx1"/>
                          </a:solidFill>
                        </a:rPr>
                        <a:t> </a:t>
                      </a:r>
                      <a:r>
                        <a:rPr lang="da-DK" sz="600" baseline="0" dirty="0" err="1">
                          <a:solidFill>
                            <a:schemeClr val="tx1"/>
                          </a:solidFill>
                        </a:rPr>
                        <a:t>five</a:t>
                      </a:r>
                      <a:r>
                        <a:rPr lang="da-DK" sz="600" baseline="0" dirty="0">
                          <a:solidFill>
                            <a:schemeClr val="tx1"/>
                          </a:solidFill>
                        </a:rPr>
                        <a:t> </a:t>
                      </a:r>
                      <a:r>
                        <a:rPr lang="da-DK" sz="600" baseline="0" dirty="0" err="1">
                          <a:solidFill>
                            <a:schemeClr val="tx1"/>
                          </a:solidFill>
                        </a:rPr>
                        <a:t>thematic</a:t>
                      </a:r>
                      <a:r>
                        <a:rPr lang="da-DK" sz="600" baseline="0" dirty="0">
                          <a:solidFill>
                            <a:schemeClr val="tx1"/>
                          </a:solidFill>
                        </a:rPr>
                        <a:t> </a:t>
                      </a:r>
                      <a:r>
                        <a:rPr lang="da-DK" sz="600" baseline="0" dirty="0" err="1">
                          <a:solidFill>
                            <a:schemeClr val="tx1"/>
                          </a:solidFill>
                        </a:rPr>
                        <a:t>focus</a:t>
                      </a:r>
                      <a:r>
                        <a:rPr lang="da-DK" sz="600" baseline="0" dirty="0">
                          <a:solidFill>
                            <a:schemeClr val="tx1"/>
                          </a:solidFill>
                        </a:rPr>
                        <a:t> </a:t>
                      </a:r>
                      <a:r>
                        <a:rPr lang="da-DK" sz="600" baseline="0" dirty="0" err="1">
                          <a:solidFill>
                            <a:schemeClr val="tx1"/>
                          </a:solidFill>
                        </a:rPr>
                        <a:t>areas</a:t>
                      </a:r>
                      <a:endParaRPr lang="da-DK" sz="600" dirty="0">
                        <a:solidFill>
                          <a:schemeClr val="tx1"/>
                        </a:solidFill>
                      </a:endParaRPr>
                    </a:p>
                  </a:txBody>
                  <a:tcPr marL="72000" marR="72000" marT="0" marB="0">
                    <a:noFill/>
                  </a:tcPr>
                </a:tc>
                <a:extLst>
                  <a:ext uri="{0D108BD9-81ED-4DB2-BD59-A6C34878D82A}">
                    <a16:rowId xmlns:a16="http://schemas.microsoft.com/office/drawing/2014/main" val="4012306135"/>
                  </a:ext>
                </a:extLst>
              </a:tr>
              <a:tr h="177160">
                <a:tc vMerge="1">
                  <a:txBody>
                    <a:bodyPr/>
                    <a:lstStyle/>
                    <a:p>
                      <a:endParaRPr lang="da-DK" sz="800" dirty="0">
                        <a:solidFill>
                          <a:schemeClr val="tx1"/>
                        </a:solidFill>
                      </a:endParaRPr>
                    </a:p>
                  </a:txBody>
                  <a:tcPr marL="72000" marR="72000" marT="0" marB="0">
                    <a:solidFill>
                      <a:schemeClr val="bg1"/>
                    </a:solidFill>
                  </a:tcPr>
                </a:tc>
                <a:tc>
                  <a:txBody>
                    <a:bodyPr/>
                    <a:lstStyle/>
                    <a:p>
                      <a:r>
                        <a:rPr lang="en-US" sz="600" dirty="0" err="1">
                          <a:solidFill>
                            <a:schemeClr val="tx1"/>
                          </a:solidFill>
                        </a:rPr>
                        <a:t>Erhvervsfyrtårn</a:t>
                      </a:r>
                      <a:r>
                        <a:rPr lang="en-US" sz="600" dirty="0">
                          <a:solidFill>
                            <a:schemeClr val="tx1"/>
                          </a:solidFill>
                        </a:rPr>
                        <a:t> for </a:t>
                      </a:r>
                      <a:r>
                        <a:rPr lang="en-US" sz="600" dirty="0" err="1">
                          <a:solidFill>
                            <a:schemeClr val="tx1"/>
                          </a:solidFill>
                        </a:rPr>
                        <a:t>vandteknologi</a:t>
                      </a:r>
                      <a:r>
                        <a:rPr lang="en-US" sz="600" dirty="0">
                          <a:solidFill>
                            <a:schemeClr val="tx1"/>
                          </a:solidFill>
                        </a:rPr>
                        <a:t> </a:t>
                      </a:r>
                      <a:endParaRPr lang="da-DK" sz="600" dirty="0">
                        <a:solidFill>
                          <a:schemeClr val="tx1"/>
                        </a:solidFill>
                      </a:endParaRPr>
                    </a:p>
                  </a:txBody>
                  <a:tcPr marL="72000" marR="72000" marT="0" marB="0">
                    <a:noFill/>
                  </a:tcPr>
                </a:tc>
                <a:tc>
                  <a:txBody>
                    <a:bodyPr/>
                    <a:lstStyle/>
                    <a:p>
                      <a:r>
                        <a:rPr lang="da-DK" sz="600" dirty="0">
                          <a:solidFill>
                            <a:schemeClr val="tx1"/>
                          </a:solidFill>
                        </a:rPr>
                        <a:t>Styregruppe </a:t>
                      </a:r>
                      <a:r>
                        <a:rPr lang="da-DK" sz="600" dirty="0" err="1">
                          <a:solidFill>
                            <a:schemeClr val="tx1"/>
                          </a:solidFill>
                        </a:rPr>
                        <a:t>consisting</a:t>
                      </a:r>
                      <a:r>
                        <a:rPr lang="da-DK" sz="600" dirty="0">
                          <a:solidFill>
                            <a:schemeClr val="tx1"/>
                          </a:solidFill>
                        </a:rPr>
                        <a:t> of: CLEAN, WVDK, </a:t>
                      </a:r>
                      <a:r>
                        <a:rPr lang="da-DK" sz="600" dirty="0" err="1">
                          <a:solidFill>
                            <a:schemeClr val="tx1"/>
                          </a:solidFill>
                        </a:rPr>
                        <a:t>Klimatorium</a:t>
                      </a:r>
                      <a:r>
                        <a:rPr lang="da-DK" sz="600" dirty="0">
                          <a:solidFill>
                            <a:schemeClr val="tx1"/>
                          </a:solidFill>
                        </a:rPr>
                        <a:t>, Aarhus Kommune, Aarhus Universitet, VIA, Lemvig Kommune, Region Midtjylland, Erhvervshus</a:t>
                      </a:r>
                      <a:r>
                        <a:rPr lang="da-DK" sz="600" baseline="0" dirty="0">
                          <a:solidFill>
                            <a:schemeClr val="tx1"/>
                          </a:solidFill>
                        </a:rPr>
                        <a:t> Midtjylland</a:t>
                      </a:r>
                      <a:endParaRPr lang="da-DK" sz="600" dirty="0">
                        <a:solidFill>
                          <a:schemeClr val="tx1"/>
                        </a:solidFill>
                      </a:endParaRPr>
                    </a:p>
                  </a:txBody>
                  <a:tcPr marL="72000" marR="72000" marT="0" marB="0">
                    <a:noFill/>
                  </a:tcPr>
                </a:tc>
                <a:tc>
                  <a:txBody>
                    <a:bodyPr/>
                    <a:lstStyle/>
                    <a:p>
                      <a:r>
                        <a:rPr lang="en-US" sz="600" dirty="0">
                          <a:solidFill>
                            <a:schemeClr val="tx1"/>
                          </a:solidFill>
                        </a:rPr>
                        <a:t>Currently, a project og one year duration</a:t>
                      </a:r>
                      <a:r>
                        <a:rPr lang="en-US" sz="600" baseline="0" dirty="0">
                          <a:solidFill>
                            <a:schemeClr val="tx1"/>
                          </a:solidFill>
                        </a:rPr>
                        <a:t> (May 2022 – August 2023) with finding from REACT</a:t>
                      </a:r>
                      <a:r>
                        <a:rPr lang="en-US" sz="600" dirty="0">
                          <a:solidFill>
                            <a:schemeClr val="tx1"/>
                          </a:solidFill>
                        </a:rPr>
                        <a:t>. Currently an</a:t>
                      </a:r>
                      <a:r>
                        <a:rPr lang="en-US" sz="600" baseline="0" dirty="0">
                          <a:solidFill>
                            <a:schemeClr val="tx1"/>
                          </a:solidFill>
                        </a:rPr>
                        <a:t> application for 2</a:t>
                      </a:r>
                      <a:r>
                        <a:rPr lang="en-US" sz="600" baseline="30000" dirty="0">
                          <a:solidFill>
                            <a:schemeClr val="tx1"/>
                          </a:solidFill>
                        </a:rPr>
                        <a:t>nd</a:t>
                      </a:r>
                      <a:r>
                        <a:rPr lang="en-US" sz="600" baseline="0" dirty="0">
                          <a:solidFill>
                            <a:schemeClr val="tx1"/>
                          </a:solidFill>
                        </a:rPr>
                        <a:t> round REACT-funding is being prepared. It is currently unclear how the local-regional-national focus will be.</a:t>
                      </a:r>
                      <a:endParaRPr lang="da-DK" sz="600" dirty="0">
                        <a:solidFill>
                          <a:schemeClr val="tx1"/>
                        </a:solidFill>
                      </a:endParaRPr>
                    </a:p>
                  </a:txBody>
                  <a:tcPr marL="72000" marR="72000" marT="0" marB="0">
                    <a:noFill/>
                  </a:tcPr>
                </a:tc>
                <a:extLst>
                  <a:ext uri="{0D108BD9-81ED-4DB2-BD59-A6C34878D82A}">
                    <a16:rowId xmlns:a16="http://schemas.microsoft.com/office/drawing/2014/main" val="2658459900"/>
                  </a:ext>
                </a:extLst>
              </a:tr>
              <a:tr h="144000">
                <a:tc vMerge="1">
                  <a:txBody>
                    <a:bodyPr/>
                    <a:lstStyle/>
                    <a:p>
                      <a:endParaRPr lang="da-DK" sz="700" dirty="0">
                        <a:solidFill>
                          <a:schemeClr val="tx1"/>
                        </a:solidFill>
                      </a:endParaRPr>
                    </a:p>
                  </a:txBody>
                  <a:tcPr marL="72000" marR="72000" marT="0" marB="0">
                    <a:solidFill>
                      <a:schemeClr val="bg1">
                        <a:lumMod val="85000"/>
                      </a:schemeClr>
                    </a:solidFill>
                  </a:tcPr>
                </a:tc>
                <a:tc>
                  <a:txBody>
                    <a:bodyPr/>
                    <a:lstStyle/>
                    <a:p>
                      <a:r>
                        <a:rPr lang="da-DK" sz="600" dirty="0">
                          <a:solidFill>
                            <a:schemeClr val="tx1"/>
                          </a:solidFill>
                        </a:rPr>
                        <a:t>DANVA, Danske Vandværker</a:t>
                      </a:r>
                    </a:p>
                  </a:txBody>
                  <a:tcPr marL="72000" marR="72000" marT="0" marB="0">
                    <a:noFill/>
                  </a:tcPr>
                </a:tc>
                <a:tc>
                  <a:txBody>
                    <a:bodyPr/>
                    <a:lstStyle/>
                    <a:p>
                      <a:r>
                        <a:rPr lang="da-DK" sz="600" dirty="0">
                          <a:solidFill>
                            <a:schemeClr val="tx1"/>
                          </a:solidFill>
                        </a:rPr>
                        <a:t>National</a:t>
                      </a:r>
                      <a:r>
                        <a:rPr lang="da-DK" sz="600" baseline="0" dirty="0">
                          <a:solidFill>
                            <a:schemeClr val="tx1"/>
                          </a:solidFill>
                        </a:rPr>
                        <a:t> Danish </a:t>
                      </a:r>
                      <a:r>
                        <a:rPr lang="da-DK" sz="600" baseline="0" dirty="0">
                          <a:solidFill>
                            <a:srgbClr val="FF0000"/>
                          </a:solidFill>
                        </a:rPr>
                        <a:t>(private) </a:t>
                      </a:r>
                      <a:r>
                        <a:rPr lang="da-DK" sz="600" baseline="0" dirty="0" err="1">
                          <a:solidFill>
                            <a:srgbClr val="FF0000"/>
                          </a:solidFill>
                        </a:rPr>
                        <a:t>interest</a:t>
                      </a:r>
                      <a:r>
                        <a:rPr lang="da-DK" sz="600" baseline="0" dirty="0">
                          <a:solidFill>
                            <a:srgbClr val="FF0000"/>
                          </a:solidFill>
                        </a:rPr>
                        <a:t> </a:t>
                      </a:r>
                      <a:r>
                        <a:rPr lang="da-DK" sz="600" baseline="0" dirty="0">
                          <a:solidFill>
                            <a:schemeClr val="tx1"/>
                          </a:solidFill>
                        </a:rPr>
                        <a:t>organisations of public and private </a:t>
                      </a:r>
                      <a:r>
                        <a:rPr lang="da-DK" sz="600" baseline="0" dirty="0" err="1">
                          <a:solidFill>
                            <a:schemeClr val="tx1"/>
                          </a:solidFill>
                        </a:rPr>
                        <a:t>water</a:t>
                      </a:r>
                      <a:r>
                        <a:rPr lang="da-DK" sz="600" baseline="0" dirty="0">
                          <a:solidFill>
                            <a:schemeClr val="tx1"/>
                          </a:solidFill>
                        </a:rPr>
                        <a:t> </a:t>
                      </a:r>
                      <a:r>
                        <a:rPr lang="da-DK" sz="600" baseline="0" dirty="0" err="1">
                          <a:solidFill>
                            <a:schemeClr val="tx1"/>
                          </a:solidFill>
                        </a:rPr>
                        <a:t>utility</a:t>
                      </a:r>
                      <a:r>
                        <a:rPr lang="da-DK" sz="600" baseline="0" dirty="0">
                          <a:solidFill>
                            <a:schemeClr val="tx1"/>
                          </a:solidFill>
                        </a:rPr>
                        <a:t> </a:t>
                      </a:r>
                      <a:r>
                        <a:rPr lang="da-DK" sz="600" baseline="0" dirty="0" err="1">
                          <a:solidFill>
                            <a:schemeClr val="tx1"/>
                          </a:solidFill>
                        </a:rPr>
                        <a:t>companies</a:t>
                      </a:r>
                      <a:endParaRPr lang="da-DK" sz="600" dirty="0">
                        <a:solidFill>
                          <a:schemeClr val="tx1"/>
                        </a:solidFill>
                      </a:endParaRPr>
                    </a:p>
                  </a:txBody>
                  <a:tcPr marL="72000" marR="72000" marT="0" marB="0">
                    <a:noFill/>
                  </a:tcPr>
                </a:tc>
                <a:tc>
                  <a:txBody>
                    <a:bodyPr/>
                    <a:lstStyle/>
                    <a:p>
                      <a:r>
                        <a:rPr lang="da-DK" sz="600" dirty="0" err="1">
                          <a:solidFill>
                            <a:schemeClr val="tx1"/>
                          </a:solidFill>
                        </a:rPr>
                        <a:t>DANVA’s</a:t>
                      </a:r>
                      <a:r>
                        <a:rPr lang="da-DK" sz="600" dirty="0">
                          <a:solidFill>
                            <a:schemeClr val="tx1"/>
                          </a:solidFill>
                        </a:rPr>
                        <a:t> </a:t>
                      </a:r>
                      <a:r>
                        <a:rPr lang="da-DK" sz="600" dirty="0" err="1">
                          <a:solidFill>
                            <a:schemeClr val="tx1"/>
                          </a:solidFill>
                        </a:rPr>
                        <a:t>target</a:t>
                      </a:r>
                      <a:r>
                        <a:rPr lang="da-DK" sz="600" dirty="0">
                          <a:solidFill>
                            <a:schemeClr val="tx1"/>
                          </a:solidFill>
                        </a:rPr>
                        <a:t> </a:t>
                      </a:r>
                      <a:r>
                        <a:rPr lang="da-DK" sz="600" dirty="0" err="1">
                          <a:solidFill>
                            <a:schemeClr val="tx1"/>
                          </a:solidFill>
                        </a:rPr>
                        <a:t>group</a:t>
                      </a:r>
                      <a:r>
                        <a:rPr lang="da-DK" sz="600" dirty="0">
                          <a:solidFill>
                            <a:schemeClr val="tx1"/>
                          </a:solidFill>
                        </a:rPr>
                        <a:t> is</a:t>
                      </a:r>
                      <a:r>
                        <a:rPr lang="da-DK" sz="600" baseline="0" dirty="0">
                          <a:solidFill>
                            <a:schemeClr val="tx1"/>
                          </a:solidFill>
                        </a:rPr>
                        <a:t> </a:t>
                      </a:r>
                      <a:r>
                        <a:rPr lang="da-DK" sz="600" baseline="0" dirty="0" err="1">
                          <a:solidFill>
                            <a:schemeClr val="tx1"/>
                          </a:solidFill>
                        </a:rPr>
                        <a:t>principle</a:t>
                      </a:r>
                      <a:r>
                        <a:rPr lang="da-DK" sz="600" baseline="0" dirty="0">
                          <a:solidFill>
                            <a:schemeClr val="tx1"/>
                          </a:solidFill>
                        </a:rPr>
                        <a:t> all Danish </a:t>
                      </a:r>
                      <a:r>
                        <a:rPr lang="da-DK" sz="600" baseline="0" dirty="0" err="1">
                          <a:solidFill>
                            <a:schemeClr val="tx1"/>
                          </a:solidFill>
                        </a:rPr>
                        <a:t>water</a:t>
                      </a:r>
                      <a:r>
                        <a:rPr lang="da-DK" sz="600" baseline="0" dirty="0">
                          <a:solidFill>
                            <a:schemeClr val="tx1"/>
                          </a:solidFill>
                        </a:rPr>
                        <a:t> </a:t>
                      </a:r>
                      <a:r>
                        <a:rPr lang="da-DK" sz="600" baseline="0" dirty="0" err="1">
                          <a:solidFill>
                            <a:schemeClr val="tx1"/>
                          </a:solidFill>
                        </a:rPr>
                        <a:t>utilities</a:t>
                      </a:r>
                      <a:r>
                        <a:rPr lang="da-DK" sz="600" baseline="0" dirty="0">
                          <a:solidFill>
                            <a:schemeClr val="tx1"/>
                          </a:solidFill>
                        </a:rPr>
                        <a:t>, </a:t>
                      </a:r>
                      <a:r>
                        <a:rPr lang="da-DK" sz="600" baseline="0" dirty="0" err="1">
                          <a:solidFill>
                            <a:schemeClr val="tx1"/>
                          </a:solidFill>
                        </a:rPr>
                        <a:t>however</a:t>
                      </a:r>
                      <a:r>
                        <a:rPr lang="da-DK" sz="600" baseline="0" dirty="0">
                          <a:solidFill>
                            <a:schemeClr val="tx1"/>
                          </a:solidFill>
                        </a:rPr>
                        <a:t> </a:t>
                      </a:r>
                      <a:r>
                        <a:rPr lang="da-DK" sz="600" baseline="0" dirty="0" err="1">
                          <a:solidFill>
                            <a:schemeClr val="tx1"/>
                          </a:solidFill>
                        </a:rPr>
                        <a:t>many</a:t>
                      </a:r>
                      <a:r>
                        <a:rPr lang="da-DK" sz="600" baseline="0" dirty="0">
                          <a:solidFill>
                            <a:schemeClr val="tx1"/>
                          </a:solidFill>
                        </a:rPr>
                        <a:t> small </a:t>
                      </a:r>
                      <a:r>
                        <a:rPr lang="da-DK" sz="600" baseline="0" dirty="0" err="1">
                          <a:solidFill>
                            <a:schemeClr val="tx1"/>
                          </a:solidFill>
                        </a:rPr>
                        <a:t>drinking</a:t>
                      </a:r>
                      <a:r>
                        <a:rPr lang="da-DK" sz="600" baseline="0" dirty="0">
                          <a:solidFill>
                            <a:schemeClr val="tx1"/>
                          </a:solidFill>
                        </a:rPr>
                        <a:t> </a:t>
                      </a:r>
                      <a:r>
                        <a:rPr lang="da-DK" sz="600" baseline="0" dirty="0" err="1">
                          <a:solidFill>
                            <a:schemeClr val="tx1"/>
                          </a:solidFill>
                        </a:rPr>
                        <a:t>water</a:t>
                      </a:r>
                      <a:r>
                        <a:rPr lang="da-DK" sz="600" baseline="0" dirty="0">
                          <a:solidFill>
                            <a:schemeClr val="tx1"/>
                          </a:solidFill>
                        </a:rPr>
                        <a:t> </a:t>
                      </a:r>
                      <a:r>
                        <a:rPr lang="da-DK" sz="600" baseline="0" dirty="0" err="1">
                          <a:solidFill>
                            <a:schemeClr val="tx1"/>
                          </a:solidFill>
                        </a:rPr>
                        <a:t>utilities</a:t>
                      </a:r>
                      <a:r>
                        <a:rPr lang="da-DK" sz="600" baseline="0" dirty="0">
                          <a:solidFill>
                            <a:schemeClr val="tx1"/>
                          </a:solidFill>
                        </a:rPr>
                        <a:t> </a:t>
                      </a:r>
                      <a:r>
                        <a:rPr lang="da-DK" sz="600" baseline="0" dirty="0" err="1">
                          <a:solidFill>
                            <a:schemeClr val="tx1"/>
                          </a:solidFill>
                        </a:rPr>
                        <a:t>are</a:t>
                      </a:r>
                      <a:r>
                        <a:rPr lang="da-DK" sz="600" baseline="0" dirty="0">
                          <a:solidFill>
                            <a:schemeClr val="tx1"/>
                          </a:solidFill>
                        </a:rPr>
                        <a:t> </a:t>
                      </a:r>
                      <a:r>
                        <a:rPr lang="da-DK" sz="600" baseline="0" dirty="0" err="1">
                          <a:solidFill>
                            <a:schemeClr val="tx1"/>
                          </a:solidFill>
                        </a:rPr>
                        <a:t>organised</a:t>
                      </a:r>
                      <a:r>
                        <a:rPr lang="da-DK" sz="600" baseline="0" dirty="0">
                          <a:solidFill>
                            <a:schemeClr val="tx1"/>
                          </a:solidFill>
                        </a:rPr>
                        <a:t> under Danske Vandværker. </a:t>
                      </a:r>
                      <a:r>
                        <a:rPr lang="da-DK" sz="600" baseline="0" dirty="0" err="1">
                          <a:solidFill>
                            <a:schemeClr val="tx1"/>
                          </a:solidFill>
                        </a:rPr>
                        <a:t>Both</a:t>
                      </a:r>
                      <a:r>
                        <a:rPr lang="da-DK" sz="600" baseline="0" dirty="0">
                          <a:solidFill>
                            <a:schemeClr val="tx1"/>
                          </a:solidFill>
                        </a:rPr>
                        <a:t> </a:t>
                      </a:r>
                      <a:r>
                        <a:rPr lang="da-DK" sz="600" baseline="0" dirty="0" err="1">
                          <a:solidFill>
                            <a:schemeClr val="tx1"/>
                          </a:solidFill>
                        </a:rPr>
                        <a:t>are</a:t>
                      </a:r>
                      <a:r>
                        <a:rPr lang="da-DK" sz="600" baseline="0" dirty="0">
                          <a:solidFill>
                            <a:schemeClr val="tx1"/>
                          </a:solidFill>
                        </a:rPr>
                        <a:t> </a:t>
                      </a:r>
                      <a:r>
                        <a:rPr lang="da-DK" sz="600" baseline="0" dirty="0" err="1">
                          <a:solidFill>
                            <a:schemeClr val="tx1"/>
                          </a:solidFill>
                        </a:rPr>
                        <a:t>ac</a:t>
                      </a:r>
                      <a:r>
                        <a:rPr lang="da-DK" sz="600" dirty="0" err="1">
                          <a:solidFill>
                            <a:schemeClr val="tx1"/>
                          </a:solidFill>
                        </a:rPr>
                        <a:t>tive</a:t>
                      </a:r>
                      <a:r>
                        <a:rPr lang="da-DK" sz="600" dirty="0">
                          <a:solidFill>
                            <a:schemeClr val="tx1"/>
                          </a:solidFill>
                        </a:rPr>
                        <a:t> in the</a:t>
                      </a:r>
                      <a:r>
                        <a:rPr lang="da-DK" sz="600" baseline="0" dirty="0">
                          <a:solidFill>
                            <a:schemeClr val="tx1"/>
                          </a:solidFill>
                        </a:rPr>
                        <a:t> </a:t>
                      </a:r>
                      <a:r>
                        <a:rPr lang="da-DK" sz="600" baseline="0" dirty="0" err="1">
                          <a:solidFill>
                            <a:schemeClr val="tx1"/>
                          </a:solidFill>
                        </a:rPr>
                        <a:t>political</a:t>
                      </a:r>
                      <a:r>
                        <a:rPr lang="da-DK" sz="600" baseline="0" dirty="0">
                          <a:solidFill>
                            <a:schemeClr val="tx1"/>
                          </a:solidFill>
                        </a:rPr>
                        <a:t> domain. DANVA </a:t>
                      </a:r>
                      <a:r>
                        <a:rPr lang="da-DK" sz="600" baseline="0" dirty="0" err="1">
                          <a:solidFill>
                            <a:schemeClr val="tx1"/>
                          </a:solidFill>
                        </a:rPr>
                        <a:t>also</a:t>
                      </a:r>
                      <a:r>
                        <a:rPr lang="da-DK" sz="600" baseline="0" dirty="0">
                          <a:solidFill>
                            <a:schemeClr val="tx1"/>
                          </a:solidFill>
                        </a:rPr>
                        <a:t> has </a:t>
                      </a:r>
                      <a:r>
                        <a:rPr lang="da-DK" sz="600" baseline="0" dirty="0" err="1">
                          <a:solidFill>
                            <a:schemeClr val="tx1"/>
                          </a:solidFill>
                        </a:rPr>
                        <a:t>substantial</a:t>
                      </a:r>
                      <a:r>
                        <a:rPr lang="da-DK" sz="600" baseline="0" dirty="0">
                          <a:solidFill>
                            <a:schemeClr val="tx1"/>
                          </a:solidFill>
                        </a:rPr>
                        <a:t> professional </a:t>
                      </a:r>
                      <a:r>
                        <a:rPr lang="da-DK" sz="600" baseline="0" dirty="0" err="1">
                          <a:solidFill>
                            <a:schemeClr val="tx1"/>
                          </a:solidFill>
                        </a:rPr>
                        <a:t>development</a:t>
                      </a:r>
                      <a:r>
                        <a:rPr lang="da-DK" sz="600" baseline="0" dirty="0">
                          <a:solidFill>
                            <a:schemeClr val="tx1"/>
                          </a:solidFill>
                        </a:rPr>
                        <a:t> and </a:t>
                      </a:r>
                      <a:r>
                        <a:rPr lang="da-DK" sz="600" baseline="0" dirty="0" err="1">
                          <a:solidFill>
                            <a:schemeClr val="tx1"/>
                          </a:solidFill>
                        </a:rPr>
                        <a:t>conference</a:t>
                      </a:r>
                      <a:r>
                        <a:rPr lang="da-DK" sz="600" baseline="0" dirty="0">
                          <a:solidFill>
                            <a:schemeClr val="tx1"/>
                          </a:solidFill>
                        </a:rPr>
                        <a:t> </a:t>
                      </a:r>
                      <a:r>
                        <a:rPr lang="da-DK" sz="600" baseline="0" dirty="0" err="1">
                          <a:solidFill>
                            <a:schemeClr val="tx1"/>
                          </a:solidFill>
                        </a:rPr>
                        <a:t>activities</a:t>
                      </a:r>
                      <a:r>
                        <a:rPr lang="da-DK" sz="600" baseline="0" dirty="0">
                          <a:solidFill>
                            <a:schemeClr val="tx1"/>
                          </a:solidFill>
                        </a:rPr>
                        <a:t> (</a:t>
                      </a:r>
                      <a:r>
                        <a:rPr lang="da-DK" sz="600" baseline="0" dirty="0" err="1">
                          <a:solidFill>
                            <a:schemeClr val="tx1"/>
                          </a:solidFill>
                        </a:rPr>
                        <a:t>annual</a:t>
                      </a:r>
                      <a:r>
                        <a:rPr lang="da-DK" sz="600" baseline="0" dirty="0">
                          <a:solidFill>
                            <a:schemeClr val="tx1"/>
                          </a:solidFill>
                        </a:rPr>
                        <a:t> </a:t>
                      </a:r>
                      <a:r>
                        <a:rPr lang="da-DK" sz="600" baseline="0" dirty="0" err="1">
                          <a:solidFill>
                            <a:schemeClr val="tx1"/>
                          </a:solidFill>
                        </a:rPr>
                        <a:t>conference</a:t>
                      </a:r>
                      <a:r>
                        <a:rPr lang="da-DK" sz="600" baseline="0" dirty="0">
                          <a:solidFill>
                            <a:schemeClr val="tx1"/>
                          </a:solidFill>
                        </a:rPr>
                        <a:t>, </a:t>
                      </a:r>
                      <a:r>
                        <a:rPr lang="da-DK" sz="600" baseline="0" dirty="0" err="1">
                          <a:solidFill>
                            <a:schemeClr val="tx1"/>
                          </a:solidFill>
                        </a:rPr>
                        <a:t>nordic</a:t>
                      </a:r>
                      <a:r>
                        <a:rPr lang="da-DK" sz="600" baseline="0" dirty="0">
                          <a:solidFill>
                            <a:schemeClr val="tx1"/>
                          </a:solidFill>
                        </a:rPr>
                        <a:t> </a:t>
                      </a:r>
                      <a:r>
                        <a:rPr lang="da-DK" sz="600" baseline="0" dirty="0" err="1">
                          <a:solidFill>
                            <a:schemeClr val="tx1"/>
                          </a:solidFill>
                        </a:rPr>
                        <a:t>conferences</a:t>
                      </a:r>
                      <a:r>
                        <a:rPr lang="da-DK" sz="600" baseline="0" dirty="0">
                          <a:solidFill>
                            <a:schemeClr val="tx1"/>
                          </a:solidFill>
                        </a:rPr>
                        <a:t>, IWA2022), as </a:t>
                      </a:r>
                      <a:r>
                        <a:rPr lang="da-DK" sz="600" baseline="0" dirty="0" err="1">
                          <a:solidFill>
                            <a:schemeClr val="tx1"/>
                          </a:solidFill>
                        </a:rPr>
                        <a:t>well</a:t>
                      </a:r>
                      <a:r>
                        <a:rPr lang="da-DK" sz="600" baseline="0" dirty="0">
                          <a:solidFill>
                            <a:schemeClr val="tx1"/>
                          </a:solidFill>
                        </a:rPr>
                        <a:t> as </a:t>
                      </a:r>
                      <a:r>
                        <a:rPr lang="da-DK" sz="600" baseline="0" dirty="0" err="1">
                          <a:solidFill>
                            <a:schemeClr val="tx1"/>
                          </a:solidFill>
                        </a:rPr>
                        <a:t>dissemination</a:t>
                      </a:r>
                      <a:r>
                        <a:rPr lang="da-DK" sz="600" baseline="0" dirty="0">
                          <a:solidFill>
                            <a:schemeClr val="tx1"/>
                          </a:solidFill>
                        </a:rPr>
                        <a:t> </a:t>
                      </a:r>
                      <a:r>
                        <a:rPr lang="da-DK" sz="600" baseline="0" dirty="0" err="1">
                          <a:solidFill>
                            <a:schemeClr val="tx1"/>
                          </a:solidFill>
                        </a:rPr>
                        <a:t>activities</a:t>
                      </a:r>
                      <a:r>
                        <a:rPr lang="da-DK" sz="600" baseline="0" dirty="0">
                          <a:solidFill>
                            <a:schemeClr val="tx1"/>
                          </a:solidFill>
                        </a:rPr>
                        <a:t>, and appeals to </a:t>
                      </a:r>
                      <a:r>
                        <a:rPr lang="da-DK" sz="600" baseline="0" dirty="0" err="1">
                          <a:solidFill>
                            <a:schemeClr val="tx1"/>
                          </a:solidFill>
                        </a:rPr>
                        <a:t>membership</a:t>
                      </a:r>
                      <a:r>
                        <a:rPr lang="da-DK" sz="600" baseline="0" dirty="0">
                          <a:solidFill>
                            <a:schemeClr val="tx1"/>
                          </a:solidFill>
                        </a:rPr>
                        <a:t> </a:t>
                      </a:r>
                      <a:r>
                        <a:rPr lang="da-DK" sz="600" baseline="0" dirty="0" err="1">
                          <a:solidFill>
                            <a:schemeClr val="tx1"/>
                          </a:solidFill>
                        </a:rPr>
                        <a:t>also</a:t>
                      </a:r>
                      <a:r>
                        <a:rPr lang="da-DK" sz="600" baseline="0" dirty="0">
                          <a:solidFill>
                            <a:schemeClr val="tx1"/>
                          </a:solidFill>
                        </a:rPr>
                        <a:t> </a:t>
                      </a:r>
                      <a:r>
                        <a:rPr lang="da-DK" sz="600" baseline="0" dirty="0" err="1">
                          <a:solidFill>
                            <a:schemeClr val="tx1"/>
                          </a:solidFill>
                        </a:rPr>
                        <a:t>beyonf</a:t>
                      </a:r>
                      <a:r>
                        <a:rPr lang="da-DK" sz="600" baseline="0" dirty="0">
                          <a:solidFill>
                            <a:schemeClr val="tx1"/>
                          </a:solidFill>
                        </a:rPr>
                        <a:t> </a:t>
                      </a:r>
                      <a:r>
                        <a:rPr lang="da-DK" sz="600" baseline="0" dirty="0" err="1">
                          <a:solidFill>
                            <a:schemeClr val="tx1"/>
                          </a:solidFill>
                        </a:rPr>
                        <a:t>utility</a:t>
                      </a:r>
                      <a:r>
                        <a:rPr lang="da-DK" sz="600" baseline="0" dirty="0">
                          <a:solidFill>
                            <a:schemeClr val="tx1"/>
                          </a:solidFill>
                        </a:rPr>
                        <a:t> </a:t>
                      </a:r>
                      <a:r>
                        <a:rPr lang="da-DK" sz="600" baseline="0" dirty="0" err="1">
                          <a:solidFill>
                            <a:schemeClr val="tx1"/>
                          </a:solidFill>
                        </a:rPr>
                        <a:t>companies</a:t>
                      </a:r>
                      <a:r>
                        <a:rPr lang="da-DK" sz="600" baseline="0" dirty="0">
                          <a:solidFill>
                            <a:schemeClr val="tx1"/>
                          </a:solidFill>
                        </a:rPr>
                        <a:t>.</a:t>
                      </a:r>
                      <a:endParaRPr lang="da-DK" sz="600" dirty="0">
                        <a:solidFill>
                          <a:schemeClr val="tx1"/>
                        </a:solidFill>
                      </a:endParaRPr>
                    </a:p>
                  </a:txBody>
                  <a:tcPr marL="72000" marR="72000" marT="0" marB="0">
                    <a:noFill/>
                  </a:tcPr>
                </a:tc>
                <a:extLst>
                  <a:ext uri="{0D108BD9-81ED-4DB2-BD59-A6C34878D82A}">
                    <a16:rowId xmlns:a16="http://schemas.microsoft.com/office/drawing/2014/main" val="731977586"/>
                  </a:ext>
                </a:extLst>
              </a:tr>
              <a:tr h="144000">
                <a:tc vMerge="1">
                  <a:txBody>
                    <a:bodyPr/>
                    <a:lstStyle/>
                    <a:p>
                      <a:endParaRPr lang="en-US"/>
                    </a:p>
                  </a:txBody>
                  <a:tcPr/>
                </a:tc>
                <a:tc>
                  <a:txBody>
                    <a:bodyPr/>
                    <a:lstStyle/>
                    <a:p>
                      <a:r>
                        <a:rPr lang="da-DK" sz="600" dirty="0">
                          <a:solidFill>
                            <a:schemeClr val="tx1"/>
                          </a:solidFill>
                        </a:rPr>
                        <a:t>Kommunernes Landsforening (KL) and Danske Regioner</a:t>
                      </a:r>
                    </a:p>
                  </a:txBody>
                  <a:tcPr marL="72000" marR="72000" marT="0" marB="0">
                    <a:solidFill>
                      <a:schemeClr val="bg1">
                        <a:lumMod val="85000"/>
                      </a:schemeClr>
                    </a:solidFill>
                  </a:tcPr>
                </a:tc>
                <a:tc>
                  <a:txBody>
                    <a:bodyPr/>
                    <a:lstStyle/>
                    <a:p>
                      <a:r>
                        <a:rPr lang="da-DK" sz="600" dirty="0">
                          <a:solidFill>
                            <a:schemeClr val="tx1"/>
                          </a:solidFill>
                        </a:rPr>
                        <a:t>Private </a:t>
                      </a:r>
                      <a:r>
                        <a:rPr lang="da-DK" sz="600" dirty="0" err="1">
                          <a:solidFill>
                            <a:schemeClr val="tx1"/>
                          </a:solidFill>
                        </a:rPr>
                        <a:t>interest</a:t>
                      </a:r>
                      <a:r>
                        <a:rPr lang="da-DK" sz="600" dirty="0">
                          <a:solidFill>
                            <a:schemeClr val="tx1"/>
                          </a:solidFill>
                        </a:rPr>
                        <a:t> organisations</a:t>
                      </a:r>
                      <a:r>
                        <a:rPr lang="da-DK" sz="600" baseline="0" dirty="0">
                          <a:solidFill>
                            <a:schemeClr val="tx1"/>
                          </a:solidFill>
                        </a:rPr>
                        <a:t> </a:t>
                      </a:r>
                      <a:r>
                        <a:rPr lang="da-DK" sz="600" dirty="0">
                          <a:solidFill>
                            <a:schemeClr val="tx1"/>
                          </a:solidFill>
                        </a:rPr>
                        <a:t>KL </a:t>
                      </a:r>
                      <a:r>
                        <a:rPr lang="da-DK" sz="600" dirty="0" err="1">
                          <a:solidFill>
                            <a:schemeClr val="tx1"/>
                          </a:solidFill>
                        </a:rPr>
                        <a:t>represents</a:t>
                      </a:r>
                      <a:r>
                        <a:rPr lang="da-DK" sz="600" dirty="0">
                          <a:solidFill>
                            <a:schemeClr val="tx1"/>
                          </a:solidFill>
                        </a:rPr>
                        <a:t> the 98 </a:t>
                      </a:r>
                      <a:r>
                        <a:rPr lang="da-DK" sz="600" dirty="0" err="1">
                          <a:solidFill>
                            <a:schemeClr val="tx1"/>
                          </a:solidFill>
                        </a:rPr>
                        <a:t>municipal</a:t>
                      </a:r>
                      <a:r>
                        <a:rPr lang="da-DK" sz="600" dirty="0">
                          <a:solidFill>
                            <a:schemeClr val="tx1"/>
                          </a:solidFill>
                        </a:rPr>
                        <a:t> </a:t>
                      </a:r>
                      <a:r>
                        <a:rPr lang="da-DK" sz="600" dirty="0" err="1">
                          <a:solidFill>
                            <a:schemeClr val="tx1"/>
                          </a:solidFill>
                        </a:rPr>
                        <a:t>councils</a:t>
                      </a:r>
                      <a:r>
                        <a:rPr lang="da-DK" sz="600" dirty="0">
                          <a:solidFill>
                            <a:schemeClr val="tx1"/>
                          </a:solidFill>
                        </a:rPr>
                        <a:t>, and Danske Regioner </a:t>
                      </a:r>
                      <a:r>
                        <a:rPr lang="da-DK" sz="600" dirty="0" err="1">
                          <a:solidFill>
                            <a:schemeClr val="tx1"/>
                          </a:solidFill>
                        </a:rPr>
                        <a:t>represents</a:t>
                      </a:r>
                      <a:r>
                        <a:rPr lang="da-DK" sz="600" dirty="0">
                          <a:solidFill>
                            <a:schemeClr val="tx1"/>
                          </a:solidFill>
                        </a:rPr>
                        <a:t> the 5 regions</a:t>
                      </a:r>
                    </a:p>
                  </a:txBody>
                  <a:tcPr marL="72000" marR="72000" marT="0" marB="0">
                    <a:solidFill>
                      <a:schemeClr val="bg1">
                        <a:lumMod val="85000"/>
                      </a:schemeClr>
                    </a:solidFill>
                  </a:tcPr>
                </a:tc>
                <a:tc>
                  <a:txBody>
                    <a:bodyPr/>
                    <a:lstStyle/>
                    <a:p>
                      <a:r>
                        <a:rPr lang="da-DK" sz="600" dirty="0">
                          <a:solidFill>
                            <a:schemeClr val="tx1"/>
                          </a:solidFill>
                        </a:rPr>
                        <a:t>KL covers a </a:t>
                      </a:r>
                      <a:r>
                        <a:rPr lang="da-DK" sz="600" dirty="0" err="1">
                          <a:solidFill>
                            <a:schemeClr val="tx1"/>
                          </a:solidFill>
                        </a:rPr>
                        <a:t>wide</a:t>
                      </a:r>
                      <a:r>
                        <a:rPr lang="da-DK" sz="600" dirty="0">
                          <a:solidFill>
                            <a:schemeClr val="tx1"/>
                          </a:solidFill>
                        </a:rPr>
                        <a:t> range of </a:t>
                      </a:r>
                      <a:r>
                        <a:rPr lang="da-DK" sz="600" dirty="0" err="1">
                          <a:solidFill>
                            <a:schemeClr val="tx1"/>
                          </a:solidFill>
                        </a:rPr>
                        <a:t>resort</a:t>
                      </a:r>
                      <a:r>
                        <a:rPr lang="da-DK" sz="600" dirty="0">
                          <a:solidFill>
                            <a:schemeClr val="tx1"/>
                          </a:solidFill>
                        </a:rPr>
                        <a:t> </a:t>
                      </a:r>
                      <a:r>
                        <a:rPr lang="da-DK" sz="600" dirty="0" err="1">
                          <a:solidFill>
                            <a:schemeClr val="tx1"/>
                          </a:solidFill>
                        </a:rPr>
                        <a:t>areas</a:t>
                      </a:r>
                      <a:r>
                        <a:rPr lang="da-DK" sz="600" dirty="0">
                          <a:solidFill>
                            <a:schemeClr val="tx1"/>
                          </a:solidFill>
                        </a:rPr>
                        <a:t> (</a:t>
                      </a:r>
                      <a:r>
                        <a:rPr lang="da-DK" sz="600" dirty="0" err="1">
                          <a:solidFill>
                            <a:schemeClr val="tx1"/>
                          </a:solidFill>
                        </a:rPr>
                        <a:t>employment</a:t>
                      </a:r>
                      <a:r>
                        <a:rPr lang="da-DK" sz="600" dirty="0">
                          <a:solidFill>
                            <a:schemeClr val="tx1"/>
                          </a:solidFill>
                        </a:rPr>
                        <a:t>, integration, </a:t>
                      </a:r>
                      <a:r>
                        <a:rPr lang="da-DK" sz="600" dirty="0" err="1">
                          <a:solidFill>
                            <a:schemeClr val="tx1"/>
                          </a:solidFill>
                        </a:rPr>
                        <a:t>culture</a:t>
                      </a:r>
                      <a:r>
                        <a:rPr lang="da-DK" sz="600" baseline="0" dirty="0">
                          <a:solidFill>
                            <a:schemeClr val="tx1"/>
                          </a:solidFill>
                        </a:rPr>
                        <a:t> and spare time, business </a:t>
                      </a:r>
                      <a:r>
                        <a:rPr lang="da-DK" sz="600" baseline="0" dirty="0" err="1">
                          <a:solidFill>
                            <a:schemeClr val="tx1"/>
                          </a:solidFill>
                        </a:rPr>
                        <a:t>development</a:t>
                      </a:r>
                      <a:r>
                        <a:rPr lang="da-DK" sz="600" baseline="0" dirty="0">
                          <a:solidFill>
                            <a:schemeClr val="tx1"/>
                          </a:solidFill>
                        </a:rPr>
                        <a:t>, </a:t>
                      </a:r>
                      <a:r>
                        <a:rPr lang="da-DK" sz="600" baseline="0" dirty="0" err="1">
                          <a:solidFill>
                            <a:schemeClr val="tx1"/>
                          </a:solidFill>
                        </a:rPr>
                        <a:t>children</a:t>
                      </a:r>
                      <a:r>
                        <a:rPr lang="da-DK" sz="600" baseline="0" dirty="0">
                          <a:solidFill>
                            <a:schemeClr val="tx1"/>
                          </a:solidFill>
                        </a:rPr>
                        <a:t> and </a:t>
                      </a:r>
                      <a:r>
                        <a:rPr lang="da-DK" sz="600" baseline="0" dirty="0" err="1">
                          <a:solidFill>
                            <a:schemeClr val="tx1"/>
                          </a:solidFill>
                        </a:rPr>
                        <a:t>youth</a:t>
                      </a:r>
                      <a:r>
                        <a:rPr lang="da-DK" sz="600" baseline="0" dirty="0">
                          <a:solidFill>
                            <a:schemeClr val="tx1"/>
                          </a:solidFill>
                        </a:rPr>
                        <a:t>, the social </a:t>
                      </a:r>
                      <a:r>
                        <a:rPr lang="da-DK" sz="600" baseline="0" dirty="0" err="1">
                          <a:solidFill>
                            <a:schemeClr val="tx1"/>
                          </a:solidFill>
                        </a:rPr>
                        <a:t>area</a:t>
                      </a:r>
                      <a:r>
                        <a:rPr lang="da-DK" sz="600" baseline="0" dirty="0">
                          <a:solidFill>
                            <a:schemeClr val="tx1"/>
                          </a:solidFill>
                        </a:rPr>
                        <a:t>, </a:t>
                      </a:r>
                      <a:r>
                        <a:rPr lang="da-DK" sz="600" baseline="0" dirty="0" err="1">
                          <a:solidFill>
                            <a:schemeClr val="tx1"/>
                          </a:solidFill>
                        </a:rPr>
                        <a:t>health</a:t>
                      </a:r>
                      <a:r>
                        <a:rPr lang="da-DK" sz="600" baseline="0" dirty="0">
                          <a:solidFill>
                            <a:schemeClr val="tx1"/>
                          </a:solidFill>
                        </a:rPr>
                        <a:t> and the </a:t>
                      </a:r>
                      <a:r>
                        <a:rPr lang="da-DK" sz="600" baseline="0" dirty="0" err="1">
                          <a:solidFill>
                            <a:schemeClr val="tx1"/>
                          </a:solidFill>
                        </a:rPr>
                        <a:t>elderly</a:t>
                      </a:r>
                      <a:r>
                        <a:rPr lang="da-DK" sz="600" baseline="0" dirty="0">
                          <a:solidFill>
                            <a:schemeClr val="tx1"/>
                          </a:solidFill>
                        </a:rPr>
                        <a:t>, </a:t>
                      </a:r>
                      <a:r>
                        <a:rPr lang="da-DK" sz="600" baseline="0" dirty="0" err="1">
                          <a:solidFill>
                            <a:schemeClr val="tx1"/>
                          </a:solidFill>
                        </a:rPr>
                        <a:t>technology</a:t>
                      </a:r>
                      <a:r>
                        <a:rPr lang="da-DK" sz="600" baseline="0" dirty="0">
                          <a:solidFill>
                            <a:schemeClr val="tx1"/>
                          </a:solidFill>
                        </a:rPr>
                        <a:t> and </a:t>
                      </a:r>
                      <a:r>
                        <a:rPr lang="da-DK" sz="600" baseline="0" dirty="0" err="1">
                          <a:solidFill>
                            <a:schemeClr val="tx1"/>
                          </a:solidFill>
                        </a:rPr>
                        <a:t>environment</a:t>
                      </a:r>
                      <a:r>
                        <a:rPr lang="da-DK" sz="600" baseline="0" dirty="0">
                          <a:solidFill>
                            <a:schemeClr val="tx1"/>
                          </a:solidFill>
                        </a:rPr>
                        <a:t>, and </a:t>
                      </a:r>
                      <a:r>
                        <a:rPr lang="da-DK" sz="600" baseline="0" dirty="0" err="1">
                          <a:solidFill>
                            <a:schemeClr val="tx1"/>
                          </a:solidFill>
                        </a:rPr>
                        <a:t>climate</a:t>
                      </a:r>
                      <a:r>
                        <a:rPr lang="da-DK" sz="600" baseline="0" dirty="0">
                          <a:solidFill>
                            <a:schemeClr val="tx1"/>
                          </a:solidFill>
                        </a:rPr>
                        <a:t>); Dansk </a:t>
                      </a:r>
                      <a:r>
                        <a:rPr lang="da-DK" sz="600" baseline="0" dirty="0" err="1">
                          <a:solidFill>
                            <a:schemeClr val="tx1"/>
                          </a:solidFill>
                        </a:rPr>
                        <a:t>Regioner’s</a:t>
                      </a:r>
                      <a:r>
                        <a:rPr lang="da-DK" sz="600" baseline="0" dirty="0">
                          <a:solidFill>
                            <a:schemeClr val="tx1"/>
                          </a:solidFill>
                        </a:rPr>
                        <a:t> </a:t>
                      </a:r>
                      <a:r>
                        <a:rPr lang="da-DK" sz="600" baseline="0" dirty="0" err="1">
                          <a:solidFill>
                            <a:schemeClr val="tx1"/>
                          </a:solidFill>
                        </a:rPr>
                        <a:t>mandate</a:t>
                      </a:r>
                      <a:r>
                        <a:rPr lang="da-DK" sz="600" baseline="0" dirty="0">
                          <a:solidFill>
                            <a:schemeClr val="tx1"/>
                          </a:solidFill>
                        </a:rPr>
                        <a:t> is more </a:t>
                      </a:r>
                      <a:r>
                        <a:rPr lang="da-DK" sz="600" baseline="0" dirty="0" err="1">
                          <a:solidFill>
                            <a:schemeClr val="tx1"/>
                          </a:solidFill>
                        </a:rPr>
                        <a:t>narrow</a:t>
                      </a:r>
                      <a:r>
                        <a:rPr lang="da-DK" sz="600" baseline="0" dirty="0">
                          <a:solidFill>
                            <a:schemeClr val="tx1"/>
                          </a:solidFill>
                        </a:rPr>
                        <a:t> (</a:t>
                      </a:r>
                      <a:r>
                        <a:rPr lang="da-DK" sz="600" baseline="0" dirty="0" err="1">
                          <a:solidFill>
                            <a:schemeClr val="tx1"/>
                          </a:solidFill>
                        </a:rPr>
                        <a:t>health</a:t>
                      </a:r>
                      <a:r>
                        <a:rPr lang="da-DK" sz="600" baseline="0" dirty="0">
                          <a:solidFill>
                            <a:schemeClr val="tx1"/>
                          </a:solidFill>
                        </a:rPr>
                        <a:t> and hospitals, regional </a:t>
                      </a:r>
                      <a:r>
                        <a:rPr lang="da-DK" sz="600" baseline="0" dirty="0" err="1">
                          <a:solidFill>
                            <a:schemeClr val="tx1"/>
                          </a:solidFill>
                        </a:rPr>
                        <a:t>development</a:t>
                      </a:r>
                      <a:r>
                        <a:rPr lang="da-DK" sz="600" baseline="0" dirty="0">
                          <a:solidFill>
                            <a:schemeClr val="tx1"/>
                          </a:solidFill>
                        </a:rPr>
                        <a:t> </a:t>
                      </a:r>
                      <a:r>
                        <a:rPr lang="da-DK" sz="600" baseline="0" dirty="0" err="1">
                          <a:solidFill>
                            <a:schemeClr val="tx1"/>
                          </a:solidFill>
                        </a:rPr>
                        <a:t>including</a:t>
                      </a:r>
                      <a:r>
                        <a:rPr lang="da-DK" sz="600" baseline="0" dirty="0">
                          <a:solidFill>
                            <a:schemeClr val="tx1"/>
                          </a:solidFill>
                        </a:rPr>
                        <a:t> </a:t>
                      </a:r>
                      <a:r>
                        <a:rPr lang="da-DK" sz="600" baseline="0" dirty="0" err="1">
                          <a:solidFill>
                            <a:schemeClr val="tx1"/>
                          </a:solidFill>
                        </a:rPr>
                        <a:t>environment</a:t>
                      </a:r>
                      <a:r>
                        <a:rPr lang="da-DK" sz="600" baseline="0" dirty="0">
                          <a:solidFill>
                            <a:schemeClr val="tx1"/>
                          </a:solidFill>
                        </a:rPr>
                        <a:t> and </a:t>
                      </a:r>
                      <a:r>
                        <a:rPr lang="da-DK" sz="600" baseline="0" dirty="0" err="1">
                          <a:solidFill>
                            <a:schemeClr val="tx1"/>
                          </a:solidFill>
                        </a:rPr>
                        <a:t>resources</a:t>
                      </a:r>
                      <a:r>
                        <a:rPr lang="da-DK" sz="600" baseline="0" dirty="0">
                          <a:solidFill>
                            <a:schemeClr val="tx1"/>
                          </a:solidFill>
                        </a:rPr>
                        <a:t>)</a:t>
                      </a:r>
                      <a:endParaRPr lang="da-DK" sz="600" dirty="0">
                        <a:solidFill>
                          <a:schemeClr val="tx1"/>
                        </a:solidFill>
                      </a:endParaRPr>
                    </a:p>
                  </a:txBody>
                  <a:tcPr marL="72000" marR="72000" marT="0" marB="0">
                    <a:solidFill>
                      <a:schemeClr val="bg1">
                        <a:lumMod val="85000"/>
                      </a:schemeClr>
                    </a:solidFill>
                  </a:tcPr>
                </a:tc>
                <a:extLst>
                  <a:ext uri="{0D108BD9-81ED-4DB2-BD59-A6C34878D82A}">
                    <a16:rowId xmlns:a16="http://schemas.microsoft.com/office/drawing/2014/main" val="1251384654"/>
                  </a:ext>
                </a:extLst>
              </a:tr>
              <a:tr h="144000">
                <a:tc vMerge="1">
                  <a:txBody>
                    <a:bodyPr/>
                    <a:lstStyle/>
                    <a:p>
                      <a:endParaRPr lang="da-DK" sz="700" dirty="0">
                        <a:solidFill>
                          <a:schemeClr val="tx1"/>
                        </a:solidFill>
                      </a:endParaRPr>
                    </a:p>
                  </a:txBody>
                  <a:tcPr marL="72000" marR="72000" marT="0" marB="0">
                    <a:solidFill>
                      <a:schemeClr val="bg1">
                        <a:lumMod val="85000"/>
                      </a:schemeClr>
                    </a:solidFill>
                  </a:tcPr>
                </a:tc>
                <a:tc>
                  <a:txBody>
                    <a:bodyPr/>
                    <a:lstStyle/>
                    <a:p>
                      <a:r>
                        <a:rPr lang="da-DK" sz="600" dirty="0">
                          <a:solidFill>
                            <a:schemeClr val="tx1"/>
                          </a:solidFill>
                        </a:rPr>
                        <a:t>DI Vand</a:t>
                      </a:r>
                      <a:r>
                        <a:rPr lang="da-DK" sz="600" dirty="0">
                          <a:solidFill>
                            <a:srgbClr val="FF0000"/>
                          </a:solidFill>
                        </a:rPr>
                        <a:t>, Dansk Miljøteknologi</a:t>
                      </a:r>
                    </a:p>
                  </a:txBody>
                  <a:tcPr marL="72000" marR="72000" marT="0" marB="0">
                    <a:noFill/>
                  </a:tcPr>
                </a:tc>
                <a:tc>
                  <a:txBody>
                    <a:bodyPr/>
                    <a:lstStyle/>
                    <a:p>
                      <a:r>
                        <a:rPr lang="da-DK" sz="600" dirty="0" err="1">
                          <a:solidFill>
                            <a:schemeClr val="tx1"/>
                          </a:solidFill>
                        </a:rPr>
                        <a:t>Member</a:t>
                      </a:r>
                      <a:r>
                        <a:rPr lang="da-DK" sz="600" dirty="0">
                          <a:solidFill>
                            <a:schemeClr val="tx1"/>
                          </a:solidFill>
                        </a:rPr>
                        <a:t> organisation</a:t>
                      </a:r>
                      <a:r>
                        <a:rPr lang="da-DK" sz="600" dirty="0">
                          <a:solidFill>
                            <a:srgbClr val="FF0000"/>
                          </a:solidFill>
                        </a:rPr>
                        <a:t>s</a:t>
                      </a:r>
                    </a:p>
                  </a:txBody>
                  <a:tcPr marL="72000" marR="72000" marT="0" marB="0">
                    <a:noFill/>
                  </a:tcPr>
                </a:tc>
                <a:tc>
                  <a:txBody>
                    <a:bodyPr/>
                    <a:lstStyle/>
                    <a:p>
                      <a:r>
                        <a:rPr lang="da-DK" sz="600" baseline="0" dirty="0">
                          <a:solidFill>
                            <a:schemeClr val="tx1"/>
                          </a:solidFill>
                        </a:rPr>
                        <a:t>DI Vand is </a:t>
                      </a:r>
                      <a:r>
                        <a:rPr lang="da-DK" sz="600" baseline="0" dirty="0" err="1">
                          <a:solidFill>
                            <a:schemeClr val="tx1"/>
                          </a:solidFill>
                        </a:rPr>
                        <a:t>one</a:t>
                      </a:r>
                      <a:r>
                        <a:rPr lang="da-DK" sz="600" baseline="0" dirty="0">
                          <a:solidFill>
                            <a:schemeClr val="tx1"/>
                          </a:solidFill>
                        </a:rPr>
                        <a:t> </a:t>
                      </a:r>
                      <a:r>
                        <a:rPr lang="da-DK" sz="600" baseline="0" dirty="0" err="1">
                          <a:solidFill>
                            <a:schemeClr val="tx1"/>
                          </a:solidFill>
                        </a:rPr>
                        <a:t>among</a:t>
                      </a:r>
                      <a:r>
                        <a:rPr lang="da-DK" sz="600" baseline="0" dirty="0">
                          <a:solidFill>
                            <a:schemeClr val="tx1"/>
                          </a:solidFill>
                        </a:rPr>
                        <a:t> ~100 </a:t>
                      </a:r>
                      <a:r>
                        <a:rPr lang="da-DK" sz="600" baseline="0" dirty="0" err="1">
                          <a:solidFill>
                            <a:schemeClr val="tx1"/>
                          </a:solidFill>
                        </a:rPr>
                        <a:t>membership</a:t>
                      </a:r>
                      <a:r>
                        <a:rPr lang="da-DK" sz="600" baseline="0" dirty="0">
                          <a:solidFill>
                            <a:schemeClr val="tx1"/>
                          </a:solidFill>
                        </a:rPr>
                        <a:t> organisations under DI (</a:t>
                      </a:r>
                      <a:r>
                        <a:rPr lang="da-DK" sz="600" baseline="0" dirty="0" err="1">
                          <a:solidFill>
                            <a:schemeClr val="tx1"/>
                          </a:solidFill>
                        </a:rPr>
                        <a:t>Confederation</a:t>
                      </a:r>
                      <a:r>
                        <a:rPr lang="da-DK" sz="600" baseline="0" dirty="0">
                          <a:solidFill>
                            <a:schemeClr val="tx1"/>
                          </a:solidFill>
                        </a:rPr>
                        <a:t> of Danish </a:t>
                      </a:r>
                      <a:r>
                        <a:rPr lang="da-DK" sz="600" baseline="0" dirty="0" err="1">
                          <a:solidFill>
                            <a:schemeClr val="tx1"/>
                          </a:solidFill>
                        </a:rPr>
                        <a:t>industry</a:t>
                      </a:r>
                      <a:r>
                        <a:rPr lang="da-DK" sz="600" baseline="0" dirty="0">
                          <a:solidFill>
                            <a:schemeClr val="tx1"/>
                          </a:solidFill>
                        </a:rPr>
                        <a:t>), </a:t>
                      </a:r>
                      <a:r>
                        <a:rPr lang="da-DK" sz="600" baseline="0" dirty="0" err="1">
                          <a:solidFill>
                            <a:schemeClr val="tx1"/>
                          </a:solidFill>
                        </a:rPr>
                        <a:t>which</a:t>
                      </a:r>
                      <a:r>
                        <a:rPr lang="da-DK" sz="600" baseline="0" dirty="0">
                          <a:solidFill>
                            <a:schemeClr val="tx1"/>
                          </a:solidFill>
                        </a:rPr>
                        <a:t> </a:t>
                      </a:r>
                      <a:r>
                        <a:rPr lang="da-DK" sz="600" baseline="0" dirty="0" err="1">
                          <a:solidFill>
                            <a:schemeClr val="tx1"/>
                          </a:solidFill>
                        </a:rPr>
                        <a:t>are</a:t>
                      </a:r>
                      <a:r>
                        <a:rPr lang="da-DK" sz="600" baseline="0" dirty="0">
                          <a:solidFill>
                            <a:schemeClr val="tx1"/>
                          </a:solidFill>
                        </a:rPr>
                        <a:t> </a:t>
                      </a:r>
                      <a:r>
                        <a:rPr lang="da-DK" sz="600" baseline="0" dirty="0" err="1">
                          <a:solidFill>
                            <a:schemeClr val="tx1"/>
                          </a:solidFill>
                        </a:rPr>
                        <a:t>less</a:t>
                      </a:r>
                      <a:r>
                        <a:rPr lang="da-DK" sz="600" baseline="0" dirty="0">
                          <a:solidFill>
                            <a:schemeClr val="tx1"/>
                          </a:solidFill>
                        </a:rPr>
                        <a:t> </a:t>
                      </a:r>
                      <a:r>
                        <a:rPr lang="da-DK" sz="600" baseline="0" dirty="0" err="1">
                          <a:solidFill>
                            <a:schemeClr val="tx1"/>
                          </a:solidFill>
                        </a:rPr>
                        <a:t>formally</a:t>
                      </a:r>
                      <a:r>
                        <a:rPr lang="da-DK" sz="600" baseline="0" dirty="0">
                          <a:solidFill>
                            <a:schemeClr val="tx1"/>
                          </a:solidFill>
                        </a:rPr>
                        <a:t> </a:t>
                      </a:r>
                      <a:r>
                        <a:rPr lang="da-DK" sz="600" baseline="0" dirty="0" err="1">
                          <a:solidFill>
                            <a:schemeClr val="tx1"/>
                          </a:solidFill>
                        </a:rPr>
                        <a:t>embedded</a:t>
                      </a:r>
                      <a:r>
                        <a:rPr lang="da-DK" sz="600" baseline="0" dirty="0">
                          <a:solidFill>
                            <a:schemeClr val="tx1"/>
                          </a:solidFill>
                        </a:rPr>
                        <a:t> in DI </a:t>
                      </a:r>
                      <a:r>
                        <a:rPr lang="da-DK" sz="600" baseline="0" dirty="0" err="1">
                          <a:solidFill>
                            <a:schemeClr val="tx1"/>
                          </a:solidFill>
                        </a:rPr>
                        <a:t>than</a:t>
                      </a:r>
                      <a:r>
                        <a:rPr lang="da-DK" sz="600" baseline="0" dirty="0">
                          <a:solidFill>
                            <a:schemeClr val="tx1"/>
                          </a:solidFill>
                        </a:rPr>
                        <a:t> the ”</a:t>
                      </a:r>
                      <a:r>
                        <a:rPr lang="da-DK" sz="600" baseline="0" dirty="0" err="1">
                          <a:solidFill>
                            <a:schemeClr val="tx1"/>
                          </a:solidFill>
                        </a:rPr>
                        <a:t>branchefælleeskaber</a:t>
                      </a:r>
                      <a:r>
                        <a:rPr lang="da-DK" sz="600" baseline="0" dirty="0">
                          <a:solidFill>
                            <a:schemeClr val="tx1"/>
                          </a:solidFill>
                        </a:rPr>
                        <a:t>” </a:t>
                      </a:r>
                      <a:r>
                        <a:rPr lang="da-DK" sz="600" baseline="0" dirty="0" err="1">
                          <a:solidFill>
                            <a:schemeClr val="tx1"/>
                          </a:solidFill>
                        </a:rPr>
                        <a:t>such</a:t>
                      </a:r>
                      <a:r>
                        <a:rPr lang="da-DK" sz="600" baseline="0" dirty="0">
                          <a:solidFill>
                            <a:schemeClr val="tx1"/>
                          </a:solidFill>
                        </a:rPr>
                        <a:t> as DI Digital, DI Byggeri or DI Energi. Overall </a:t>
                      </a:r>
                      <a:r>
                        <a:rPr lang="da-DK" sz="600" baseline="0" dirty="0" err="1">
                          <a:solidFill>
                            <a:schemeClr val="tx1"/>
                          </a:solidFill>
                        </a:rPr>
                        <a:t>goals</a:t>
                      </a:r>
                      <a:r>
                        <a:rPr lang="da-DK" sz="600" baseline="0" dirty="0">
                          <a:solidFill>
                            <a:schemeClr val="tx1"/>
                          </a:solidFill>
                        </a:rPr>
                        <a:t> </a:t>
                      </a:r>
                      <a:r>
                        <a:rPr lang="da-DK" sz="600" baseline="0" dirty="0" err="1">
                          <a:solidFill>
                            <a:schemeClr val="tx1"/>
                          </a:solidFill>
                        </a:rPr>
                        <a:t>are</a:t>
                      </a:r>
                      <a:r>
                        <a:rPr lang="da-DK" sz="600" baseline="0" dirty="0">
                          <a:solidFill>
                            <a:schemeClr val="tx1"/>
                          </a:solidFill>
                        </a:rPr>
                        <a:t> to (1) </a:t>
                      </a:r>
                      <a:r>
                        <a:rPr lang="da-DK" sz="600" baseline="0" dirty="0" err="1">
                          <a:solidFill>
                            <a:schemeClr val="tx1"/>
                          </a:solidFill>
                        </a:rPr>
                        <a:t>increase</a:t>
                      </a:r>
                      <a:r>
                        <a:rPr lang="da-DK" sz="600" baseline="0" dirty="0">
                          <a:solidFill>
                            <a:schemeClr val="tx1"/>
                          </a:solidFill>
                        </a:rPr>
                        <a:t> </a:t>
                      </a:r>
                      <a:r>
                        <a:rPr lang="da-DK" sz="600" baseline="0" dirty="0" err="1">
                          <a:solidFill>
                            <a:schemeClr val="tx1"/>
                          </a:solidFill>
                        </a:rPr>
                        <a:t>exports</a:t>
                      </a:r>
                      <a:r>
                        <a:rPr lang="da-DK" sz="600" baseline="0" dirty="0">
                          <a:solidFill>
                            <a:schemeClr val="tx1"/>
                          </a:solidFill>
                        </a:rPr>
                        <a:t>, (2) </a:t>
                      </a:r>
                      <a:r>
                        <a:rPr lang="da-DK" sz="600" baseline="0" dirty="0" err="1">
                          <a:solidFill>
                            <a:schemeClr val="tx1"/>
                          </a:solidFill>
                        </a:rPr>
                        <a:t>increase</a:t>
                      </a:r>
                      <a:r>
                        <a:rPr lang="da-DK" sz="600" baseline="0" dirty="0">
                          <a:solidFill>
                            <a:schemeClr val="tx1"/>
                          </a:solidFill>
                        </a:rPr>
                        <a:t> R&amp;D, and (3) </a:t>
                      </a:r>
                      <a:r>
                        <a:rPr lang="da-DK" sz="600" baseline="0" dirty="0" err="1">
                          <a:solidFill>
                            <a:schemeClr val="tx1"/>
                          </a:solidFill>
                        </a:rPr>
                        <a:t>strengthen</a:t>
                      </a:r>
                      <a:r>
                        <a:rPr lang="da-DK" sz="600" baseline="0" dirty="0">
                          <a:solidFill>
                            <a:schemeClr val="tx1"/>
                          </a:solidFill>
                        </a:rPr>
                        <a:t> DK and EU </a:t>
                      </a:r>
                      <a:r>
                        <a:rPr lang="da-DK" sz="600" baseline="0" dirty="0" err="1">
                          <a:solidFill>
                            <a:schemeClr val="tx1"/>
                          </a:solidFill>
                        </a:rPr>
                        <a:t>framwork</a:t>
                      </a:r>
                      <a:r>
                        <a:rPr lang="da-DK" sz="600" baseline="0" dirty="0">
                          <a:solidFill>
                            <a:schemeClr val="tx1"/>
                          </a:solidFill>
                        </a:rPr>
                        <a:t> </a:t>
                      </a:r>
                      <a:r>
                        <a:rPr lang="da-DK" sz="600" baseline="0" dirty="0" err="1">
                          <a:solidFill>
                            <a:schemeClr val="tx1"/>
                          </a:solidFill>
                        </a:rPr>
                        <a:t>conditions</a:t>
                      </a:r>
                      <a:r>
                        <a:rPr lang="da-DK" sz="600" baseline="0" dirty="0">
                          <a:solidFill>
                            <a:schemeClr val="tx1"/>
                          </a:solidFill>
                        </a:rPr>
                        <a:t>. Dansk Miljøteknologi is a </a:t>
                      </a:r>
                      <a:r>
                        <a:rPr lang="da-DK" sz="600" baseline="0" dirty="0" err="1">
                          <a:solidFill>
                            <a:schemeClr val="tx1"/>
                          </a:solidFill>
                        </a:rPr>
                        <a:t>specialised</a:t>
                      </a:r>
                      <a:r>
                        <a:rPr lang="da-DK" sz="600" baseline="0" dirty="0">
                          <a:solidFill>
                            <a:schemeClr val="tx1"/>
                          </a:solidFill>
                        </a:rPr>
                        <a:t> organisation of </a:t>
                      </a:r>
                      <a:r>
                        <a:rPr lang="da-DK" sz="600" baseline="0" dirty="0" err="1">
                          <a:solidFill>
                            <a:schemeClr val="tx1"/>
                          </a:solidFill>
                        </a:rPr>
                        <a:t>technology</a:t>
                      </a:r>
                      <a:r>
                        <a:rPr lang="da-DK" sz="600" baseline="0" dirty="0">
                          <a:solidFill>
                            <a:schemeClr val="tx1"/>
                          </a:solidFill>
                        </a:rPr>
                        <a:t> </a:t>
                      </a:r>
                      <a:r>
                        <a:rPr lang="da-DK" sz="600" baseline="0" dirty="0" err="1">
                          <a:solidFill>
                            <a:schemeClr val="tx1"/>
                          </a:solidFill>
                        </a:rPr>
                        <a:t>companies</a:t>
                      </a:r>
                      <a:r>
                        <a:rPr lang="da-DK" sz="600" baseline="0" dirty="0">
                          <a:solidFill>
                            <a:schemeClr val="tx1"/>
                          </a:solidFill>
                        </a:rPr>
                        <a:t> (</a:t>
                      </a:r>
                      <a:r>
                        <a:rPr lang="da-DK" sz="600" baseline="0" dirty="0" err="1">
                          <a:solidFill>
                            <a:schemeClr val="tx1"/>
                          </a:solidFill>
                        </a:rPr>
                        <a:t>water</a:t>
                      </a:r>
                      <a:r>
                        <a:rPr lang="da-DK" sz="600" baseline="0" dirty="0">
                          <a:solidFill>
                            <a:schemeClr val="tx1"/>
                          </a:solidFill>
                        </a:rPr>
                        <a:t>/</a:t>
                      </a:r>
                      <a:r>
                        <a:rPr lang="da-DK" sz="600" baseline="0" dirty="0" err="1">
                          <a:solidFill>
                            <a:schemeClr val="tx1"/>
                          </a:solidFill>
                        </a:rPr>
                        <a:t>waste</a:t>
                      </a:r>
                      <a:r>
                        <a:rPr lang="da-DK" sz="600" baseline="0" dirty="0">
                          <a:solidFill>
                            <a:schemeClr val="tx1"/>
                          </a:solidFill>
                        </a:rPr>
                        <a:t>).</a:t>
                      </a:r>
                      <a:endParaRPr lang="da-DK" sz="600" dirty="0">
                        <a:solidFill>
                          <a:schemeClr val="tx1"/>
                        </a:solidFill>
                      </a:endParaRPr>
                    </a:p>
                  </a:txBody>
                  <a:tcPr marL="72000" marR="72000" marT="0" marB="0">
                    <a:noFill/>
                  </a:tcPr>
                </a:tc>
                <a:extLst>
                  <a:ext uri="{0D108BD9-81ED-4DB2-BD59-A6C34878D82A}">
                    <a16:rowId xmlns:a16="http://schemas.microsoft.com/office/drawing/2014/main" val="2543525720"/>
                  </a:ext>
                </a:extLst>
              </a:tr>
              <a:tr h="144000">
                <a:tc vMerge="1">
                  <a:txBody>
                    <a:bodyPr/>
                    <a:lstStyle/>
                    <a:p>
                      <a:endParaRPr lang="da-DK" sz="600" dirty="0">
                        <a:solidFill>
                          <a:schemeClr val="tx1"/>
                        </a:solidFill>
                      </a:endParaRPr>
                    </a:p>
                  </a:txBody>
                  <a:tcPr marL="72000" marR="72000" marT="0" marB="0">
                    <a:solidFill>
                      <a:schemeClr val="bg1">
                        <a:lumMod val="85000"/>
                      </a:schemeClr>
                    </a:solidFill>
                  </a:tcPr>
                </a:tc>
                <a:tc>
                  <a:txBody>
                    <a:bodyPr/>
                    <a:lstStyle/>
                    <a:p>
                      <a:r>
                        <a:rPr lang="da-DK" sz="600" dirty="0" err="1">
                          <a:solidFill>
                            <a:schemeClr val="tx1"/>
                          </a:solidFill>
                        </a:rPr>
                        <a:t>NGOs</a:t>
                      </a:r>
                      <a:endParaRPr lang="da-DK" sz="600" dirty="0">
                        <a:solidFill>
                          <a:schemeClr val="tx1"/>
                        </a:solidFill>
                      </a:endParaRPr>
                    </a:p>
                  </a:txBody>
                  <a:tcPr marL="72000" marR="72000" marT="0" marB="0">
                    <a:solidFill>
                      <a:schemeClr val="bg1">
                        <a:lumMod val="85000"/>
                      </a:schemeClr>
                    </a:solidFill>
                  </a:tcPr>
                </a:tc>
                <a:tc>
                  <a:txBody>
                    <a:bodyPr/>
                    <a:lstStyle/>
                    <a:p>
                      <a:r>
                        <a:rPr lang="da-DK" sz="600" dirty="0">
                          <a:solidFill>
                            <a:schemeClr val="tx1"/>
                          </a:solidFill>
                        </a:rPr>
                        <a:t>Naturfredningsforeningen, Danmarks Lystfiskerforbund</a:t>
                      </a:r>
                    </a:p>
                  </a:txBody>
                  <a:tcPr marL="72000" marR="72000" marT="0" marB="0">
                    <a:solidFill>
                      <a:schemeClr val="bg1">
                        <a:lumMod val="85000"/>
                      </a:schemeClr>
                    </a:solidFill>
                  </a:tcPr>
                </a:tc>
                <a:tc>
                  <a:txBody>
                    <a:bodyPr/>
                    <a:lstStyle/>
                    <a:p>
                      <a:r>
                        <a:rPr lang="da-DK" sz="600" dirty="0" err="1">
                          <a:solidFill>
                            <a:schemeClr val="tx1"/>
                          </a:solidFill>
                        </a:rPr>
                        <a:t>Interest</a:t>
                      </a:r>
                      <a:r>
                        <a:rPr lang="da-DK" sz="600" baseline="0" dirty="0">
                          <a:solidFill>
                            <a:schemeClr val="tx1"/>
                          </a:solidFill>
                        </a:rPr>
                        <a:t> in </a:t>
                      </a:r>
                      <a:r>
                        <a:rPr lang="da-DK" sz="600" baseline="0" dirty="0" err="1">
                          <a:solidFill>
                            <a:schemeClr val="tx1"/>
                          </a:solidFill>
                        </a:rPr>
                        <a:t>protecting</a:t>
                      </a:r>
                      <a:r>
                        <a:rPr lang="da-DK" sz="600" baseline="0" dirty="0">
                          <a:solidFill>
                            <a:schemeClr val="tx1"/>
                          </a:solidFill>
                        </a:rPr>
                        <a:t> the </a:t>
                      </a:r>
                      <a:r>
                        <a:rPr lang="da-DK" sz="600" baseline="0" dirty="0" err="1">
                          <a:solidFill>
                            <a:schemeClr val="tx1"/>
                          </a:solidFill>
                        </a:rPr>
                        <a:t>environment</a:t>
                      </a:r>
                      <a:r>
                        <a:rPr lang="da-DK" sz="600" baseline="0" dirty="0">
                          <a:solidFill>
                            <a:schemeClr val="tx1"/>
                          </a:solidFill>
                        </a:rPr>
                        <a:t>, and </a:t>
                      </a:r>
                      <a:r>
                        <a:rPr lang="da-DK" sz="600" baseline="0" dirty="0" err="1">
                          <a:solidFill>
                            <a:schemeClr val="tx1"/>
                          </a:solidFill>
                        </a:rPr>
                        <a:t>thus</a:t>
                      </a:r>
                      <a:r>
                        <a:rPr lang="da-DK" sz="600" baseline="0" dirty="0">
                          <a:solidFill>
                            <a:schemeClr val="tx1"/>
                          </a:solidFill>
                        </a:rPr>
                        <a:t> in public data </a:t>
                      </a:r>
                      <a:r>
                        <a:rPr lang="da-DK" sz="600" baseline="0" dirty="0" err="1">
                          <a:solidFill>
                            <a:schemeClr val="tx1"/>
                          </a:solidFill>
                        </a:rPr>
                        <a:t>about</a:t>
                      </a:r>
                      <a:r>
                        <a:rPr lang="da-DK" sz="600" baseline="0" dirty="0">
                          <a:solidFill>
                            <a:schemeClr val="tx1"/>
                          </a:solidFill>
                        </a:rPr>
                        <a:t> potential pollution </a:t>
                      </a:r>
                      <a:r>
                        <a:rPr lang="da-DK" sz="600" baseline="0" dirty="0" err="1">
                          <a:solidFill>
                            <a:schemeClr val="tx1"/>
                          </a:solidFill>
                        </a:rPr>
                        <a:t>sources</a:t>
                      </a:r>
                      <a:r>
                        <a:rPr lang="da-DK" sz="600" baseline="0" dirty="0">
                          <a:solidFill>
                            <a:schemeClr val="tx1"/>
                          </a:solidFill>
                        </a:rPr>
                        <a:t> </a:t>
                      </a:r>
                      <a:r>
                        <a:rPr lang="da-DK" sz="600" baseline="0" dirty="0" err="1">
                          <a:solidFill>
                            <a:schemeClr val="tx1"/>
                          </a:solidFill>
                        </a:rPr>
                        <a:t>andfthe</a:t>
                      </a:r>
                      <a:r>
                        <a:rPr lang="da-DK" sz="600" baseline="0" dirty="0">
                          <a:solidFill>
                            <a:schemeClr val="tx1"/>
                          </a:solidFill>
                        </a:rPr>
                        <a:t> status of the </a:t>
                      </a:r>
                      <a:r>
                        <a:rPr lang="da-DK" sz="600" baseline="0" dirty="0" err="1">
                          <a:solidFill>
                            <a:schemeClr val="tx1"/>
                          </a:solidFill>
                        </a:rPr>
                        <a:t>environment</a:t>
                      </a:r>
                      <a:r>
                        <a:rPr lang="da-DK" sz="600" baseline="0" dirty="0">
                          <a:solidFill>
                            <a:schemeClr val="tx1"/>
                          </a:solidFill>
                        </a:rPr>
                        <a:t>. May </a:t>
                      </a:r>
                      <a:r>
                        <a:rPr lang="da-DK" sz="600" baseline="0" dirty="0" err="1">
                          <a:solidFill>
                            <a:schemeClr val="tx1"/>
                          </a:solidFill>
                        </a:rPr>
                        <a:t>influence</a:t>
                      </a:r>
                      <a:r>
                        <a:rPr lang="da-DK" sz="600" baseline="0" dirty="0">
                          <a:solidFill>
                            <a:schemeClr val="tx1"/>
                          </a:solidFill>
                        </a:rPr>
                        <a:t> the </a:t>
                      </a:r>
                      <a:r>
                        <a:rPr lang="da-DK" sz="600" baseline="0" dirty="0" err="1">
                          <a:solidFill>
                            <a:schemeClr val="tx1"/>
                          </a:solidFill>
                        </a:rPr>
                        <a:t>process</a:t>
                      </a:r>
                      <a:r>
                        <a:rPr lang="da-DK" sz="600" baseline="0" dirty="0">
                          <a:solidFill>
                            <a:schemeClr val="tx1"/>
                          </a:solidFill>
                        </a:rPr>
                        <a:t> </a:t>
                      </a:r>
                      <a:r>
                        <a:rPr lang="da-DK" sz="600" baseline="0" dirty="0" err="1">
                          <a:solidFill>
                            <a:schemeClr val="tx1"/>
                          </a:solidFill>
                        </a:rPr>
                        <a:t>about</a:t>
                      </a:r>
                      <a:r>
                        <a:rPr lang="da-DK" sz="600" baseline="0" dirty="0">
                          <a:solidFill>
                            <a:schemeClr val="tx1"/>
                          </a:solidFill>
                        </a:rPr>
                        <a:t> </a:t>
                      </a:r>
                      <a:r>
                        <a:rPr lang="da-DK" sz="600" baseline="0" dirty="0" err="1">
                          <a:solidFill>
                            <a:schemeClr val="tx1"/>
                          </a:solidFill>
                        </a:rPr>
                        <a:t>issuing</a:t>
                      </a:r>
                      <a:r>
                        <a:rPr lang="da-DK" sz="600" baseline="0" dirty="0">
                          <a:solidFill>
                            <a:schemeClr val="tx1"/>
                          </a:solidFill>
                        </a:rPr>
                        <a:t> </a:t>
                      </a:r>
                      <a:r>
                        <a:rPr lang="da-DK" sz="600" baseline="0" dirty="0" err="1">
                          <a:solidFill>
                            <a:schemeClr val="tx1"/>
                          </a:solidFill>
                        </a:rPr>
                        <a:t>discharge</a:t>
                      </a:r>
                      <a:r>
                        <a:rPr lang="da-DK" sz="600" baseline="0" dirty="0">
                          <a:solidFill>
                            <a:schemeClr val="tx1"/>
                          </a:solidFill>
                        </a:rPr>
                        <a:t> </a:t>
                      </a:r>
                      <a:r>
                        <a:rPr lang="da-DK" sz="600" baseline="0" dirty="0" err="1">
                          <a:solidFill>
                            <a:schemeClr val="tx1"/>
                          </a:solidFill>
                        </a:rPr>
                        <a:t>permits</a:t>
                      </a:r>
                      <a:r>
                        <a:rPr lang="da-DK" sz="600" baseline="0" dirty="0">
                          <a:solidFill>
                            <a:schemeClr val="tx1"/>
                          </a:solidFill>
                        </a:rPr>
                        <a:t>.</a:t>
                      </a:r>
                      <a:endParaRPr lang="da-DK" sz="600" dirty="0">
                        <a:solidFill>
                          <a:schemeClr val="tx1"/>
                        </a:solidFill>
                      </a:endParaRPr>
                    </a:p>
                  </a:txBody>
                  <a:tcPr marL="72000" marR="72000" marT="0" marB="0">
                    <a:solidFill>
                      <a:schemeClr val="bg1">
                        <a:lumMod val="85000"/>
                      </a:schemeClr>
                    </a:solidFill>
                  </a:tcPr>
                </a:tc>
                <a:extLst>
                  <a:ext uri="{0D108BD9-81ED-4DB2-BD59-A6C34878D82A}">
                    <a16:rowId xmlns:a16="http://schemas.microsoft.com/office/drawing/2014/main" val="975580706"/>
                  </a:ext>
                </a:extLst>
              </a:tr>
            </a:tbl>
          </a:graphicData>
        </a:graphic>
      </p:graphicFrame>
      <p:sp>
        <p:nvSpPr>
          <p:cNvPr id="4" name="Footer Placeholder 3"/>
          <p:cNvSpPr>
            <a:spLocks noGrp="1"/>
          </p:cNvSpPr>
          <p:nvPr>
            <p:ph type="ftr" sz="quarter" idx="11"/>
          </p:nvPr>
        </p:nvSpPr>
        <p:spPr/>
        <p:txBody>
          <a:bodyPr/>
          <a:lstStyle/>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da-DK" sz="700" b="0" i="0" u="none" strike="noStrike" kern="1200" cap="none" spc="0" normalizeH="0" baseline="0" noProof="0">
              <a:ln>
                <a:noFill/>
              </a:ln>
              <a:noFill/>
              <a:effectLst/>
              <a:uLnTx/>
              <a:uFillTx/>
              <a:latin typeface="Arial"/>
              <a:ea typeface="ＭＳ Ｐゴシック" pitchFamily="-80" charset="-128"/>
              <a:cs typeface="+mn-cs"/>
            </a:endParaRPr>
          </a:p>
        </p:txBody>
      </p:sp>
      <p:sp>
        <p:nvSpPr>
          <p:cNvPr id="5" name="Slide Number Placeholder 4"/>
          <p:cNvSpPr>
            <a:spLocks noGrp="1"/>
          </p:cNvSpPr>
          <p:nvPr>
            <p:ph type="sldNum" sz="quarter" idx="4294967295"/>
          </p:nvPr>
        </p:nvSpPr>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fld id="{E5E41B73-686A-4B3D-84DF-F1CD458B39A2}" type="slidenum">
              <a:rPr kumimoji="0" lang="da-DK" sz="700" b="1" i="0" u="none" strike="noStrike" kern="1200" cap="none" spc="0" normalizeH="0" baseline="0" noProof="0" smtClean="0">
                <a:ln>
                  <a:noFill/>
                </a:ln>
                <a:solidFill>
                  <a:srgbClr val="FFFFFF"/>
                </a:solidFill>
                <a:effectLst/>
                <a:uLnTx/>
                <a:uFillTx/>
                <a:latin typeface="Arial"/>
                <a:ea typeface="ＭＳ Ｐゴシック" pitchFamily="-80" charset="-128"/>
                <a:cs typeface="+mn-cs"/>
              </a:rPr>
              <a:pPr marL="0" marR="0" lvl="0" indent="0" algn="l" defTabSz="914400" rtl="0" eaLnBrk="1" fontAlgn="base" latinLnBrk="0" hangingPunct="1">
                <a:lnSpc>
                  <a:spcPct val="100000"/>
                </a:lnSpc>
                <a:spcBef>
                  <a:spcPct val="50000"/>
                </a:spcBef>
                <a:spcAft>
                  <a:spcPct val="0"/>
                </a:spcAft>
                <a:buClrTx/>
                <a:buSzTx/>
                <a:buFontTx/>
                <a:buNone/>
                <a:tabLst/>
                <a:defRPr/>
              </a:pPr>
              <a:t>22</a:t>
            </a:fld>
            <a:endParaRPr kumimoji="0" lang="da-DK" sz="700" b="1" i="0" u="none" strike="noStrike" kern="1200" cap="none" spc="0" normalizeH="0" baseline="0" noProof="0">
              <a:ln>
                <a:noFill/>
              </a:ln>
              <a:solidFill>
                <a:srgbClr val="FFFFFF"/>
              </a:solidFill>
              <a:effectLst/>
              <a:uLnTx/>
              <a:uFillTx/>
              <a:latin typeface="Arial"/>
              <a:ea typeface="ＭＳ Ｐゴシック" pitchFamily="-80" charset="-128"/>
              <a:cs typeface="+mn-cs"/>
            </a:endParaRPr>
          </a:p>
        </p:txBody>
      </p:sp>
      <p:sp>
        <p:nvSpPr>
          <p:cNvPr id="2" name="TextBox 1"/>
          <p:cNvSpPr txBox="1"/>
          <p:nvPr/>
        </p:nvSpPr>
        <p:spPr>
          <a:xfrm>
            <a:off x="118542" y="158443"/>
            <a:ext cx="11242629" cy="246221"/>
          </a:xfrm>
          <a:prstGeom prst="rect">
            <a:avLst/>
          </a:prstGeom>
          <a:noFill/>
        </p:spPr>
        <p:txBody>
          <a:bodyPr wrap="none" lIns="0" tIns="0" rIns="0" bIns="0" rtlCol="0">
            <a:spAutoFit/>
          </a:bodyPr>
          <a:lstStyle/>
          <a:p>
            <a:pPr marL="0" marR="0" lvl="0" indent="0" algn="l" defTabSz="914400" rtl="0" eaLnBrk="1" fontAlgn="base" latinLnBrk="0" hangingPunct="1">
              <a:lnSpc>
                <a:spcPct val="100000"/>
              </a:lnSpc>
              <a:spcBef>
                <a:spcPts val="432"/>
              </a:spcBef>
              <a:spcAft>
                <a:spcPct val="0"/>
              </a:spcAft>
              <a:buClrTx/>
              <a:buSzTx/>
              <a:buFontTx/>
              <a:buNone/>
              <a:tabLst/>
              <a:defRPr/>
            </a:pPr>
            <a:r>
              <a:rPr kumimoji="0" lang="da-DK" sz="1600" b="1" i="0" u="none" strike="noStrike" kern="1200" cap="none" spc="0" normalizeH="0" baseline="0" noProof="0" dirty="0">
                <a:ln>
                  <a:noFill/>
                </a:ln>
                <a:solidFill>
                  <a:srgbClr val="FF0000"/>
                </a:solidFill>
                <a:effectLst/>
                <a:uLnTx/>
                <a:uFillTx/>
                <a:latin typeface="Arial"/>
                <a:ea typeface="ＭＳ Ｐゴシック" pitchFamily="-80" charset="-128"/>
                <a:cs typeface="+mn-cs"/>
              </a:rPr>
              <a:t>CSA at the ”Project </a:t>
            </a:r>
            <a:r>
              <a:rPr kumimoji="0" lang="da-DK" sz="1600" b="1" i="0" u="none" strike="noStrike" kern="1200" cap="none" spc="0" normalizeH="0" baseline="0" noProof="0" dirty="0" err="1">
                <a:ln>
                  <a:noFill/>
                </a:ln>
                <a:solidFill>
                  <a:srgbClr val="FF0000"/>
                </a:solidFill>
                <a:effectLst/>
                <a:uLnTx/>
                <a:uFillTx/>
                <a:latin typeface="Arial"/>
                <a:ea typeface="ＭＳ Ｐゴシック" pitchFamily="-80" charset="-128"/>
                <a:cs typeface="+mn-cs"/>
              </a:rPr>
              <a:t>level</a:t>
            </a:r>
            <a:r>
              <a:rPr kumimoji="0" lang="da-DK" sz="1600" b="1" i="0" u="none" strike="noStrike" kern="1200" cap="none" spc="0" normalizeH="0" baseline="0" noProof="0" dirty="0">
                <a:ln>
                  <a:noFill/>
                </a:ln>
                <a:solidFill>
                  <a:srgbClr val="FF0000"/>
                </a:solidFill>
                <a:effectLst/>
                <a:uLnTx/>
                <a:uFillTx/>
                <a:latin typeface="Arial"/>
                <a:ea typeface="ＭＳ Ｐゴシック" pitchFamily="-80" charset="-128"/>
                <a:cs typeface="+mn-cs"/>
              </a:rPr>
              <a:t>” (Case Study A), </a:t>
            </a:r>
            <a:r>
              <a:rPr kumimoji="0" lang="da-DK" sz="1600" b="1" i="0" u="none" strike="noStrike" kern="1200" cap="none" spc="0" normalizeH="0" baseline="0" noProof="0" dirty="0" err="1">
                <a:ln>
                  <a:noFill/>
                </a:ln>
                <a:solidFill>
                  <a:srgbClr val="FF0000"/>
                </a:solidFill>
                <a:effectLst/>
                <a:uLnTx/>
                <a:uFillTx/>
                <a:latin typeface="Arial"/>
                <a:ea typeface="ＭＳ Ｐゴシック" pitchFamily="-80" charset="-128"/>
                <a:cs typeface="+mn-cs"/>
              </a:rPr>
              <a:t>updated</a:t>
            </a:r>
            <a:r>
              <a:rPr kumimoji="0" lang="da-DK" sz="1600" b="1" i="0" u="none" strike="noStrike" kern="1200" cap="none" spc="0" normalizeH="0" baseline="0" noProof="0" dirty="0">
                <a:ln>
                  <a:noFill/>
                </a:ln>
                <a:solidFill>
                  <a:srgbClr val="FF0000"/>
                </a:solidFill>
                <a:effectLst/>
                <a:uLnTx/>
                <a:uFillTx/>
                <a:latin typeface="Arial"/>
                <a:ea typeface="ＭＳ Ｐゴシック" pitchFamily="-80" charset="-128"/>
                <a:cs typeface="+mn-cs"/>
              </a:rPr>
              <a:t> by DTU 22/8-23 (</a:t>
            </a:r>
            <a:r>
              <a:rPr kumimoji="0" lang="da-DK" sz="1600" b="1" i="0" u="none" strike="noStrike" kern="1200" cap="none" spc="0" normalizeH="0" baseline="0" noProof="0" dirty="0" err="1">
                <a:ln>
                  <a:noFill/>
                </a:ln>
                <a:solidFill>
                  <a:srgbClr val="FF0000"/>
                </a:solidFill>
                <a:effectLst/>
                <a:uLnTx/>
                <a:uFillTx/>
                <a:latin typeface="Arial"/>
                <a:ea typeface="ＭＳ Ｐゴシック" pitchFamily="-80" charset="-128"/>
                <a:cs typeface="+mn-cs"/>
              </a:rPr>
              <a:t>including</a:t>
            </a:r>
            <a:r>
              <a:rPr kumimoji="0" lang="da-DK" sz="1600" b="1" i="0" u="none" strike="noStrike" kern="1200" cap="none" spc="0" normalizeH="0" baseline="0" noProof="0" dirty="0">
                <a:ln>
                  <a:noFill/>
                </a:ln>
                <a:solidFill>
                  <a:srgbClr val="FF0000"/>
                </a:solidFill>
                <a:effectLst/>
                <a:uLnTx/>
                <a:uFillTx/>
                <a:latin typeface="Arial"/>
                <a:ea typeface="ＭＳ Ｐゴシック" pitchFamily="-80" charset="-128"/>
                <a:cs typeface="+mn-cs"/>
              </a:rPr>
              <a:t> info from </a:t>
            </a:r>
            <a:r>
              <a:rPr kumimoji="0" lang="da-DK" sz="1600" b="1" i="0" u="none" strike="noStrike" kern="1200" cap="none" spc="0" normalizeH="0" baseline="0" noProof="0" dirty="0" err="1">
                <a:ln>
                  <a:noFill/>
                </a:ln>
                <a:solidFill>
                  <a:srgbClr val="FF0000"/>
                </a:solidFill>
                <a:effectLst/>
                <a:uLnTx/>
                <a:uFillTx/>
                <a:latin typeface="Arial"/>
                <a:ea typeface="ＭＳ Ｐゴシック" pitchFamily="-80" charset="-128"/>
                <a:cs typeface="+mn-cs"/>
              </a:rPr>
              <a:t>Use</a:t>
            </a:r>
            <a:r>
              <a:rPr kumimoji="0" lang="da-DK" sz="1600" b="1" i="0" u="none" strike="noStrike" kern="1200" cap="none" spc="0" normalizeH="0" baseline="0" noProof="0" dirty="0">
                <a:ln>
                  <a:noFill/>
                </a:ln>
                <a:solidFill>
                  <a:srgbClr val="FF0000"/>
                </a:solidFill>
                <a:effectLst/>
                <a:uLnTx/>
                <a:uFillTx/>
                <a:latin typeface="Arial"/>
                <a:ea typeface="ＭＳ Ｐゴシック" pitchFamily="-80" charset="-128"/>
                <a:cs typeface="+mn-cs"/>
              </a:rPr>
              <a:t> </a:t>
            </a:r>
            <a:r>
              <a:rPr kumimoji="0" lang="da-DK" sz="1600" b="1" i="0" u="none" strike="noStrike" kern="1200" cap="none" spc="0" normalizeH="0" baseline="0" noProof="0" dirty="0" err="1">
                <a:ln>
                  <a:noFill/>
                </a:ln>
                <a:solidFill>
                  <a:srgbClr val="FF0000"/>
                </a:solidFill>
                <a:effectLst/>
                <a:uLnTx/>
                <a:uFillTx/>
                <a:latin typeface="Arial"/>
                <a:ea typeface="ＭＳ Ｐゴシック" pitchFamily="-80" charset="-128"/>
                <a:cs typeface="+mn-cs"/>
              </a:rPr>
              <a:t>Cas</a:t>
            </a:r>
            <a:r>
              <a:rPr lang="da-DK" b="1" dirty="0">
                <a:solidFill>
                  <a:srgbClr val="FF0000"/>
                </a:solidFill>
                <a:latin typeface="Arial"/>
              </a:rPr>
              <a:t>e 3 &amp; </a:t>
            </a:r>
            <a:r>
              <a:rPr kumimoji="0" lang="da-DK" sz="1600" b="1" i="0" u="none" strike="noStrike" kern="1200" cap="none" spc="0" normalizeH="0" baseline="0" noProof="0" dirty="0">
                <a:ln>
                  <a:noFill/>
                </a:ln>
                <a:solidFill>
                  <a:srgbClr val="FF0000"/>
                </a:solidFill>
                <a:effectLst/>
                <a:uLnTx/>
                <a:uFillTx/>
                <a:latin typeface="Arial"/>
                <a:ea typeface="ＭＳ Ｐゴシック" pitchFamily="-80" charset="-128"/>
                <a:cs typeface="+mn-cs"/>
              </a:rPr>
              <a:t>Case Study B)</a:t>
            </a:r>
            <a:endParaRPr kumimoji="0" lang="en-US" sz="1600" b="1" i="0" u="none" strike="noStrike" kern="1200" cap="none" spc="0" normalizeH="0" baseline="0" noProof="0" dirty="0" err="1">
              <a:ln>
                <a:noFill/>
              </a:ln>
              <a:solidFill>
                <a:srgbClr val="FF0000"/>
              </a:solidFill>
              <a:effectLst/>
              <a:uLnTx/>
              <a:uFillTx/>
              <a:latin typeface="Arial"/>
              <a:ea typeface="ＭＳ Ｐゴシック" pitchFamily="-80" charset="-128"/>
              <a:cs typeface="+mn-cs"/>
            </a:endParaRPr>
          </a:p>
        </p:txBody>
      </p:sp>
    </p:spTree>
    <p:extLst>
      <p:ext uri="{BB962C8B-B14F-4D97-AF65-F5344CB8AC3E}">
        <p14:creationId xmlns:p14="http://schemas.microsoft.com/office/powerpoint/2010/main" val="2896519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4294967295"/>
          </p:nvPr>
        </p:nvGraphicFramePr>
        <p:xfrm>
          <a:off x="1631291" y="146647"/>
          <a:ext cx="8855831" cy="5927747"/>
        </p:xfrm>
        <a:graphic>
          <a:graphicData uri="http://schemas.openxmlformats.org/drawingml/2006/table">
            <a:tbl>
              <a:tblPr firstRow="1" bandRow="1">
                <a:tableStyleId>{5940675A-B579-460E-94D1-54222C63F5DA}</a:tableStyleId>
              </a:tblPr>
              <a:tblGrid>
                <a:gridCol w="1131949">
                  <a:extLst>
                    <a:ext uri="{9D8B030D-6E8A-4147-A177-3AD203B41FA5}">
                      <a16:colId xmlns:a16="http://schemas.microsoft.com/office/drawing/2014/main" val="231033780"/>
                    </a:ext>
                  </a:extLst>
                </a:gridCol>
                <a:gridCol w="3043972">
                  <a:extLst>
                    <a:ext uri="{9D8B030D-6E8A-4147-A177-3AD203B41FA5}">
                      <a16:colId xmlns:a16="http://schemas.microsoft.com/office/drawing/2014/main" val="3944500946"/>
                    </a:ext>
                  </a:extLst>
                </a:gridCol>
                <a:gridCol w="935982">
                  <a:extLst>
                    <a:ext uri="{9D8B030D-6E8A-4147-A177-3AD203B41FA5}">
                      <a16:colId xmlns:a16="http://schemas.microsoft.com/office/drawing/2014/main" val="1189217227"/>
                    </a:ext>
                  </a:extLst>
                </a:gridCol>
                <a:gridCol w="935982">
                  <a:extLst>
                    <a:ext uri="{9D8B030D-6E8A-4147-A177-3AD203B41FA5}">
                      <a16:colId xmlns:a16="http://schemas.microsoft.com/office/drawing/2014/main" val="1135652292"/>
                    </a:ext>
                  </a:extLst>
                </a:gridCol>
                <a:gridCol w="935982">
                  <a:extLst>
                    <a:ext uri="{9D8B030D-6E8A-4147-A177-3AD203B41FA5}">
                      <a16:colId xmlns:a16="http://schemas.microsoft.com/office/drawing/2014/main" val="2401207189"/>
                    </a:ext>
                  </a:extLst>
                </a:gridCol>
                <a:gridCol w="935982">
                  <a:extLst>
                    <a:ext uri="{9D8B030D-6E8A-4147-A177-3AD203B41FA5}">
                      <a16:colId xmlns:a16="http://schemas.microsoft.com/office/drawing/2014/main" val="343900173"/>
                    </a:ext>
                  </a:extLst>
                </a:gridCol>
                <a:gridCol w="935982">
                  <a:extLst>
                    <a:ext uri="{9D8B030D-6E8A-4147-A177-3AD203B41FA5}">
                      <a16:colId xmlns:a16="http://schemas.microsoft.com/office/drawing/2014/main" val="3442319248"/>
                    </a:ext>
                  </a:extLst>
                </a:gridCol>
              </a:tblGrid>
              <a:tr h="186412">
                <a:tc>
                  <a:txBody>
                    <a:bodyPr/>
                    <a:lstStyle/>
                    <a:p>
                      <a:endParaRPr lang="da-DK" sz="1000" b="1" dirty="0">
                        <a:solidFill>
                          <a:schemeClr val="bg1"/>
                        </a:solidFill>
                        <a:latin typeface="Arial Narrow" panose="020B0606020202030204" pitchFamily="34" charset="0"/>
                      </a:endParaRPr>
                    </a:p>
                  </a:txBody>
                  <a:tcPr marL="71991" marR="71991"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da-DK" sz="1000" b="1" dirty="0">
                        <a:solidFill>
                          <a:schemeClr val="bg1"/>
                        </a:solidFill>
                        <a:latin typeface="Arial Narrow" panose="020B0606020202030204" pitchFamily="34" charset="0"/>
                      </a:endParaRPr>
                    </a:p>
                  </a:txBody>
                  <a:tcPr marL="71991" marR="71991"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000" b="1" kern="0" dirty="0" err="1">
                          <a:solidFill>
                            <a:schemeClr val="bg1"/>
                          </a:solidFill>
                          <a:latin typeface="Arial Narrow" panose="020B0606020202030204" pitchFamily="34" charset="0"/>
                        </a:rPr>
                        <a:t>Focused</a:t>
                      </a:r>
                      <a:r>
                        <a:rPr lang="da-DK" sz="1000" b="1" kern="0" dirty="0">
                          <a:solidFill>
                            <a:schemeClr val="bg1"/>
                          </a:solidFill>
                          <a:latin typeface="Arial Narrow" panose="020B0606020202030204" pitchFamily="34" charset="0"/>
                        </a:rPr>
                        <a:t> on </a:t>
                      </a:r>
                      <a:r>
                        <a:rPr lang="da-DK" sz="1000" b="1" kern="0" dirty="0" err="1">
                          <a:solidFill>
                            <a:schemeClr val="bg1"/>
                          </a:solidFill>
                          <a:latin typeface="Arial Narrow" panose="020B0606020202030204" pitchFamily="34" charset="0"/>
                        </a:rPr>
                        <a:t>water</a:t>
                      </a:r>
                      <a:r>
                        <a:rPr lang="da-DK" sz="1000" b="1" kern="0" dirty="0">
                          <a:solidFill>
                            <a:schemeClr val="bg1"/>
                          </a:solidFill>
                          <a:latin typeface="Arial Narrow" panose="020B0606020202030204" pitchFamily="34" charset="0"/>
                        </a:rPr>
                        <a:t> </a:t>
                      </a:r>
                      <a:r>
                        <a:rPr lang="da-DK" sz="1000" b="1" kern="0" dirty="0" err="1">
                          <a:solidFill>
                            <a:schemeClr val="bg1"/>
                          </a:solidFill>
                          <a:latin typeface="Arial Narrow" panose="020B0606020202030204" pitchFamily="34" charset="0"/>
                        </a:rPr>
                        <a:t>utility</a:t>
                      </a:r>
                      <a:r>
                        <a:rPr lang="da-DK" sz="1000" b="1" kern="0" dirty="0">
                          <a:solidFill>
                            <a:schemeClr val="bg1"/>
                          </a:solidFill>
                          <a:latin typeface="Arial Narrow" panose="020B0606020202030204" pitchFamily="34" charset="0"/>
                        </a:rPr>
                        <a:t> </a:t>
                      </a:r>
                      <a:r>
                        <a:rPr lang="da-DK" sz="1000" b="1" kern="0" dirty="0" err="1">
                          <a:solidFill>
                            <a:schemeClr val="bg1"/>
                          </a:solidFill>
                          <a:latin typeface="Arial Narrow" panose="020B0606020202030204" pitchFamily="34" charset="0"/>
                        </a:rPr>
                        <a:t>companies</a:t>
                      </a:r>
                      <a:endParaRPr kumimoji="0" lang="da-DK" sz="1000" b="0" i="0" u="none" strike="noStrike" kern="0" cap="none" spc="0" normalizeH="0" baseline="0" noProof="0" dirty="0">
                        <a:ln>
                          <a:noFill/>
                        </a:ln>
                        <a:solidFill>
                          <a:schemeClr val="bg1"/>
                        </a:solidFill>
                        <a:effectLst/>
                        <a:uLnTx/>
                        <a:uFillTx/>
                        <a:latin typeface="Arial Narrow" panose="020B0606020202030204" pitchFamily="34" charset="0"/>
                      </a:endParaRPr>
                    </a:p>
                  </a:txBody>
                  <a:tcPr marL="71991" marR="71991"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tc hMerge="1">
                  <a:txBody>
                    <a:bodyPr/>
                    <a:lstStyle/>
                    <a:p>
                      <a:pPr algn="ctr"/>
                      <a:endParaRPr lang="da-DK" sz="1050" b="1" dirty="0">
                        <a:solidFill>
                          <a:schemeClr val="bg1"/>
                        </a:solidFill>
                      </a:endParaRPr>
                    </a:p>
                  </a:txBody>
                  <a:tcPr marL="72000" marR="72000" marT="0" marB="0">
                    <a:solidFill>
                      <a:srgbClr val="008737"/>
                    </a:solidFill>
                  </a:tcPr>
                </a:tc>
                <a:tc hMerge="1">
                  <a:txBody>
                    <a:bodyPr/>
                    <a:lstStyle/>
                    <a:p>
                      <a:pPr algn="ctr"/>
                      <a:endParaRPr lang="da-DK" sz="1050" b="1" dirty="0">
                        <a:solidFill>
                          <a:schemeClr val="bg1"/>
                        </a:solidFill>
                      </a:endParaRPr>
                    </a:p>
                  </a:txBody>
                  <a:tcPr marL="72000" marR="72000" marT="0" marB="0">
                    <a:solidFill>
                      <a:srgbClr val="008737"/>
                    </a:solidFill>
                  </a:tcPr>
                </a:tc>
                <a:tc hMerge="1">
                  <a:txBody>
                    <a:bodyPr/>
                    <a:lstStyle/>
                    <a:p>
                      <a:pPr algn="ctr"/>
                      <a:endParaRPr lang="da-DK" sz="1050" b="1" dirty="0">
                        <a:solidFill>
                          <a:schemeClr val="bg1"/>
                        </a:solidFill>
                      </a:endParaRPr>
                    </a:p>
                  </a:txBody>
                  <a:tcPr marL="72000" marR="72000" marT="0" marB="0">
                    <a:solidFill>
                      <a:srgbClr val="008737"/>
                    </a:solidFill>
                  </a:tcPr>
                </a:tc>
                <a:tc>
                  <a:txBody>
                    <a:bodyPr/>
                    <a:lstStyle/>
                    <a:p>
                      <a:pPr algn="ctr"/>
                      <a:endParaRPr lang="da-DK" sz="1000" b="1" dirty="0">
                        <a:solidFill>
                          <a:schemeClr val="bg1"/>
                        </a:solidFill>
                        <a:latin typeface="Arial Narrow" panose="020B0606020202030204" pitchFamily="34" charset="0"/>
                      </a:endParaRPr>
                    </a:p>
                  </a:txBody>
                  <a:tcPr marL="71991" marR="71991"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18942938"/>
                  </a:ext>
                </a:extLst>
              </a:tr>
              <a:tr h="215996">
                <a:tc>
                  <a:txBody>
                    <a:bodyPr/>
                    <a:lstStyle/>
                    <a:p>
                      <a:endParaRPr lang="da-DK" sz="1000" b="1" dirty="0">
                        <a:solidFill>
                          <a:schemeClr val="bg1"/>
                        </a:solidFill>
                        <a:latin typeface="Arial Narrow" panose="020B0606020202030204" pitchFamily="34" charset="0"/>
                      </a:endParaRPr>
                    </a:p>
                  </a:txBody>
                  <a:tcPr marL="71991" marR="71991" marT="0" marB="0">
                    <a:lnL w="12700" cap="flat" cmpd="sng" algn="ctr">
                      <a:no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a-DK" sz="1000" b="1" dirty="0">
                        <a:solidFill>
                          <a:schemeClr val="bg1"/>
                        </a:solidFill>
                        <a:latin typeface="Arial Narrow" panose="020B0606020202030204" pitchFamily="34" charset="0"/>
                      </a:endParaRPr>
                    </a:p>
                  </a:txBody>
                  <a:tcPr marL="71991" marR="71991" marT="0" marB="0">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a-DK" sz="1000" b="1" dirty="0">
                        <a:solidFill>
                          <a:schemeClr val="bg1"/>
                        </a:solidFill>
                        <a:latin typeface="Arial Narrow" panose="020B0606020202030204" pitchFamily="34" charset="0"/>
                      </a:endParaRPr>
                    </a:p>
                  </a:txBody>
                  <a:tcPr marL="71991" marR="71991" marT="0" marB="0">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a-DK" sz="1000" b="1" dirty="0">
                        <a:solidFill>
                          <a:schemeClr val="bg1"/>
                        </a:solidFill>
                        <a:latin typeface="Arial Narrow" panose="020B0606020202030204" pitchFamily="34" charset="0"/>
                      </a:endParaRPr>
                    </a:p>
                  </a:txBody>
                  <a:tcPr marL="71991" marR="71991" marT="0" marB="0">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000" b="1" kern="0" dirty="0" err="1">
                          <a:solidFill>
                            <a:schemeClr val="bg1"/>
                          </a:solidFill>
                          <a:latin typeface="Arial Narrow" panose="020B0606020202030204" pitchFamily="34" charset="0"/>
                        </a:rPr>
                        <a:t>Focused</a:t>
                      </a:r>
                      <a:r>
                        <a:rPr lang="da-DK" sz="1000" b="1" kern="0" dirty="0">
                          <a:solidFill>
                            <a:schemeClr val="bg1"/>
                          </a:solidFill>
                          <a:latin typeface="Arial Narrow" panose="020B0606020202030204" pitchFamily="34" charset="0"/>
                        </a:rPr>
                        <a:t> on </a:t>
                      </a:r>
                      <a:r>
                        <a:rPr lang="da-DK" sz="1000" b="1" kern="0" dirty="0" err="1">
                          <a:solidFill>
                            <a:schemeClr val="bg1"/>
                          </a:solidFill>
                          <a:latin typeface="Arial Narrow" panose="020B0606020202030204" pitchFamily="34" charset="0"/>
                        </a:rPr>
                        <a:t>environmental</a:t>
                      </a:r>
                      <a:r>
                        <a:rPr lang="da-DK" sz="1000" b="1" kern="0" dirty="0">
                          <a:solidFill>
                            <a:schemeClr val="bg1"/>
                          </a:solidFill>
                          <a:latin typeface="Arial Narrow" panose="020B0606020202030204" pitchFamily="34" charset="0"/>
                        </a:rPr>
                        <a:t> </a:t>
                      </a:r>
                      <a:r>
                        <a:rPr lang="da-DK" sz="1000" b="1" kern="0" dirty="0" err="1">
                          <a:solidFill>
                            <a:schemeClr val="bg1"/>
                          </a:solidFill>
                          <a:latin typeface="Arial Narrow" panose="020B0606020202030204" pitchFamily="34" charset="0"/>
                        </a:rPr>
                        <a:t>authorities</a:t>
                      </a:r>
                      <a:r>
                        <a:rPr lang="da-DK" sz="1000" b="1" kern="0" dirty="0">
                          <a:solidFill>
                            <a:schemeClr val="bg1"/>
                          </a:solidFill>
                          <a:latin typeface="Arial Narrow" panose="020B0606020202030204" pitchFamily="34" charset="0"/>
                        </a:rPr>
                        <a:t> and the public</a:t>
                      </a:r>
                      <a:endParaRPr kumimoji="0" lang="da-DK" sz="1000" b="0" i="0" u="none" strike="noStrike" kern="0" cap="none" spc="0" normalizeH="0" baseline="0" noProof="0" dirty="0">
                        <a:ln>
                          <a:noFill/>
                        </a:ln>
                        <a:solidFill>
                          <a:schemeClr val="bg1"/>
                        </a:solidFill>
                        <a:effectLst/>
                        <a:uLnTx/>
                        <a:uFillTx/>
                        <a:latin typeface="Arial Narrow" panose="020B0606020202030204" pitchFamily="34" charset="0"/>
                      </a:endParaRPr>
                    </a:p>
                  </a:txBody>
                  <a:tcPr marL="71991" marR="71991" marT="0" marB="0">
                    <a:lnL w="12700" cmpd="sng">
                      <a:noFill/>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8737"/>
                    </a:solidFill>
                  </a:tcPr>
                </a:tc>
                <a:tc hMerge="1">
                  <a:txBody>
                    <a:bodyPr/>
                    <a:lstStyle/>
                    <a:p>
                      <a:pPr algn="ctr"/>
                      <a:endParaRPr lang="da-DK" sz="1050" b="1" dirty="0">
                        <a:solidFill>
                          <a:schemeClr val="bg1"/>
                        </a:solidFill>
                      </a:endParaRPr>
                    </a:p>
                  </a:txBody>
                  <a:tcPr marL="72000" marR="72000" marT="0" marB="0">
                    <a:solidFill>
                      <a:srgbClr val="008737"/>
                    </a:solidFill>
                  </a:tcPr>
                </a:tc>
                <a:tc hMerge="1">
                  <a:txBody>
                    <a:bodyPr/>
                    <a:lstStyle/>
                    <a:p>
                      <a:pPr algn="ctr"/>
                      <a:endParaRPr lang="da-DK" sz="1050" b="1" dirty="0">
                        <a:solidFill>
                          <a:schemeClr val="bg1"/>
                        </a:solidFill>
                      </a:endParaRPr>
                    </a:p>
                  </a:txBody>
                  <a:tcPr marL="72000" marR="72000" marT="0" marB="0">
                    <a:solidFill>
                      <a:srgbClr val="008737"/>
                    </a:solidFill>
                  </a:tcPr>
                </a:tc>
                <a:extLst>
                  <a:ext uri="{0D108BD9-81ED-4DB2-BD59-A6C34878D82A}">
                    <a16:rowId xmlns:a16="http://schemas.microsoft.com/office/drawing/2014/main" val="2455435446"/>
                  </a:ext>
                </a:extLst>
              </a:tr>
              <a:tr h="503990">
                <a:tc>
                  <a:txBody>
                    <a:bodyPr/>
                    <a:lstStyle/>
                    <a:p>
                      <a:endParaRPr lang="da-DK" sz="1000" b="1" dirty="0">
                        <a:solidFill>
                          <a:schemeClr val="bg1"/>
                        </a:solidFill>
                        <a:latin typeface="Arial Narrow" panose="020B0606020202030204" pitchFamily="34" charset="0"/>
                      </a:endParaRPr>
                    </a:p>
                    <a:p>
                      <a:r>
                        <a:rPr lang="da-DK" sz="1000" b="1" dirty="0" err="1">
                          <a:solidFill>
                            <a:schemeClr val="bg1"/>
                          </a:solidFill>
                          <a:latin typeface="Arial Narrow" panose="020B0606020202030204" pitchFamily="34" charset="0"/>
                        </a:rPr>
                        <a:t>Actor</a:t>
                      </a:r>
                      <a:r>
                        <a:rPr lang="da-DK" sz="1000" b="1" dirty="0">
                          <a:solidFill>
                            <a:schemeClr val="bg1"/>
                          </a:solidFill>
                          <a:latin typeface="Arial Narrow" panose="020B0606020202030204" pitchFamily="34" charset="0"/>
                        </a:rPr>
                        <a:t> </a:t>
                      </a:r>
                      <a:r>
                        <a:rPr lang="da-DK" sz="1000" b="1" dirty="0" err="1">
                          <a:solidFill>
                            <a:schemeClr val="bg1"/>
                          </a:solidFill>
                          <a:latin typeface="Arial Narrow" panose="020B0606020202030204" pitchFamily="34" charset="0"/>
                        </a:rPr>
                        <a:t>categories</a:t>
                      </a:r>
                      <a:endParaRPr lang="da-DK" sz="1000" b="1" dirty="0">
                        <a:solidFill>
                          <a:schemeClr val="bg1"/>
                        </a:solidFill>
                        <a:latin typeface="Arial Narrow" panose="020B0606020202030204" pitchFamily="34" charset="0"/>
                      </a:endParaRPr>
                    </a:p>
                  </a:txBody>
                  <a:tcPr marL="71991" marR="71991" marT="0" marB="0">
                    <a:lnT w="12700" cap="flat" cmpd="sng" algn="ctr">
                      <a:solidFill>
                        <a:schemeClr val="tx1"/>
                      </a:solidFill>
                      <a:prstDash val="solid"/>
                      <a:round/>
                      <a:headEnd type="none" w="med" len="med"/>
                      <a:tailEnd type="none" w="med" len="med"/>
                    </a:lnT>
                    <a:solidFill>
                      <a:schemeClr val="bg1">
                        <a:lumMod val="50000"/>
                      </a:schemeClr>
                    </a:solidFill>
                  </a:tcPr>
                </a:tc>
                <a:tc>
                  <a:txBody>
                    <a:bodyPr/>
                    <a:lstStyle/>
                    <a:p>
                      <a:endParaRPr lang="en-US" sz="1000" b="1" dirty="0">
                        <a:solidFill>
                          <a:schemeClr val="bg1"/>
                        </a:solidFill>
                        <a:latin typeface="Arial Narrow" panose="020B0606020202030204" pitchFamily="34" charset="0"/>
                      </a:endParaRPr>
                    </a:p>
                    <a:p>
                      <a:r>
                        <a:rPr lang="en-US" sz="1000" b="1" dirty="0">
                          <a:solidFill>
                            <a:schemeClr val="bg1"/>
                          </a:solidFill>
                          <a:latin typeface="Arial Narrow" panose="020B0606020202030204" pitchFamily="34" charset="0"/>
                        </a:rPr>
                        <a:t>Actors</a:t>
                      </a:r>
                      <a:r>
                        <a:rPr lang="en-US" sz="1000" b="1" baseline="0" dirty="0">
                          <a:solidFill>
                            <a:schemeClr val="bg1"/>
                          </a:solidFill>
                          <a:latin typeface="Arial Narrow" panose="020B0606020202030204" pitchFamily="34" charset="0"/>
                        </a:rPr>
                        <a:t> </a:t>
                      </a:r>
                      <a:endParaRPr lang="da-DK" sz="1000" b="1" dirty="0">
                        <a:solidFill>
                          <a:schemeClr val="bg1"/>
                        </a:solidFill>
                        <a:latin typeface="Arial Narrow" panose="020B0606020202030204" pitchFamily="34" charset="0"/>
                      </a:endParaRPr>
                    </a:p>
                  </a:txBody>
                  <a:tcPr marL="71991" marR="71991" marT="0" marB="0">
                    <a:lnT w="12700" cap="flat" cmpd="sng" algn="ctr">
                      <a:solidFill>
                        <a:schemeClr val="tx1"/>
                      </a:solidFill>
                      <a:prstDash val="solid"/>
                      <a:round/>
                      <a:headEnd type="none" w="med" len="med"/>
                      <a:tailEnd type="none" w="med" len="med"/>
                    </a:lnT>
                    <a:solidFill>
                      <a:schemeClr val="bg1">
                        <a:lumMod val="50000"/>
                      </a:schemeClr>
                    </a:solidFill>
                  </a:tcPr>
                </a:tc>
                <a:tc>
                  <a:txBody>
                    <a:bodyPr/>
                    <a:lstStyle/>
                    <a:p>
                      <a:pPr algn="ctr"/>
                      <a:r>
                        <a:rPr lang="da-DK" sz="1000" b="1" dirty="0" err="1">
                          <a:solidFill>
                            <a:schemeClr val="bg1"/>
                          </a:solidFill>
                          <a:latin typeface="Arial Narrow" panose="020B0606020202030204" pitchFamily="34" charset="0"/>
                        </a:rPr>
                        <a:t>Use</a:t>
                      </a:r>
                      <a:r>
                        <a:rPr lang="da-DK" sz="1000" b="1" dirty="0">
                          <a:solidFill>
                            <a:schemeClr val="bg1"/>
                          </a:solidFill>
                          <a:latin typeface="Arial Narrow" panose="020B0606020202030204" pitchFamily="34" charset="0"/>
                        </a:rPr>
                        <a:t> Case 1</a:t>
                      </a:r>
                    </a:p>
                    <a:p>
                      <a:pPr algn="ctr"/>
                      <a:r>
                        <a:rPr lang="da-DK" sz="1000" b="1" dirty="0">
                          <a:solidFill>
                            <a:schemeClr val="bg1"/>
                          </a:solidFill>
                          <a:latin typeface="Arial Narrow" panose="020B0606020202030204" pitchFamily="34" charset="0"/>
                        </a:rPr>
                        <a:t>Automated </a:t>
                      </a:r>
                      <a:r>
                        <a:rPr lang="da-DK" sz="1000" b="1" dirty="0" err="1">
                          <a:solidFill>
                            <a:schemeClr val="bg1"/>
                          </a:solidFill>
                          <a:latin typeface="Arial Narrow" panose="020B0606020202030204" pitchFamily="34" charset="0"/>
                        </a:rPr>
                        <a:t>reporting</a:t>
                      </a:r>
                      <a:endParaRPr lang="da-DK" sz="1000" b="1" dirty="0">
                        <a:solidFill>
                          <a:schemeClr val="bg1"/>
                        </a:solidFill>
                        <a:latin typeface="Arial Narrow" panose="020B0606020202030204" pitchFamily="34" charset="0"/>
                      </a:endParaRPr>
                    </a:p>
                  </a:txBody>
                  <a:tcPr marL="71991" marR="71991" marT="0" marB="0">
                    <a:lnT w="12700" cap="flat" cmpd="sng" algn="ctr">
                      <a:solidFill>
                        <a:schemeClr val="tx1"/>
                      </a:solidFill>
                      <a:prstDash val="solid"/>
                      <a:round/>
                      <a:headEnd type="none" w="med" len="med"/>
                      <a:tailEnd type="none" w="med" len="med"/>
                    </a:lnT>
                    <a:solidFill>
                      <a:schemeClr val="bg1">
                        <a:lumMod val="50000"/>
                      </a:schemeClr>
                    </a:solidFill>
                  </a:tcPr>
                </a:tc>
                <a:tc>
                  <a:txBody>
                    <a:bodyPr/>
                    <a:lstStyle/>
                    <a:p>
                      <a:pPr algn="ctr"/>
                      <a:r>
                        <a:rPr lang="da-DK" sz="1000" b="1" dirty="0">
                          <a:solidFill>
                            <a:schemeClr val="bg1"/>
                          </a:solidFill>
                          <a:latin typeface="Arial Narrow" panose="020B0606020202030204" pitchFamily="34" charset="0"/>
                        </a:rPr>
                        <a:t>Case Study C</a:t>
                      </a:r>
                    </a:p>
                    <a:p>
                      <a:pPr algn="ctr"/>
                      <a:r>
                        <a:rPr lang="da-DK" sz="1000" b="1" dirty="0">
                          <a:solidFill>
                            <a:schemeClr val="bg1"/>
                          </a:solidFill>
                          <a:latin typeface="Arial Narrow" panose="020B0606020202030204" pitchFamily="34" charset="0"/>
                        </a:rPr>
                        <a:t>Water </a:t>
                      </a:r>
                      <a:r>
                        <a:rPr lang="da-DK" sz="1000" b="1" dirty="0" err="1">
                          <a:solidFill>
                            <a:schemeClr val="bg1"/>
                          </a:solidFill>
                          <a:latin typeface="Arial Narrow" panose="020B0606020202030204" pitchFamily="34" charset="0"/>
                        </a:rPr>
                        <a:t>Living</a:t>
                      </a:r>
                      <a:r>
                        <a:rPr lang="da-DK" sz="1000" b="1" dirty="0">
                          <a:solidFill>
                            <a:schemeClr val="bg1"/>
                          </a:solidFill>
                          <a:latin typeface="Arial Narrow" panose="020B0606020202030204" pitchFamily="34" charset="0"/>
                        </a:rPr>
                        <a:t> Lab</a:t>
                      </a:r>
                    </a:p>
                  </a:txBody>
                  <a:tcPr marL="71991" marR="71991" marT="0" marB="0">
                    <a:lnT w="12700" cap="flat" cmpd="sng" algn="ctr">
                      <a:solidFill>
                        <a:schemeClr val="tx1"/>
                      </a:solidFill>
                      <a:prstDash val="solid"/>
                      <a:round/>
                      <a:headEnd type="none" w="med" len="med"/>
                      <a:tailEnd type="none" w="med" len="med"/>
                    </a:lnT>
                    <a:solidFill>
                      <a:schemeClr val="bg1">
                        <a:lumMod val="50000"/>
                      </a:schemeClr>
                    </a:solidFill>
                  </a:tcPr>
                </a:tc>
                <a:tc>
                  <a:txBody>
                    <a:bodyPr/>
                    <a:lstStyle/>
                    <a:p>
                      <a:pPr algn="ctr"/>
                      <a:r>
                        <a:rPr lang="da-DK" sz="1000" b="1" dirty="0" err="1">
                          <a:solidFill>
                            <a:schemeClr val="bg1"/>
                          </a:solidFill>
                          <a:latin typeface="Arial Narrow" panose="020B0606020202030204" pitchFamily="34" charset="0"/>
                        </a:rPr>
                        <a:t>Use</a:t>
                      </a:r>
                      <a:r>
                        <a:rPr lang="da-DK" sz="1000" b="1" dirty="0">
                          <a:solidFill>
                            <a:schemeClr val="bg1"/>
                          </a:solidFill>
                          <a:latin typeface="Arial Narrow" panose="020B0606020202030204" pitchFamily="34" charset="0"/>
                        </a:rPr>
                        <a:t> Case 2</a:t>
                      </a:r>
                    </a:p>
                    <a:p>
                      <a:pPr algn="ctr"/>
                      <a:r>
                        <a:rPr lang="da-DK" sz="1000" b="1" dirty="0">
                          <a:solidFill>
                            <a:schemeClr val="bg1"/>
                          </a:solidFill>
                          <a:latin typeface="Arial Narrow" panose="020B0606020202030204" pitchFamily="34" charset="0"/>
                        </a:rPr>
                        <a:t>Detention Pond Analytics</a:t>
                      </a:r>
                    </a:p>
                  </a:txBody>
                  <a:tcPr marL="71991" marR="71991" marT="0" marB="0">
                    <a:lnT w="12700" cap="flat" cmpd="sng" algn="ctr">
                      <a:solidFill>
                        <a:schemeClr val="tx1"/>
                      </a:solidFill>
                      <a:prstDash val="solid"/>
                      <a:round/>
                      <a:headEnd type="none" w="med" len="med"/>
                      <a:tailEnd type="none" w="med" len="med"/>
                    </a:lnT>
                    <a:solidFill>
                      <a:schemeClr val="bg1">
                        <a:lumMod val="5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000" b="1" dirty="0" err="1">
                          <a:solidFill>
                            <a:schemeClr val="bg1"/>
                          </a:solidFill>
                          <a:latin typeface="Arial Narrow" panose="020B0606020202030204" pitchFamily="34" charset="0"/>
                        </a:rPr>
                        <a:t>Use</a:t>
                      </a:r>
                      <a:r>
                        <a:rPr lang="da-DK" sz="1000" b="1" dirty="0">
                          <a:solidFill>
                            <a:schemeClr val="bg1"/>
                          </a:solidFill>
                          <a:latin typeface="Arial Narrow" panose="020B0606020202030204" pitchFamily="34" charset="0"/>
                        </a:rPr>
                        <a:t> Case 3</a:t>
                      </a:r>
                    </a:p>
                    <a:p>
                      <a:pPr algn="ctr"/>
                      <a:r>
                        <a:rPr lang="da-DK" sz="1000" b="1" dirty="0">
                          <a:solidFill>
                            <a:schemeClr val="bg1"/>
                          </a:solidFill>
                          <a:latin typeface="Arial Narrow" panose="020B0606020202030204" pitchFamily="34" charset="0"/>
                        </a:rPr>
                        <a:t>EHS Source</a:t>
                      </a:r>
                      <a:r>
                        <a:rPr lang="da-DK" sz="1000" b="1" baseline="0" dirty="0">
                          <a:solidFill>
                            <a:schemeClr val="bg1"/>
                          </a:solidFill>
                          <a:latin typeface="Arial Narrow" panose="020B0606020202030204" pitchFamily="34" charset="0"/>
                        </a:rPr>
                        <a:t> </a:t>
                      </a:r>
                      <a:r>
                        <a:rPr lang="da-DK" sz="1000" b="1" dirty="0" err="1">
                          <a:solidFill>
                            <a:schemeClr val="bg1"/>
                          </a:solidFill>
                          <a:latin typeface="Arial Narrow" panose="020B0606020202030204" pitchFamily="34" charset="0"/>
                        </a:rPr>
                        <a:t>Track</a:t>
                      </a:r>
                      <a:r>
                        <a:rPr lang="da-DK" sz="1000" b="1" dirty="0">
                          <a:solidFill>
                            <a:schemeClr val="bg1"/>
                          </a:solidFill>
                          <a:latin typeface="Arial Narrow" panose="020B0606020202030204" pitchFamily="34" charset="0"/>
                        </a:rPr>
                        <a:t>. </a:t>
                      </a:r>
                      <a:r>
                        <a:rPr lang="da-DK" sz="1000" b="1" dirty="0" err="1">
                          <a:solidFill>
                            <a:schemeClr val="bg1"/>
                          </a:solidFill>
                          <a:latin typeface="Arial Narrow" panose="020B0606020202030204" pitchFamily="34" charset="0"/>
                        </a:rPr>
                        <a:t>Analyt</a:t>
                      </a:r>
                      <a:r>
                        <a:rPr lang="da-DK" sz="1000" b="1" dirty="0">
                          <a:solidFill>
                            <a:schemeClr val="bg1"/>
                          </a:solidFill>
                          <a:latin typeface="Arial Narrow" panose="020B0606020202030204" pitchFamily="34" charset="0"/>
                        </a:rPr>
                        <a:t>.</a:t>
                      </a:r>
                    </a:p>
                  </a:txBody>
                  <a:tcPr marL="71991" marR="71991" marT="0" marB="0">
                    <a:lnT w="12700" cap="flat" cmpd="sng" algn="ctr">
                      <a:solidFill>
                        <a:schemeClr val="tx1"/>
                      </a:solidFill>
                      <a:prstDash val="solid"/>
                      <a:round/>
                      <a:headEnd type="none" w="med" len="med"/>
                      <a:tailEnd type="none" w="med" len="med"/>
                    </a:lnT>
                    <a:solidFill>
                      <a:schemeClr val="bg1">
                        <a:lumMod val="50000"/>
                      </a:schemeClr>
                    </a:solidFill>
                  </a:tcPr>
                </a:tc>
                <a:tc>
                  <a:txBody>
                    <a:bodyPr/>
                    <a:lstStyle/>
                    <a:p>
                      <a:pPr algn="ctr"/>
                      <a:r>
                        <a:rPr lang="da-DK" sz="1000" b="1" dirty="0">
                          <a:solidFill>
                            <a:schemeClr val="bg1"/>
                          </a:solidFill>
                          <a:latin typeface="Arial Narrow" panose="020B0606020202030204" pitchFamily="34" charset="0"/>
                        </a:rPr>
                        <a:t>Case Study B</a:t>
                      </a:r>
                    </a:p>
                    <a:p>
                      <a:pPr algn="ctr"/>
                      <a:r>
                        <a:rPr lang="da-DK" sz="1000" b="1" dirty="0">
                          <a:solidFill>
                            <a:schemeClr val="bg1"/>
                          </a:solidFill>
                          <a:latin typeface="Arial Narrow" panose="020B0606020202030204" pitchFamily="34" charset="0"/>
                        </a:rPr>
                        <a:t>Miljøportalen</a:t>
                      </a:r>
                    </a:p>
                  </a:txBody>
                  <a:tcPr marL="71991" marR="71991" marT="0" marB="0">
                    <a:lnT w="12700" cap="flat" cmpd="sng" algn="ctr">
                      <a:solidFill>
                        <a:schemeClr val="tx1"/>
                      </a:solidFill>
                      <a:prstDash val="solid"/>
                      <a:round/>
                      <a:headEnd type="none" w="med" len="med"/>
                      <a:tailEnd type="none" w="med" len="med"/>
                    </a:lnT>
                    <a:solidFill>
                      <a:schemeClr val="bg1">
                        <a:lumMod val="50000"/>
                      </a:schemeClr>
                    </a:solidFill>
                  </a:tcPr>
                </a:tc>
                <a:extLst>
                  <a:ext uri="{0D108BD9-81ED-4DB2-BD59-A6C34878D82A}">
                    <a16:rowId xmlns:a16="http://schemas.microsoft.com/office/drawing/2014/main" val="4264429182"/>
                  </a:ext>
                </a:extLst>
              </a:tr>
              <a:tr h="161979">
                <a:tc rowSpan="3">
                  <a:txBody>
                    <a:bodyPr/>
                    <a:lstStyle/>
                    <a:p>
                      <a:r>
                        <a:rPr lang="da-DK" sz="1000" b="1" strike="noStrike" baseline="0" dirty="0">
                          <a:solidFill>
                            <a:schemeClr val="tx1"/>
                          </a:solidFill>
                          <a:latin typeface="Arial Narrow" panose="020B0606020202030204" pitchFamily="34" charset="0"/>
                        </a:rPr>
                        <a:t>International </a:t>
                      </a:r>
                      <a:r>
                        <a:rPr lang="da-DK" sz="1000" b="1" strike="noStrike" baseline="0" dirty="0" err="1">
                          <a:solidFill>
                            <a:schemeClr val="tx1"/>
                          </a:solidFill>
                          <a:latin typeface="Arial Narrow" panose="020B0606020202030204" pitchFamily="34" charset="0"/>
                        </a:rPr>
                        <a:t>actors</a:t>
                      </a:r>
                      <a:endParaRPr lang="da-DK" sz="1000" b="1" strike="noStrike" baseline="0" dirty="0">
                        <a:solidFill>
                          <a:schemeClr val="tx1"/>
                        </a:solidFill>
                        <a:latin typeface="Arial Narrow" panose="020B0606020202030204" pitchFamily="34" charset="0"/>
                      </a:endParaRPr>
                    </a:p>
                  </a:txBody>
                  <a:tcPr marL="71991" marR="71991" marT="0" marB="0">
                    <a:solidFill>
                      <a:schemeClr val="bg1">
                        <a:lumMod val="85000"/>
                      </a:schemeClr>
                    </a:solidFill>
                  </a:tcPr>
                </a:tc>
                <a:tc>
                  <a:txBody>
                    <a:bodyPr/>
                    <a:lstStyle/>
                    <a:p>
                      <a:r>
                        <a:rPr lang="en-US" sz="1000" b="1" dirty="0">
                          <a:solidFill>
                            <a:schemeClr val="tx1"/>
                          </a:solidFill>
                          <a:latin typeface="Arial Narrow" panose="020B0606020202030204" pitchFamily="34" charset="0"/>
                        </a:rPr>
                        <a:t>European</a:t>
                      </a:r>
                      <a:r>
                        <a:rPr lang="en-US" sz="1000" b="1" baseline="0" dirty="0">
                          <a:solidFill>
                            <a:schemeClr val="tx1"/>
                          </a:solidFill>
                          <a:latin typeface="Arial Narrow" panose="020B0606020202030204" pitchFamily="34" charset="0"/>
                        </a:rPr>
                        <a:t> Commission </a:t>
                      </a:r>
                      <a:r>
                        <a:rPr lang="en-US" sz="1000" b="1" strike="noStrike" baseline="0" dirty="0">
                          <a:solidFill>
                            <a:schemeClr val="tx1"/>
                          </a:solidFill>
                          <a:latin typeface="Arial Narrow" panose="020B0606020202030204" pitchFamily="34" charset="0"/>
                        </a:rPr>
                        <a:t>and Parliament</a:t>
                      </a:r>
                      <a:endParaRPr lang="da-DK" sz="1000" b="1" strike="noStrike" baseline="0" dirty="0">
                        <a:solidFill>
                          <a:schemeClr val="tx1"/>
                        </a:solidFill>
                        <a:latin typeface="Arial Narrow" panose="020B0606020202030204" pitchFamily="34" charset="0"/>
                      </a:endParaRPr>
                    </a:p>
                  </a:txBody>
                  <a:tcPr marL="71991" marR="71991" marT="0" marB="0">
                    <a:noFill/>
                  </a:tcPr>
                </a:tc>
                <a:tc>
                  <a:txBody>
                    <a:bodyPr/>
                    <a:lstStyle/>
                    <a:p>
                      <a:pPr algn="ctr"/>
                      <a:endParaRPr lang="da-DK" sz="1000" b="1" dirty="0">
                        <a:solidFill>
                          <a:schemeClr val="tx1"/>
                        </a:solidFill>
                        <a:latin typeface="Arial Narrow" panose="020B0606020202030204" pitchFamily="34" charset="0"/>
                      </a:endParaRPr>
                    </a:p>
                  </a:txBody>
                  <a:tcPr marL="71991" marR="71991" marT="0" marB="0">
                    <a:noFill/>
                  </a:tcPr>
                </a:tc>
                <a:tc>
                  <a:txBody>
                    <a:bodyPr/>
                    <a:lstStyle/>
                    <a:p>
                      <a:pPr algn="ctr"/>
                      <a:r>
                        <a:rPr lang="da-DK" sz="1000" b="1" dirty="0">
                          <a:solidFill>
                            <a:schemeClr val="tx1"/>
                          </a:solidFill>
                          <a:latin typeface="Arial Narrow" panose="020B0606020202030204" pitchFamily="34" charset="0"/>
                        </a:rPr>
                        <a:t>X</a:t>
                      </a:r>
                    </a:p>
                  </a:txBody>
                  <a:tcPr marL="71991" marR="71991" marT="0" marB="0">
                    <a:noFill/>
                  </a:tcPr>
                </a:tc>
                <a:tc>
                  <a:txBody>
                    <a:bodyPr/>
                    <a:lstStyle/>
                    <a:p>
                      <a:pPr algn="ctr"/>
                      <a:r>
                        <a:rPr lang="da-DK" sz="1000" b="1" dirty="0">
                          <a:solidFill>
                            <a:schemeClr val="tx1"/>
                          </a:solidFill>
                          <a:latin typeface="Arial Narrow" panose="020B0606020202030204" pitchFamily="34" charset="0"/>
                        </a:rPr>
                        <a:t>X</a:t>
                      </a:r>
                    </a:p>
                  </a:txBody>
                  <a:tcPr marL="71991" marR="71991" marT="0" marB="0">
                    <a:noFill/>
                  </a:tcPr>
                </a:tc>
                <a:tc>
                  <a:txBody>
                    <a:bodyPr/>
                    <a:lstStyle/>
                    <a:p>
                      <a:pPr algn="ctr"/>
                      <a:r>
                        <a:rPr lang="da-DK" sz="1000" b="1" dirty="0">
                          <a:solidFill>
                            <a:schemeClr val="tx1"/>
                          </a:solidFill>
                          <a:latin typeface="Arial Narrow" panose="020B0606020202030204" pitchFamily="34" charset="0"/>
                        </a:rPr>
                        <a:t>X</a:t>
                      </a:r>
                    </a:p>
                  </a:txBody>
                  <a:tcPr marL="71991" marR="71991" marT="0" marB="0">
                    <a:noFill/>
                  </a:tcPr>
                </a:tc>
                <a:tc>
                  <a:txBody>
                    <a:bodyPr/>
                    <a:lstStyle/>
                    <a:p>
                      <a:pPr algn="ctr"/>
                      <a:r>
                        <a:rPr lang="da-DK" sz="1000" b="1" dirty="0">
                          <a:solidFill>
                            <a:schemeClr val="tx1"/>
                          </a:solidFill>
                          <a:latin typeface="Arial Narrow" panose="020B0606020202030204" pitchFamily="34" charset="0"/>
                        </a:rPr>
                        <a:t>X</a:t>
                      </a:r>
                    </a:p>
                  </a:txBody>
                  <a:tcPr marL="71991" marR="71991" marT="0" marB="0">
                    <a:noFill/>
                  </a:tcPr>
                </a:tc>
                <a:extLst>
                  <a:ext uri="{0D108BD9-81ED-4DB2-BD59-A6C34878D82A}">
                    <a16:rowId xmlns:a16="http://schemas.microsoft.com/office/drawing/2014/main" val="758355246"/>
                  </a:ext>
                </a:extLst>
              </a:tr>
              <a:tr h="161979">
                <a:tc vMerge="1">
                  <a:txBody>
                    <a:bodyPr/>
                    <a:lstStyle/>
                    <a:p>
                      <a:endParaRPr lang="da-DK" sz="800" dirty="0">
                        <a:solidFill>
                          <a:schemeClr val="tx1"/>
                        </a:solidFill>
                      </a:endParaRPr>
                    </a:p>
                  </a:txBody>
                  <a:tcPr marL="72000" marR="72000" marT="0" marB="0">
                    <a:solidFill>
                      <a:schemeClr val="bg1"/>
                    </a:solidFill>
                  </a:tcPr>
                </a:tc>
                <a:tc>
                  <a:txBody>
                    <a:bodyPr/>
                    <a:lstStyle/>
                    <a:p>
                      <a:r>
                        <a:rPr lang="da-DK" sz="1000" b="1" dirty="0">
                          <a:solidFill>
                            <a:schemeClr val="tx1"/>
                          </a:solidFill>
                          <a:latin typeface="Arial Narrow" panose="020B0606020202030204" pitchFamily="34" charset="0"/>
                        </a:rPr>
                        <a:t>International (Non-EU) Tech Companies</a:t>
                      </a:r>
                    </a:p>
                  </a:txBody>
                  <a:tcPr marL="71991" marR="71991" marT="0" marB="0">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a-DK" sz="1000" b="1" dirty="0">
                        <a:solidFill>
                          <a:schemeClr val="tx1"/>
                        </a:solidFill>
                        <a:latin typeface="Arial Narrow" panose="020B0606020202030204" pitchFamily="34" charset="0"/>
                      </a:endParaRPr>
                    </a:p>
                  </a:txBody>
                  <a:tcPr marL="71991" marR="71991" marT="0" marB="0">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000" b="1" dirty="0">
                          <a:solidFill>
                            <a:schemeClr val="tx1"/>
                          </a:solidFill>
                          <a:latin typeface="Arial Narrow" panose="020B0606020202030204" pitchFamily="34" charset="0"/>
                        </a:rPr>
                        <a:t>X</a:t>
                      </a:r>
                    </a:p>
                  </a:txBody>
                  <a:tcPr marL="71991" marR="71991" marT="0" marB="0">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000" b="1" dirty="0">
                          <a:solidFill>
                            <a:schemeClr val="tx1"/>
                          </a:solidFill>
                          <a:latin typeface="Arial Narrow" panose="020B0606020202030204" pitchFamily="34" charset="0"/>
                        </a:rPr>
                        <a:t>X</a:t>
                      </a:r>
                    </a:p>
                  </a:txBody>
                  <a:tcPr marL="71991" marR="71991" marT="0" marB="0">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a-DK" sz="1000" b="1" dirty="0">
                        <a:solidFill>
                          <a:schemeClr val="tx1"/>
                        </a:solidFill>
                        <a:latin typeface="Arial Narrow" panose="020B0606020202030204" pitchFamily="34" charset="0"/>
                      </a:endParaRPr>
                    </a:p>
                  </a:txBody>
                  <a:tcPr marL="71991" marR="71991" marT="0" marB="0">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000" b="1" dirty="0">
                          <a:solidFill>
                            <a:schemeClr val="tx1"/>
                          </a:solidFill>
                          <a:latin typeface="Arial Narrow" panose="020B0606020202030204" pitchFamily="34" charset="0"/>
                        </a:rPr>
                        <a:t>X</a:t>
                      </a:r>
                    </a:p>
                  </a:txBody>
                  <a:tcPr marL="71991" marR="71991" marT="0" marB="0">
                    <a:noFill/>
                  </a:tcPr>
                </a:tc>
                <a:extLst>
                  <a:ext uri="{0D108BD9-81ED-4DB2-BD59-A6C34878D82A}">
                    <a16:rowId xmlns:a16="http://schemas.microsoft.com/office/drawing/2014/main" val="693204181"/>
                  </a:ext>
                </a:extLst>
              </a:tr>
              <a:tr h="161979">
                <a:tc vMerge="1">
                  <a:txBody>
                    <a:bodyPr/>
                    <a:lstStyle/>
                    <a:p>
                      <a:endParaRPr lang="en-US" sz="800" dirty="0">
                        <a:solidFill>
                          <a:schemeClr val="tx1"/>
                        </a:solidFill>
                      </a:endParaRPr>
                    </a:p>
                  </a:txBody>
                  <a:tcPr marL="72000" marR="72000" marT="0" marB="0">
                    <a:solidFill>
                      <a:schemeClr val="bg1"/>
                    </a:solidFill>
                  </a:tcPr>
                </a:tc>
                <a:tc>
                  <a:txBody>
                    <a:bodyPr/>
                    <a:lstStyle/>
                    <a:p>
                      <a:r>
                        <a:rPr lang="da-DK" sz="1000" b="1" dirty="0">
                          <a:solidFill>
                            <a:schemeClr val="tx1"/>
                          </a:solidFill>
                          <a:latin typeface="Arial Narrow" panose="020B0606020202030204" pitchFamily="34" charset="0"/>
                        </a:rPr>
                        <a:t>International Data Space</a:t>
                      </a:r>
                      <a:r>
                        <a:rPr lang="da-DK" sz="1000" b="1" baseline="0" dirty="0">
                          <a:solidFill>
                            <a:schemeClr val="tx1"/>
                          </a:solidFill>
                          <a:latin typeface="Arial Narrow" panose="020B0606020202030204" pitchFamily="34" charset="0"/>
                        </a:rPr>
                        <a:t> organisations</a:t>
                      </a:r>
                      <a:endParaRPr lang="en-US" sz="1000" b="1" dirty="0">
                        <a:solidFill>
                          <a:schemeClr val="tx1"/>
                        </a:solidFill>
                        <a:latin typeface="Arial Narrow" panose="020B0606020202030204" pitchFamily="34" charset="0"/>
                      </a:endParaRPr>
                    </a:p>
                  </a:txBody>
                  <a:tcPr marL="71991" marR="71991" marT="0" marB="0">
                    <a:noFill/>
                  </a:tcPr>
                </a:tc>
                <a:tc>
                  <a:txBody>
                    <a:bodyPr/>
                    <a:lstStyle/>
                    <a:p>
                      <a:pPr algn="ctr"/>
                      <a:endParaRPr lang="en-US" sz="1000" b="1" dirty="0">
                        <a:solidFill>
                          <a:schemeClr val="tx1"/>
                        </a:solidFill>
                        <a:latin typeface="Arial Narrow" panose="020B0606020202030204" pitchFamily="34" charset="0"/>
                      </a:endParaRPr>
                    </a:p>
                  </a:txBody>
                  <a:tcPr marL="71991" marR="71991" marT="0" marB="0">
                    <a:noFill/>
                  </a:tcPr>
                </a:tc>
                <a:tc>
                  <a:txBody>
                    <a:bodyPr/>
                    <a:lstStyle/>
                    <a:p>
                      <a:pPr algn="ctr"/>
                      <a:r>
                        <a:rPr lang="da-DK" sz="1000" b="1" dirty="0">
                          <a:solidFill>
                            <a:schemeClr val="tx1"/>
                          </a:solidFill>
                          <a:latin typeface="Arial Narrow" panose="020B0606020202030204" pitchFamily="34" charset="0"/>
                        </a:rPr>
                        <a:t>X</a:t>
                      </a:r>
                      <a:endParaRPr lang="en-US" sz="1000" b="1" dirty="0">
                        <a:solidFill>
                          <a:schemeClr val="tx1"/>
                        </a:solidFill>
                        <a:latin typeface="Arial Narrow" panose="020B0606020202030204" pitchFamily="34" charset="0"/>
                      </a:endParaRPr>
                    </a:p>
                  </a:txBody>
                  <a:tcPr marL="71991" marR="71991" marT="0" marB="0">
                    <a:noFill/>
                  </a:tcPr>
                </a:tc>
                <a:tc>
                  <a:txBody>
                    <a:bodyPr/>
                    <a:lstStyle/>
                    <a:p>
                      <a:pPr algn="ctr"/>
                      <a:r>
                        <a:rPr lang="da-DK" sz="1000" b="1" dirty="0">
                          <a:solidFill>
                            <a:schemeClr val="tx1"/>
                          </a:solidFill>
                          <a:latin typeface="Arial Narrow" panose="020B0606020202030204" pitchFamily="34" charset="0"/>
                        </a:rPr>
                        <a:t>X</a:t>
                      </a:r>
                      <a:endParaRPr lang="en-US" sz="1000" b="1" dirty="0">
                        <a:solidFill>
                          <a:schemeClr val="tx1"/>
                        </a:solidFill>
                        <a:latin typeface="Arial Narrow" panose="020B0606020202030204" pitchFamily="34" charset="0"/>
                      </a:endParaRPr>
                    </a:p>
                  </a:txBody>
                  <a:tcPr marL="71991" marR="71991" marT="0" marB="0">
                    <a:noFill/>
                  </a:tcPr>
                </a:tc>
                <a:tc>
                  <a:txBody>
                    <a:bodyPr/>
                    <a:lstStyle/>
                    <a:p>
                      <a:pPr algn="ctr"/>
                      <a:endParaRPr lang="en-US" sz="1000" b="1" dirty="0">
                        <a:solidFill>
                          <a:schemeClr val="tx1"/>
                        </a:solidFill>
                        <a:latin typeface="Arial Narrow" panose="020B0606020202030204" pitchFamily="34" charset="0"/>
                      </a:endParaRPr>
                    </a:p>
                  </a:txBody>
                  <a:tcPr marL="71991" marR="71991" marT="0" marB="0">
                    <a:noFill/>
                  </a:tcPr>
                </a:tc>
                <a:tc>
                  <a:txBody>
                    <a:bodyPr/>
                    <a:lstStyle/>
                    <a:p>
                      <a:pPr algn="ctr"/>
                      <a:r>
                        <a:rPr lang="da-DK" sz="1000" b="1" dirty="0">
                          <a:solidFill>
                            <a:schemeClr val="tx1"/>
                          </a:solidFill>
                          <a:latin typeface="Arial Narrow" panose="020B0606020202030204" pitchFamily="34" charset="0"/>
                        </a:rPr>
                        <a:t>X</a:t>
                      </a:r>
                      <a:endParaRPr lang="en-US" sz="1000" b="1" dirty="0">
                        <a:solidFill>
                          <a:schemeClr val="tx1"/>
                        </a:solidFill>
                        <a:latin typeface="Arial Narrow" panose="020B0606020202030204" pitchFamily="34" charset="0"/>
                      </a:endParaRPr>
                    </a:p>
                  </a:txBody>
                  <a:tcPr marL="71991" marR="71991" marT="0" marB="0">
                    <a:noFill/>
                  </a:tcPr>
                </a:tc>
                <a:extLst>
                  <a:ext uri="{0D108BD9-81ED-4DB2-BD59-A6C34878D82A}">
                    <a16:rowId xmlns:a16="http://schemas.microsoft.com/office/drawing/2014/main" val="2654307445"/>
                  </a:ext>
                </a:extLst>
              </a:tr>
              <a:tr h="161979">
                <a:tc rowSpan="3">
                  <a:txBody>
                    <a:bodyPr/>
                    <a:lstStyle/>
                    <a:p>
                      <a:r>
                        <a:rPr lang="da-DK" sz="1000" b="1" dirty="0">
                          <a:solidFill>
                            <a:schemeClr val="tx1"/>
                          </a:solidFill>
                          <a:latin typeface="Arial Narrow" panose="020B0606020202030204" pitchFamily="34" charset="0"/>
                        </a:rPr>
                        <a:t>Knowledge institutions</a:t>
                      </a:r>
                      <a:endParaRPr lang="en-US" sz="1000" b="1" dirty="0">
                        <a:solidFill>
                          <a:schemeClr val="tx1"/>
                        </a:solidFill>
                        <a:latin typeface="Arial Narrow" panose="020B0606020202030204" pitchFamily="34" charset="0"/>
                      </a:endParaRPr>
                    </a:p>
                  </a:txBody>
                  <a:tcPr marL="71991" marR="71991" marT="0" marB="0">
                    <a:solidFill>
                      <a:schemeClr val="bg1">
                        <a:lumMod val="85000"/>
                      </a:schemeClr>
                    </a:solidFill>
                  </a:tcPr>
                </a:tc>
                <a:tc>
                  <a:txBody>
                    <a:bodyPr/>
                    <a:lstStyle/>
                    <a:p>
                      <a:r>
                        <a:rPr lang="en-US" sz="1000" b="1" dirty="0">
                          <a:solidFill>
                            <a:schemeClr val="tx1"/>
                          </a:solidFill>
                          <a:latin typeface="Arial Narrow" panose="020B0606020202030204" pitchFamily="34" charset="0"/>
                        </a:rPr>
                        <a:t>Universities and other research/education institutes</a:t>
                      </a:r>
                    </a:p>
                  </a:txBody>
                  <a:tcPr marL="71991" marR="71991" marT="0" marB="0">
                    <a:solidFill>
                      <a:schemeClr val="bg1">
                        <a:lumMod val="85000"/>
                      </a:schemeClr>
                    </a:solidFill>
                  </a:tcPr>
                </a:tc>
                <a:tc>
                  <a:txBody>
                    <a:bodyPr/>
                    <a:lstStyle/>
                    <a:p>
                      <a:pPr algn="ctr"/>
                      <a:r>
                        <a:rPr lang="da-DK" sz="1000" b="1" dirty="0">
                          <a:solidFill>
                            <a:schemeClr val="tx1"/>
                          </a:solidFill>
                          <a:latin typeface="Arial Narrow" panose="020B0606020202030204" pitchFamily="34" charset="0"/>
                        </a:rPr>
                        <a:t>X</a:t>
                      </a:r>
                    </a:p>
                  </a:txBody>
                  <a:tcPr marL="71991" marR="71991" marT="0" marB="0">
                    <a:solidFill>
                      <a:schemeClr val="bg1">
                        <a:lumMod val="85000"/>
                      </a:schemeClr>
                    </a:solidFill>
                  </a:tcPr>
                </a:tc>
                <a:tc>
                  <a:txBody>
                    <a:bodyPr/>
                    <a:lstStyle/>
                    <a:p>
                      <a:pPr algn="ctr"/>
                      <a:r>
                        <a:rPr lang="da-DK" sz="1000" b="1" dirty="0">
                          <a:solidFill>
                            <a:schemeClr val="tx1"/>
                          </a:solidFill>
                          <a:latin typeface="Arial Narrow" panose="020B0606020202030204" pitchFamily="34" charset="0"/>
                        </a:rPr>
                        <a:t>X</a:t>
                      </a:r>
                    </a:p>
                  </a:txBody>
                  <a:tcPr marL="71991" marR="71991" marT="0" marB="0">
                    <a:solidFill>
                      <a:schemeClr val="bg1">
                        <a:lumMod val="85000"/>
                      </a:schemeClr>
                    </a:solidFill>
                  </a:tcPr>
                </a:tc>
                <a:tc>
                  <a:txBody>
                    <a:bodyPr/>
                    <a:lstStyle/>
                    <a:p>
                      <a:pPr algn="ctr"/>
                      <a:r>
                        <a:rPr lang="da-DK" sz="1000" b="1" dirty="0">
                          <a:solidFill>
                            <a:schemeClr val="tx1"/>
                          </a:solidFill>
                          <a:latin typeface="Arial Narrow" panose="020B0606020202030204" pitchFamily="34" charset="0"/>
                        </a:rPr>
                        <a:t>X</a:t>
                      </a:r>
                    </a:p>
                  </a:txBody>
                  <a:tcPr marL="71991" marR="71991" marT="0" marB="0">
                    <a:solidFill>
                      <a:schemeClr val="bg1">
                        <a:lumMod val="85000"/>
                      </a:schemeClr>
                    </a:solidFill>
                  </a:tcPr>
                </a:tc>
                <a:tc>
                  <a:txBody>
                    <a:bodyPr/>
                    <a:lstStyle/>
                    <a:p>
                      <a:pPr algn="ctr"/>
                      <a:r>
                        <a:rPr lang="da-DK" sz="1000" b="1" dirty="0">
                          <a:solidFill>
                            <a:schemeClr val="tx1"/>
                          </a:solidFill>
                          <a:latin typeface="Arial Narrow" panose="020B0606020202030204" pitchFamily="34" charset="0"/>
                        </a:rPr>
                        <a:t>X</a:t>
                      </a:r>
                    </a:p>
                  </a:txBody>
                  <a:tcPr marL="71991" marR="71991" marT="0" marB="0">
                    <a:solidFill>
                      <a:schemeClr val="bg1">
                        <a:lumMod val="85000"/>
                      </a:schemeClr>
                    </a:solidFill>
                  </a:tcPr>
                </a:tc>
                <a:tc>
                  <a:txBody>
                    <a:bodyPr/>
                    <a:lstStyle/>
                    <a:p>
                      <a:pPr algn="ctr"/>
                      <a:r>
                        <a:rPr lang="da-DK" sz="1000" b="1" dirty="0">
                          <a:solidFill>
                            <a:schemeClr val="tx1"/>
                          </a:solidFill>
                          <a:latin typeface="Arial Narrow" panose="020B0606020202030204" pitchFamily="34" charset="0"/>
                        </a:rPr>
                        <a:t>X</a:t>
                      </a:r>
                    </a:p>
                  </a:txBody>
                  <a:tcPr marL="71991" marR="71991" marT="0" marB="0">
                    <a:solidFill>
                      <a:schemeClr val="bg1">
                        <a:lumMod val="85000"/>
                      </a:schemeClr>
                    </a:solidFill>
                  </a:tcPr>
                </a:tc>
                <a:extLst>
                  <a:ext uri="{0D108BD9-81ED-4DB2-BD59-A6C34878D82A}">
                    <a16:rowId xmlns:a16="http://schemas.microsoft.com/office/drawing/2014/main" val="473552217"/>
                  </a:ext>
                </a:extLst>
              </a:tr>
              <a:tr h="161979">
                <a:tc vMerge="1">
                  <a:txBody>
                    <a:bodyPr/>
                    <a:lstStyle/>
                    <a:p>
                      <a:endParaRPr lang="en-US" sz="800" dirty="0">
                        <a:solidFill>
                          <a:schemeClr val="tx1"/>
                        </a:solidFill>
                      </a:endParaRPr>
                    </a:p>
                  </a:txBody>
                  <a:tcPr marL="72000" marR="72000" marT="0" marB="0">
                    <a:solidFill>
                      <a:schemeClr val="bg1"/>
                    </a:solidFill>
                  </a:tcPr>
                </a:tc>
                <a:tc>
                  <a:txBody>
                    <a:bodyPr/>
                    <a:lstStyle/>
                    <a:p>
                      <a:r>
                        <a:rPr lang="en-US" sz="1000" b="1" dirty="0">
                          <a:solidFill>
                            <a:schemeClr val="tx1"/>
                          </a:solidFill>
                          <a:latin typeface="Arial Narrow" panose="020B0606020202030204" pitchFamily="34" charset="0"/>
                        </a:rPr>
                        <a:t>GTS (</a:t>
                      </a:r>
                      <a:r>
                        <a:rPr lang="da-DK" sz="1000" b="1" dirty="0">
                          <a:solidFill>
                            <a:schemeClr val="tx1"/>
                          </a:solidFill>
                          <a:latin typeface="Arial Narrow" panose="020B0606020202030204" pitchFamily="34" charset="0"/>
                        </a:rPr>
                        <a:t>Godkendte Teknologiske Serviceinstitutter)</a:t>
                      </a:r>
                      <a:endParaRPr lang="en-US" sz="1000" b="1" dirty="0">
                        <a:solidFill>
                          <a:schemeClr val="tx1"/>
                        </a:solidFill>
                        <a:latin typeface="Arial Narrow" panose="020B0606020202030204" pitchFamily="34" charset="0"/>
                      </a:endParaRPr>
                    </a:p>
                  </a:txBody>
                  <a:tcPr marL="71991" marR="71991" marT="0" marB="0">
                    <a:solidFill>
                      <a:schemeClr val="bg1">
                        <a:lumMod val="85000"/>
                      </a:schemeClr>
                    </a:solidFill>
                  </a:tcPr>
                </a:tc>
                <a:tc>
                  <a:txBody>
                    <a:bodyPr/>
                    <a:lstStyle/>
                    <a:p>
                      <a:pPr algn="ctr"/>
                      <a:r>
                        <a:rPr lang="da-DK" sz="1000" b="1" dirty="0">
                          <a:solidFill>
                            <a:schemeClr val="tx1"/>
                          </a:solidFill>
                          <a:latin typeface="Arial Narrow" panose="020B0606020202030204" pitchFamily="34" charset="0"/>
                        </a:rPr>
                        <a:t>X</a:t>
                      </a:r>
                    </a:p>
                  </a:txBody>
                  <a:tcPr marL="71991" marR="71991" marT="0" marB="0">
                    <a:solidFill>
                      <a:schemeClr val="bg1">
                        <a:lumMod val="85000"/>
                      </a:schemeClr>
                    </a:solidFill>
                  </a:tcPr>
                </a:tc>
                <a:tc>
                  <a:txBody>
                    <a:bodyPr/>
                    <a:lstStyle/>
                    <a:p>
                      <a:pPr algn="ctr"/>
                      <a:r>
                        <a:rPr lang="da-DK" sz="1000" b="1" dirty="0">
                          <a:solidFill>
                            <a:schemeClr val="tx1"/>
                          </a:solidFill>
                          <a:latin typeface="Arial Narrow" panose="020B0606020202030204" pitchFamily="34" charset="0"/>
                        </a:rPr>
                        <a:t>X</a:t>
                      </a:r>
                    </a:p>
                  </a:txBody>
                  <a:tcPr marL="71991" marR="71991" marT="0" marB="0">
                    <a:solidFill>
                      <a:schemeClr val="bg1">
                        <a:lumMod val="85000"/>
                      </a:schemeClr>
                    </a:solidFill>
                  </a:tcPr>
                </a:tc>
                <a:tc>
                  <a:txBody>
                    <a:bodyPr/>
                    <a:lstStyle/>
                    <a:p>
                      <a:pPr algn="ctr"/>
                      <a:r>
                        <a:rPr lang="da-DK" sz="1000" b="1" dirty="0">
                          <a:solidFill>
                            <a:schemeClr val="tx1"/>
                          </a:solidFill>
                          <a:latin typeface="Arial Narrow" panose="020B0606020202030204" pitchFamily="34" charset="0"/>
                        </a:rPr>
                        <a:t>X</a:t>
                      </a:r>
                    </a:p>
                  </a:txBody>
                  <a:tcPr marL="71991" marR="71991" marT="0" marB="0">
                    <a:solidFill>
                      <a:schemeClr val="bg1">
                        <a:lumMod val="85000"/>
                      </a:schemeClr>
                    </a:solidFill>
                  </a:tcPr>
                </a:tc>
                <a:tc>
                  <a:txBody>
                    <a:bodyPr/>
                    <a:lstStyle/>
                    <a:p>
                      <a:pPr algn="ctr"/>
                      <a:r>
                        <a:rPr lang="da-DK" sz="1000" b="1" dirty="0">
                          <a:solidFill>
                            <a:schemeClr val="tx1"/>
                          </a:solidFill>
                          <a:latin typeface="Arial Narrow" panose="020B0606020202030204" pitchFamily="34" charset="0"/>
                        </a:rPr>
                        <a:t>X</a:t>
                      </a:r>
                    </a:p>
                  </a:txBody>
                  <a:tcPr marL="71991" marR="71991" marT="0" marB="0">
                    <a:solidFill>
                      <a:schemeClr val="bg1">
                        <a:lumMod val="85000"/>
                      </a:schemeClr>
                    </a:solidFill>
                  </a:tcPr>
                </a:tc>
                <a:tc>
                  <a:txBody>
                    <a:bodyPr/>
                    <a:lstStyle/>
                    <a:p>
                      <a:pPr algn="ctr"/>
                      <a:r>
                        <a:rPr lang="da-DK" sz="1000" b="1" dirty="0">
                          <a:solidFill>
                            <a:schemeClr val="tx1"/>
                          </a:solidFill>
                          <a:latin typeface="Arial Narrow" panose="020B0606020202030204" pitchFamily="34" charset="0"/>
                        </a:rPr>
                        <a:t>X</a:t>
                      </a:r>
                    </a:p>
                  </a:txBody>
                  <a:tcPr marL="71991" marR="71991" marT="0" marB="0">
                    <a:solidFill>
                      <a:schemeClr val="bg1">
                        <a:lumMod val="85000"/>
                      </a:schemeClr>
                    </a:solidFill>
                  </a:tcPr>
                </a:tc>
                <a:extLst>
                  <a:ext uri="{0D108BD9-81ED-4DB2-BD59-A6C34878D82A}">
                    <a16:rowId xmlns:a16="http://schemas.microsoft.com/office/drawing/2014/main" val="374525218"/>
                  </a:ext>
                </a:extLst>
              </a:tr>
              <a:tr h="161979">
                <a:tc vMerge="1">
                  <a:txBody>
                    <a:bodyPr/>
                    <a:lstStyle/>
                    <a:p>
                      <a:endParaRPr lang="da-DK" sz="800" dirty="0">
                        <a:solidFill>
                          <a:schemeClr val="tx1"/>
                        </a:solidFill>
                      </a:endParaRPr>
                    </a:p>
                  </a:txBody>
                  <a:tcPr marL="72000" marR="72000" marT="0" marB="0">
                    <a:solidFill>
                      <a:schemeClr val="bg1"/>
                    </a:solidFill>
                  </a:tcPr>
                </a:tc>
                <a:tc>
                  <a:txBody>
                    <a:bodyPr/>
                    <a:lstStyle/>
                    <a:p>
                      <a:r>
                        <a:rPr lang="da-DK" sz="1000" b="1" dirty="0" err="1">
                          <a:solidFill>
                            <a:schemeClr val="tx1"/>
                          </a:solidFill>
                          <a:latin typeface="Arial Narrow" panose="020B0606020202030204" pitchFamily="34" charset="0"/>
                        </a:rPr>
                        <a:t>Governmental</a:t>
                      </a:r>
                      <a:r>
                        <a:rPr lang="da-DK" sz="1000" b="1" dirty="0">
                          <a:solidFill>
                            <a:schemeClr val="tx1"/>
                          </a:solidFill>
                          <a:latin typeface="Arial Narrow" panose="020B0606020202030204" pitchFamily="34" charset="0"/>
                        </a:rPr>
                        <a:t> research institutions (DMI,</a:t>
                      </a:r>
                      <a:r>
                        <a:rPr lang="da-DK" sz="1000" b="1" baseline="0" dirty="0">
                          <a:solidFill>
                            <a:schemeClr val="tx1"/>
                          </a:solidFill>
                          <a:latin typeface="Arial Narrow" panose="020B0606020202030204" pitchFamily="34" charset="0"/>
                        </a:rPr>
                        <a:t> GEUS)</a:t>
                      </a:r>
                      <a:endParaRPr lang="da-DK" sz="1000" b="1" dirty="0">
                        <a:solidFill>
                          <a:schemeClr val="tx1"/>
                        </a:solidFill>
                        <a:latin typeface="Arial Narrow" panose="020B0606020202030204" pitchFamily="34" charset="0"/>
                      </a:endParaRPr>
                    </a:p>
                  </a:txBody>
                  <a:tcPr marL="71991" marR="71991" marT="0" marB="0">
                    <a:noFill/>
                  </a:tcPr>
                </a:tc>
                <a:tc>
                  <a:txBody>
                    <a:bodyPr/>
                    <a:lstStyle/>
                    <a:p>
                      <a:pPr algn="ctr"/>
                      <a:endParaRPr lang="da-DK" sz="1000" b="1" dirty="0">
                        <a:solidFill>
                          <a:schemeClr val="tx1"/>
                        </a:solidFill>
                        <a:latin typeface="Arial Narrow" panose="020B0606020202030204" pitchFamily="34" charset="0"/>
                      </a:endParaRPr>
                    </a:p>
                  </a:txBody>
                  <a:tcPr marL="71991" marR="71991" marT="0" marB="0">
                    <a:noFill/>
                  </a:tcPr>
                </a:tc>
                <a:tc>
                  <a:txBody>
                    <a:bodyPr/>
                    <a:lstStyle/>
                    <a:p>
                      <a:pPr algn="ctr"/>
                      <a:r>
                        <a:rPr lang="da-DK" sz="1000" b="1" dirty="0">
                          <a:solidFill>
                            <a:schemeClr val="tx1"/>
                          </a:solidFill>
                          <a:latin typeface="Arial Narrow" panose="020B0606020202030204" pitchFamily="34" charset="0"/>
                        </a:rPr>
                        <a:t>X</a:t>
                      </a:r>
                    </a:p>
                  </a:txBody>
                  <a:tcPr marL="71991" marR="71991" marT="0" marB="0">
                    <a:noFill/>
                  </a:tcPr>
                </a:tc>
                <a:tc>
                  <a:txBody>
                    <a:bodyPr/>
                    <a:lstStyle/>
                    <a:p>
                      <a:pPr algn="ctr"/>
                      <a:endParaRPr lang="da-DK" sz="1000" b="1" dirty="0">
                        <a:solidFill>
                          <a:schemeClr val="tx1"/>
                        </a:solidFill>
                        <a:latin typeface="Arial Narrow" panose="020B0606020202030204" pitchFamily="34" charset="0"/>
                      </a:endParaRPr>
                    </a:p>
                  </a:txBody>
                  <a:tcPr marL="71991" marR="71991" marT="0" marB="0">
                    <a:noFill/>
                  </a:tcPr>
                </a:tc>
                <a:tc>
                  <a:txBody>
                    <a:bodyPr/>
                    <a:lstStyle/>
                    <a:p>
                      <a:pPr algn="ctr"/>
                      <a:endParaRPr lang="da-DK" sz="1000" b="1" dirty="0">
                        <a:solidFill>
                          <a:schemeClr val="tx1"/>
                        </a:solidFill>
                        <a:latin typeface="Arial Narrow" panose="020B0606020202030204" pitchFamily="34" charset="0"/>
                      </a:endParaRPr>
                    </a:p>
                  </a:txBody>
                  <a:tcPr marL="71991" marR="71991" marT="0" marB="0">
                    <a:noFill/>
                  </a:tcPr>
                </a:tc>
                <a:tc>
                  <a:txBody>
                    <a:bodyPr/>
                    <a:lstStyle/>
                    <a:p>
                      <a:pPr algn="ctr"/>
                      <a:r>
                        <a:rPr lang="da-DK" sz="1000" b="1" dirty="0">
                          <a:solidFill>
                            <a:schemeClr val="tx1"/>
                          </a:solidFill>
                          <a:latin typeface="Arial Narrow" panose="020B0606020202030204" pitchFamily="34" charset="0"/>
                        </a:rPr>
                        <a:t>X</a:t>
                      </a:r>
                    </a:p>
                  </a:txBody>
                  <a:tcPr marL="71991" marR="71991" marT="0" marB="0">
                    <a:noFill/>
                  </a:tcPr>
                </a:tc>
                <a:extLst>
                  <a:ext uri="{0D108BD9-81ED-4DB2-BD59-A6C34878D82A}">
                    <a16:rowId xmlns:a16="http://schemas.microsoft.com/office/drawing/2014/main" val="2860007926"/>
                  </a:ext>
                </a:extLst>
              </a:tr>
              <a:tr h="161979">
                <a:tc rowSpan="6">
                  <a:txBody>
                    <a:bodyPr/>
                    <a:lstStyle/>
                    <a:p>
                      <a:r>
                        <a:rPr lang="da-DK" sz="1000" b="1" dirty="0">
                          <a:solidFill>
                            <a:schemeClr val="tx1"/>
                          </a:solidFill>
                          <a:latin typeface="Arial Narrow" panose="020B0606020202030204" pitchFamily="34" charset="0"/>
                        </a:rPr>
                        <a:t>Private </a:t>
                      </a:r>
                      <a:r>
                        <a:rPr lang="da-DK" sz="1000" b="1" dirty="0" err="1">
                          <a:solidFill>
                            <a:schemeClr val="tx1"/>
                          </a:solidFill>
                          <a:latin typeface="Arial Narrow" panose="020B0606020202030204" pitchFamily="34" charset="0"/>
                        </a:rPr>
                        <a:t>companies</a:t>
                      </a:r>
                      <a:endParaRPr lang="da-DK" sz="1000" b="1" dirty="0">
                        <a:solidFill>
                          <a:schemeClr val="tx1"/>
                        </a:solidFill>
                        <a:latin typeface="Arial Narrow" panose="020B0606020202030204" pitchFamily="34" charset="0"/>
                      </a:endParaRPr>
                    </a:p>
                  </a:txBody>
                  <a:tcPr marL="71991" marR="71991" marT="0" marB="0">
                    <a:solidFill>
                      <a:schemeClr val="bg1">
                        <a:lumMod val="85000"/>
                      </a:schemeClr>
                    </a:solidFill>
                  </a:tcPr>
                </a:tc>
                <a:tc>
                  <a:txBody>
                    <a:bodyPr/>
                    <a:lstStyle/>
                    <a:p>
                      <a:r>
                        <a:rPr lang="en-US" sz="1000" b="1" dirty="0">
                          <a:solidFill>
                            <a:schemeClr val="tx1"/>
                          </a:solidFill>
                          <a:latin typeface="Arial Narrow" panose="020B0606020202030204" pitchFamily="34" charset="0"/>
                        </a:rPr>
                        <a:t>Water Technology</a:t>
                      </a:r>
                      <a:r>
                        <a:rPr lang="en-US" sz="1000" b="1" baseline="0" dirty="0">
                          <a:solidFill>
                            <a:schemeClr val="tx1"/>
                          </a:solidFill>
                          <a:latin typeface="Arial Narrow" panose="020B0606020202030204" pitchFamily="34" charset="0"/>
                        </a:rPr>
                        <a:t> Companies (Large)</a:t>
                      </a:r>
                      <a:endParaRPr lang="da-DK" sz="1000" b="1" dirty="0">
                        <a:solidFill>
                          <a:schemeClr val="tx1"/>
                        </a:solidFill>
                        <a:latin typeface="Arial Narrow" panose="020B0606020202030204" pitchFamily="34" charset="0"/>
                      </a:endParaRPr>
                    </a:p>
                  </a:txBody>
                  <a:tcPr marL="71991" marR="71991" marT="0" marB="0">
                    <a:solidFill>
                      <a:schemeClr val="accent5"/>
                    </a:solidFill>
                  </a:tcPr>
                </a:tc>
                <a:tc>
                  <a:txBody>
                    <a:bodyPr/>
                    <a:lstStyle/>
                    <a:p>
                      <a:pPr algn="ctr"/>
                      <a:endParaRPr lang="da-DK" sz="1000" b="1" dirty="0">
                        <a:solidFill>
                          <a:schemeClr val="tx1"/>
                        </a:solidFill>
                        <a:latin typeface="Arial Narrow" panose="020B0606020202030204" pitchFamily="34" charset="0"/>
                      </a:endParaRPr>
                    </a:p>
                  </a:txBody>
                  <a:tcPr marL="71991" marR="71991" marT="0" marB="0">
                    <a:noFill/>
                  </a:tcPr>
                </a:tc>
                <a:tc>
                  <a:txBody>
                    <a:bodyPr/>
                    <a:lstStyle/>
                    <a:p>
                      <a:pPr algn="ctr"/>
                      <a:r>
                        <a:rPr lang="da-DK" sz="1000" b="1" dirty="0">
                          <a:solidFill>
                            <a:schemeClr val="tx1"/>
                          </a:solidFill>
                          <a:latin typeface="Arial Narrow" panose="020B0606020202030204" pitchFamily="34" charset="0"/>
                        </a:rPr>
                        <a:t>X</a:t>
                      </a:r>
                    </a:p>
                  </a:txBody>
                  <a:tcPr marL="71991" marR="71991" marT="0" marB="0">
                    <a:solidFill>
                      <a:schemeClr val="accent5"/>
                    </a:solidFill>
                  </a:tcPr>
                </a:tc>
                <a:tc>
                  <a:txBody>
                    <a:bodyPr/>
                    <a:lstStyle/>
                    <a:p>
                      <a:pPr algn="ctr"/>
                      <a:endParaRPr lang="da-DK" sz="1000" b="1" dirty="0">
                        <a:solidFill>
                          <a:schemeClr val="tx1"/>
                        </a:solidFill>
                        <a:latin typeface="Arial Narrow" panose="020B0606020202030204" pitchFamily="34" charset="0"/>
                      </a:endParaRPr>
                    </a:p>
                  </a:txBody>
                  <a:tcPr marL="71991" marR="71991" marT="0" marB="0">
                    <a:noFill/>
                  </a:tcPr>
                </a:tc>
                <a:tc>
                  <a:txBody>
                    <a:bodyPr/>
                    <a:lstStyle/>
                    <a:p>
                      <a:pPr algn="ctr"/>
                      <a:endParaRPr lang="da-DK" sz="1000" b="1" dirty="0">
                        <a:solidFill>
                          <a:schemeClr val="tx1"/>
                        </a:solidFill>
                        <a:latin typeface="Arial Narrow" panose="020B0606020202030204" pitchFamily="34" charset="0"/>
                      </a:endParaRPr>
                    </a:p>
                  </a:txBody>
                  <a:tcPr marL="71991" marR="71991" marT="0" marB="0">
                    <a:noFill/>
                  </a:tcPr>
                </a:tc>
                <a:tc>
                  <a:txBody>
                    <a:bodyPr/>
                    <a:lstStyle/>
                    <a:p>
                      <a:pPr algn="ctr"/>
                      <a:endParaRPr lang="da-DK" sz="1000" b="1" dirty="0">
                        <a:solidFill>
                          <a:schemeClr val="tx1"/>
                        </a:solidFill>
                        <a:latin typeface="Arial Narrow" panose="020B0606020202030204" pitchFamily="34" charset="0"/>
                      </a:endParaRPr>
                    </a:p>
                  </a:txBody>
                  <a:tcPr marL="71991" marR="71991" marT="0" marB="0">
                    <a:noFill/>
                  </a:tcPr>
                </a:tc>
                <a:extLst>
                  <a:ext uri="{0D108BD9-81ED-4DB2-BD59-A6C34878D82A}">
                    <a16:rowId xmlns:a16="http://schemas.microsoft.com/office/drawing/2014/main" val="2029553247"/>
                  </a:ext>
                </a:extLst>
              </a:tr>
              <a:tr h="161979">
                <a:tc vMerge="1">
                  <a:txBody>
                    <a:bodyPr/>
                    <a:lstStyle/>
                    <a:p>
                      <a:endParaRPr lang="en-US"/>
                    </a:p>
                  </a:txBody>
                  <a:tcPr/>
                </a:tc>
                <a:tc>
                  <a:txBody>
                    <a:bodyPr/>
                    <a:lstStyle/>
                    <a:p>
                      <a:r>
                        <a:rPr lang="en-US" sz="1000" b="1" dirty="0">
                          <a:solidFill>
                            <a:schemeClr val="tx1"/>
                          </a:solidFill>
                          <a:latin typeface="Arial Narrow" panose="020B0606020202030204" pitchFamily="34" charset="0"/>
                        </a:rPr>
                        <a:t>Tech companies (national)</a:t>
                      </a:r>
                      <a:endParaRPr lang="da-DK" sz="1000" b="1" dirty="0">
                        <a:solidFill>
                          <a:schemeClr val="tx1"/>
                        </a:solidFill>
                        <a:latin typeface="Arial Narrow" panose="020B0606020202030204" pitchFamily="34" charset="0"/>
                      </a:endParaRPr>
                    </a:p>
                  </a:txBody>
                  <a:tcPr marL="71991" marR="71991" marT="0" marB="0">
                    <a:solidFill>
                      <a:schemeClr val="bg1">
                        <a:lumMod val="85000"/>
                      </a:schemeClr>
                    </a:solidFill>
                  </a:tcPr>
                </a:tc>
                <a:tc>
                  <a:txBody>
                    <a:bodyPr/>
                    <a:lstStyle/>
                    <a:p>
                      <a:pPr algn="ctr"/>
                      <a:r>
                        <a:rPr lang="da-DK" sz="1000" b="1" dirty="0">
                          <a:solidFill>
                            <a:schemeClr val="tx1"/>
                          </a:solidFill>
                          <a:latin typeface="Arial Narrow" panose="020B0606020202030204" pitchFamily="34" charset="0"/>
                        </a:rPr>
                        <a:t>X</a:t>
                      </a:r>
                    </a:p>
                  </a:txBody>
                  <a:tcPr marL="71991" marR="71991" marT="0" marB="0">
                    <a:solidFill>
                      <a:schemeClr val="bg1">
                        <a:lumMod val="85000"/>
                      </a:schemeClr>
                    </a:solidFill>
                  </a:tcPr>
                </a:tc>
                <a:tc>
                  <a:txBody>
                    <a:bodyPr/>
                    <a:lstStyle/>
                    <a:p>
                      <a:pPr algn="ctr"/>
                      <a:r>
                        <a:rPr lang="da-DK" sz="1000" b="1" dirty="0">
                          <a:solidFill>
                            <a:schemeClr val="tx1"/>
                          </a:solidFill>
                          <a:latin typeface="Arial Narrow" panose="020B0606020202030204" pitchFamily="34" charset="0"/>
                        </a:rPr>
                        <a:t>X</a:t>
                      </a:r>
                    </a:p>
                  </a:txBody>
                  <a:tcPr marL="71991" marR="71991" marT="0" marB="0">
                    <a:solidFill>
                      <a:schemeClr val="bg1">
                        <a:lumMod val="85000"/>
                      </a:schemeClr>
                    </a:solidFill>
                  </a:tcPr>
                </a:tc>
                <a:tc>
                  <a:txBody>
                    <a:bodyPr/>
                    <a:lstStyle/>
                    <a:p>
                      <a:pPr algn="ctr"/>
                      <a:r>
                        <a:rPr lang="da-DK" sz="1000" b="1" dirty="0">
                          <a:solidFill>
                            <a:schemeClr val="tx1"/>
                          </a:solidFill>
                          <a:latin typeface="Arial Narrow" panose="020B0606020202030204" pitchFamily="34" charset="0"/>
                        </a:rPr>
                        <a:t>X</a:t>
                      </a:r>
                    </a:p>
                  </a:txBody>
                  <a:tcPr marL="71991" marR="71991" marT="0" marB="0">
                    <a:solidFill>
                      <a:schemeClr val="bg1">
                        <a:lumMod val="85000"/>
                      </a:schemeClr>
                    </a:solidFill>
                  </a:tcPr>
                </a:tc>
                <a:tc>
                  <a:txBody>
                    <a:bodyPr/>
                    <a:lstStyle/>
                    <a:p>
                      <a:pPr algn="ctr"/>
                      <a:r>
                        <a:rPr lang="da-DK" sz="1000" b="1" dirty="0">
                          <a:solidFill>
                            <a:schemeClr val="tx1"/>
                          </a:solidFill>
                          <a:latin typeface="Arial Narrow" panose="020B0606020202030204" pitchFamily="34" charset="0"/>
                        </a:rPr>
                        <a:t>X</a:t>
                      </a:r>
                    </a:p>
                  </a:txBody>
                  <a:tcPr marL="71991" marR="71991" marT="0" marB="0">
                    <a:solidFill>
                      <a:schemeClr val="bg1">
                        <a:lumMod val="85000"/>
                      </a:schemeClr>
                    </a:solidFill>
                  </a:tcPr>
                </a:tc>
                <a:tc>
                  <a:txBody>
                    <a:bodyPr/>
                    <a:lstStyle/>
                    <a:p>
                      <a:pPr algn="ctr"/>
                      <a:r>
                        <a:rPr lang="da-DK" sz="1000" b="1" dirty="0">
                          <a:solidFill>
                            <a:schemeClr val="tx1"/>
                          </a:solidFill>
                          <a:latin typeface="Arial Narrow" panose="020B0606020202030204" pitchFamily="34" charset="0"/>
                        </a:rPr>
                        <a:t>X</a:t>
                      </a:r>
                    </a:p>
                  </a:txBody>
                  <a:tcPr marL="71991" marR="71991" marT="0" marB="0">
                    <a:solidFill>
                      <a:schemeClr val="bg1">
                        <a:lumMod val="85000"/>
                      </a:schemeClr>
                    </a:solidFill>
                  </a:tcPr>
                </a:tc>
                <a:extLst>
                  <a:ext uri="{0D108BD9-81ED-4DB2-BD59-A6C34878D82A}">
                    <a16:rowId xmlns:a16="http://schemas.microsoft.com/office/drawing/2014/main" val="3773762864"/>
                  </a:ext>
                </a:extLst>
              </a:tr>
              <a:tr h="161979">
                <a:tc vMerge="1">
                  <a:txBody>
                    <a:bodyPr/>
                    <a:lstStyle/>
                    <a:p>
                      <a:endParaRPr lang="da-DK" sz="800" dirty="0">
                        <a:solidFill>
                          <a:schemeClr val="tx1"/>
                        </a:solidFill>
                      </a:endParaRPr>
                    </a:p>
                  </a:txBody>
                  <a:tcPr marL="72000" marR="72000" marT="0" marB="0">
                    <a:solidFill>
                      <a:schemeClr val="bg1"/>
                    </a:solidFill>
                  </a:tcPr>
                </a:tc>
                <a:tc>
                  <a:txBody>
                    <a:bodyPr/>
                    <a:lstStyle/>
                    <a:p>
                      <a:r>
                        <a:rPr lang="en-US" sz="1000" b="1" dirty="0">
                          <a:solidFill>
                            <a:schemeClr val="tx1"/>
                          </a:solidFill>
                          <a:latin typeface="Arial Narrow" panose="020B0606020202030204" pitchFamily="34" charset="0"/>
                        </a:rPr>
                        <a:t>Consultancy companies (Large)</a:t>
                      </a:r>
                      <a:endParaRPr lang="da-DK" sz="1000" b="1" dirty="0">
                        <a:solidFill>
                          <a:schemeClr val="tx1"/>
                        </a:solidFill>
                        <a:latin typeface="Arial Narrow" panose="020B0606020202030204" pitchFamily="34" charset="0"/>
                      </a:endParaRPr>
                    </a:p>
                  </a:txBody>
                  <a:tcPr marL="71991" marR="71991" marT="0" marB="0">
                    <a:noFill/>
                  </a:tcPr>
                </a:tc>
                <a:tc>
                  <a:txBody>
                    <a:bodyPr/>
                    <a:lstStyle/>
                    <a:p>
                      <a:pPr algn="ctr"/>
                      <a:endParaRPr lang="en-US" sz="1000" b="1" baseline="0" dirty="0">
                        <a:solidFill>
                          <a:schemeClr val="tx1"/>
                        </a:solidFill>
                        <a:latin typeface="Arial Narrow" panose="020B0606020202030204" pitchFamily="34" charset="0"/>
                      </a:endParaRPr>
                    </a:p>
                  </a:txBody>
                  <a:tcPr marL="71991" marR="71991" marT="0" marB="0">
                    <a:noFill/>
                  </a:tcPr>
                </a:tc>
                <a:tc>
                  <a:txBody>
                    <a:bodyPr/>
                    <a:lstStyle/>
                    <a:p>
                      <a:pPr algn="ctr"/>
                      <a:r>
                        <a:rPr lang="da-DK" sz="1000" b="1" baseline="0" dirty="0">
                          <a:solidFill>
                            <a:schemeClr val="tx1"/>
                          </a:solidFill>
                          <a:latin typeface="Arial Narrow" panose="020B0606020202030204" pitchFamily="34" charset="0"/>
                        </a:rPr>
                        <a:t>X</a:t>
                      </a:r>
                      <a:endParaRPr lang="en-US" sz="1000" b="1" baseline="0" dirty="0">
                        <a:solidFill>
                          <a:schemeClr val="tx1"/>
                        </a:solidFill>
                        <a:latin typeface="Arial Narrow" panose="020B0606020202030204" pitchFamily="34" charset="0"/>
                      </a:endParaRPr>
                    </a:p>
                  </a:txBody>
                  <a:tcPr marL="71991" marR="71991" marT="0" marB="0">
                    <a:noFill/>
                  </a:tcPr>
                </a:tc>
                <a:tc>
                  <a:txBody>
                    <a:bodyPr/>
                    <a:lstStyle/>
                    <a:p>
                      <a:pPr algn="ctr"/>
                      <a:r>
                        <a:rPr lang="da-DK" sz="1000" b="1" baseline="0" dirty="0">
                          <a:solidFill>
                            <a:schemeClr val="tx1"/>
                          </a:solidFill>
                          <a:latin typeface="Arial Narrow" panose="020B0606020202030204" pitchFamily="34" charset="0"/>
                        </a:rPr>
                        <a:t>X</a:t>
                      </a:r>
                      <a:endParaRPr lang="en-US" sz="1000" b="1" baseline="0" dirty="0">
                        <a:solidFill>
                          <a:schemeClr val="tx1"/>
                        </a:solidFill>
                        <a:latin typeface="Arial Narrow" panose="020B0606020202030204" pitchFamily="34" charset="0"/>
                      </a:endParaRPr>
                    </a:p>
                  </a:txBody>
                  <a:tcPr marL="71991" marR="71991" marT="0" marB="0">
                    <a:noFill/>
                  </a:tcPr>
                </a:tc>
                <a:tc>
                  <a:txBody>
                    <a:bodyPr/>
                    <a:lstStyle/>
                    <a:p>
                      <a:pPr algn="ctr"/>
                      <a:r>
                        <a:rPr lang="da-DK" sz="1000" b="1" baseline="0" dirty="0">
                          <a:solidFill>
                            <a:schemeClr val="tx1"/>
                          </a:solidFill>
                          <a:latin typeface="Arial Narrow" panose="020B0606020202030204" pitchFamily="34" charset="0"/>
                        </a:rPr>
                        <a:t>X</a:t>
                      </a:r>
                      <a:endParaRPr lang="en-US" sz="1000" b="1" baseline="0" dirty="0">
                        <a:solidFill>
                          <a:schemeClr val="tx1"/>
                        </a:solidFill>
                        <a:latin typeface="Arial Narrow" panose="020B0606020202030204" pitchFamily="34" charset="0"/>
                      </a:endParaRPr>
                    </a:p>
                  </a:txBody>
                  <a:tcPr marL="71991" marR="71991" marT="0" marB="0">
                    <a:noFill/>
                  </a:tcPr>
                </a:tc>
                <a:tc>
                  <a:txBody>
                    <a:bodyPr/>
                    <a:lstStyle/>
                    <a:p>
                      <a:pPr algn="ctr"/>
                      <a:r>
                        <a:rPr lang="da-DK" sz="1000" b="1" baseline="0" dirty="0">
                          <a:solidFill>
                            <a:schemeClr val="tx1"/>
                          </a:solidFill>
                          <a:latin typeface="Arial Narrow" panose="020B0606020202030204" pitchFamily="34" charset="0"/>
                        </a:rPr>
                        <a:t>X</a:t>
                      </a:r>
                      <a:endParaRPr lang="en-US" sz="1000" b="1" baseline="0" dirty="0">
                        <a:solidFill>
                          <a:schemeClr val="tx1"/>
                        </a:solidFill>
                        <a:latin typeface="Arial Narrow" panose="020B0606020202030204" pitchFamily="34" charset="0"/>
                      </a:endParaRPr>
                    </a:p>
                  </a:txBody>
                  <a:tcPr marL="71991" marR="71991" marT="0" marB="0">
                    <a:noFill/>
                  </a:tcPr>
                </a:tc>
                <a:extLst>
                  <a:ext uri="{0D108BD9-81ED-4DB2-BD59-A6C34878D82A}">
                    <a16:rowId xmlns:a16="http://schemas.microsoft.com/office/drawing/2014/main" val="3354593219"/>
                  </a:ext>
                </a:extLst>
              </a:tr>
              <a:tr h="161979">
                <a:tc vMerge="1">
                  <a:txBody>
                    <a:bodyPr/>
                    <a:lstStyle/>
                    <a:p>
                      <a:endParaRPr lang="en-US"/>
                    </a:p>
                  </a:txBody>
                  <a:tcPr/>
                </a:tc>
                <a:tc>
                  <a:txBody>
                    <a:bodyPr/>
                    <a:lstStyle/>
                    <a:p>
                      <a:r>
                        <a:rPr lang="da-DK" sz="1000" b="1" dirty="0" err="1">
                          <a:solidFill>
                            <a:schemeClr val="tx1"/>
                          </a:solidFill>
                          <a:latin typeface="Arial Narrow" panose="020B0606020202030204" pitchFamily="34" charset="0"/>
                        </a:rPr>
                        <a:t>Wastewater</a:t>
                      </a:r>
                      <a:r>
                        <a:rPr lang="da-DK" sz="1000" b="1" dirty="0">
                          <a:solidFill>
                            <a:schemeClr val="tx1"/>
                          </a:solidFill>
                          <a:latin typeface="Arial Narrow" panose="020B0606020202030204" pitchFamily="34" charset="0"/>
                        </a:rPr>
                        <a:t> </a:t>
                      </a:r>
                      <a:r>
                        <a:rPr lang="da-DK" sz="1000" b="1" dirty="0" err="1">
                          <a:solidFill>
                            <a:schemeClr val="tx1"/>
                          </a:solidFill>
                          <a:latin typeface="Arial Narrow" panose="020B0606020202030204" pitchFamily="34" charset="0"/>
                        </a:rPr>
                        <a:t>discharging</a:t>
                      </a:r>
                      <a:r>
                        <a:rPr lang="da-DK" sz="1000" b="1" dirty="0">
                          <a:solidFill>
                            <a:schemeClr val="tx1"/>
                          </a:solidFill>
                          <a:latin typeface="Arial Narrow" panose="020B0606020202030204" pitchFamily="34" charset="0"/>
                        </a:rPr>
                        <a:t> </a:t>
                      </a:r>
                      <a:r>
                        <a:rPr lang="da-DK" sz="1000" b="1" dirty="0" err="1">
                          <a:solidFill>
                            <a:schemeClr val="tx1"/>
                          </a:solidFill>
                          <a:latin typeface="Arial Narrow" panose="020B0606020202030204" pitchFamily="34" charset="0"/>
                        </a:rPr>
                        <a:t>industries</a:t>
                      </a:r>
                      <a:r>
                        <a:rPr lang="da-DK" sz="1000" b="1" dirty="0">
                          <a:solidFill>
                            <a:schemeClr val="tx1"/>
                          </a:solidFill>
                          <a:latin typeface="Arial Narrow" panose="020B0606020202030204" pitchFamily="34" charset="0"/>
                        </a:rPr>
                        <a:t>/organisations</a:t>
                      </a:r>
                    </a:p>
                  </a:txBody>
                  <a:tcPr marL="71991" marR="71991" marT="0" marB="0">
                    <a:noFill/>
                  </a:tcPr>
                </a:tc>
                <a:tc>
                  <a:txBody>
                    <a:bodyPr/>
                    <a:lstStyle/>
                    <a:p>
                      <a:pPr algn="ctr"/>
                      <a:endParaRPr lang="en-US" sz="1000" b="1" baseline="0" dirty="0">
                        <a:solidFill>
                          <a:schemeClr val="tx1"/>
                        </a:solidFill>
                        <a:latin typeface="Arial Narrow" panose="020B0606020202030204" pitchFamily="34" charset="0"/>
                      </a:endParaRPr>
                    </a:p>
                  </a:txBody>
                  <a:tcPr marL="71991" marR="71991" marT="0" marB="0">
                    <a:noFill/>
                  </a:tcPr>
                </a:tc>
                <a:tc>
                  <a:txBody>
                    <a:bodyPr/>
                    <a:lstStyle/>
                    <a:p>
                      <a:pPr algn="ctr"/>
                      <a:endParaRPr lang="en-US" sz="1000" b="1" baseline="0" dirty="0">
                        <a:solidFill>
                          <a:schemeClr val="tx1"/>
                        </a:solidFill>
                        <a:latin typeface="Arial Narrow" panose="020B0606020202030204" pitchFamily="34" charset="0"/>
                      </a:endParaRPr>
                    </a:p>
                  </a:txBody>
                  <a:tcPr marL="71991" marR="71991" marT="0" marB="0">
                    <a:noFill/>
                  </a:tcPr>
                </a:tc>
                <a:tc>
                  <a:txBody>
                    <a:bodyPr/>
                    <a:lstStyle/>
                    <a:p>
                      <a:pPr algn="ctr"/>
                      <a:endParaRPr lang="en-US" sz="1000" b="1" baseline="0" dirty="0">
                        <a:solidFill>
                          <a:schemeClr val="tx1"/>
                        </a:solidFill>
                        <a:latin typeface="Arial Narrow" panose="020B0606020202030204" pitchFamily="34" charset="0"/>
                      </a:endParaRPr>
                    </a:p>
                  </a:txBody>
                  <a:tcPr marL="71991" marR="71991" marT="0" marB="0">
                    <a:noFill/>
                  </a:tcPr>
                </a:tc>
                <a:tc>
                  <a:txBody>
                    <a:bodyPr/>
                    <a:lstStyle/>
                    <a:p>
                      <a:pPr algn="ctr"/>
                      <a:r>
                        <a:rPr lang="da-DK" sz="1000" b="1" baseline="0" dirty="0">
                          <a:solidFill>
                            <a:schemeClr val="tx1"/>
                          </a:solidFill>
                          <a:latin typeface="Arial Narrow" panose="020B0606020202030204" pitchFamily="34" charset="0"/>
                        </a:rPr>
                        <a:t>X</a:t>
                      </a:r>
                      <a:endParaRPr lang="en-US" sz="1000" b="1" baseline="0" dirty="0">
                        <a:solidFill>
                          <a:schemeClr val="tx1"/>
                        </a:solidFill>
                        <a:latin typeface="Arial Narrow" panose="020B0606020202030204" pitchFamily="34" charset="0"/>
                      </a:endParaRPr>
                    </a:p>
                  </a:txBody>
                  <a:tcPr marL="71991" marR="71991" marT="0" marB="0">
                    <a:noFill/>
                  </a:tcPr>
                </a:tc>
                <a:tc>
                  <a:txBody>
                    <a:bodyPr/>
                    <a:lstStyle/>
                    <a:p>
                      <a:pPr algn="ctr"/>
                      <a:endParaRPr lang="en-US" sz="1000" b="1" baseline="0" dirty="0">
                        <a:solidFill>
                          <a:schemeClr val="tx1"/>
                        </a:solidFill>
                        <a:latin typeface="Arial Narrow" panose="020B0606020202030204" pitchFamily="34" charset="0"/>
                      </a:endParaRPr>
                    </a:p>
                  </a:txBody>
                  <a:tcPr marL="71991" marR="71991" marT="0" marB="0">
                    <a:noFill/>
                  </a:tcPr>
                </a:tc>
                <a:extLst>
                  <a:ext uri="{0D108BD9-81ED-4DB2-BD59-A6C34878D82A}">
                    <a16:rowId xmlns:a16="http://schemas.microsoft.com/office/drawing/2014/main" val="3772590073"/>
                  </a:ext>
                </a:extLst>
              </a:tr>
              <a:tr h="161979">
                <a:tc vMerge="1">
                  <a:txBody>
                    <a:bodyPr/>
                    <a:lstStyle/>
                    <a:p>
                      <a:endParaRPr lang="en-US"/>
                    </a:p>
                  </a:txBody>
                  <a:tcPr/>
                </a:tc>
                <a:tc>
                  <a:txBody>
                    <a:bodyPr/>
                    <a:lstStyle/>
                    <a:p>
                      <a:r>
                        <a:rPr lang="da-DK" sz="1000" b="1" dirty="0" err="1">
                          <a:solidFill>
                            <a:schemeClr val="tx1"/>
                          </a:solidFill>
                          <a:latin typeface="Arial Narrow" panose="020B0606020202030204" pitchFamily="34" charset="0"/>
                        </a:rPr>
                        <a:t>Acredited</a:t>
                      </a:r>
                      <a:r>
                        <a:rPr lang="da-DK" sz="1000" b="1" dirty="0">
                          <a:solidFill>
                            <a:schemeClr val="tx1"/>
                          </a:solidFill>
                          <a:latin typeface="Arial Narrow" panose="020B0606020202030204" pitchFamily="34" charset="0"/>
                        </a:rPr>
                        <a:t> labs for sampling/</a:t>
                      </a:r>
                      <a:r>
                        <a:rPr lang="da-DK" sz="1000" b="1" dirty="0" err="1">
                          <a:solidFill>
                            <a:schemeClr val="tx1"/>
                          </a:solidFill>
                          <a:latin typeface="Arial Narrow" panose="020B0606020202030204" pitchFamily="34" charset="0"/>
                        </a:rPr>
                        <a:t>analysis</a:t>
                      </a:r>
                      <a:endParaRPr lang="da-DK" sz="1000" b="1" dirty="0">
                        <a:solidFill>
                          <a:schemeClr val="tx1"/>
                        </a:solidFill>
                        <a:latin typeface="Arial Narrow" panose="020B0606020202030204" pitchFamily="34" charset="0"/>
                      </a:endParaRPr>
                    </a:p>
                  </a:txBody>
                  <a:tcPr marL="71991" marR="71991" marT="0" marB="0">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a-DK" sz="1000" b="1" dirty="0">
                        <a:solidFill>
                          <a:schemeClr val="tx1"/>
                        </a:solidFill>
                        <a:latin typeface="Arial Narrow" panose="020B0606020202030204" pitchFamily="34" charset="0"/>
                      </a:endParaRPr>
                    </a:p>
                  </a:txBody>
                  <a:tcPr marL="71991" marR="71991" marT="0" marB="0">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a-DK" sz="1000" b="1" dirty="0">
                        <a:solidFill>
                          <a:schemeClr val="tx1"/>
                        </a:solidFill>
                        <a:latin typeface="Arial Narrow" panose="020B0606020202030204" pitchFamily="34" charset="0"/>
                      </a:endParaRPr>
                    </a:p>
                  </a:txBody>
                  <a:tcPr marL="71991" marR="71991" marT="0" marB="0">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a-DK" sz="1000" b="1" dirty="0">
                        <a:solidFill>
                          <a:schemeClr val="tx1"/>
                        </a:solidFill>
                        <a:latin typeface="Arial Narrow" panose="020B0606020202030204" pitchFamily="34" charset="0"/>
                      </a:endParaRPr>
                    </a:p>
                  </a:txBody>
                  <a:tcPr marL="71991" marR="71991" marT="0" marB="0">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000" b="1" dirty="0">
                          <a:solidFill>
                            <a:schemeClr val="tx1"/>
                          </a:solidFill>
                          <a:latin typeface="Arial Narrow" panose="020B0606020202030204" pitchFamily="34" charset="0"/>
                        </a:rPr>
                        <a:t>X</a:t>
                      </a:r>
                    </a:p>
                  </a:txBody>
                  <a:tcPr marL="71991" marR="71991" marT="0" marB="0">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a-DK" sz="1000" b="1" dirty="0">
                        <a:solidFill>
                          <a:schemeClr val="tx1"/>
                        </a:solidFill>
                        <a:latin typeface="Arial Narrow" panose="020B0606020202030204" pitchFamily="34" charset="0"/>
                      </a:endParaRPr>
                    </a:p>
                  </a:txBody>
                  <a:tcPr marL="71991" marR="71991" marT="0" marB="0">
                    <a:noFill/>
                  </a:tcPr>
                </a:tc>
                <a:extLst>
                  <a:ext uri="{0D108BD9-81ED-4DB2-BD59-A6C34878D82A}">
                    <a16:rowId xmlns:a16="http://schemas.microsoft.com/office/drawing/2014/main" val="4173472029"/>
                  </a:ext>
                </a:extLst>
              </a:tr>
              <a:tr h="161979">
                <a:tc vMerge="1">
                  <a:txBody>
                    <a:bodyPr/>
                    <a:lstStyle/>
                    <a:p>
                      <a:endParaRPr lang="da-DK" sz="800" dirty="0">
                        <a:solidFill>
                          <a:schemeClr val="tx1"/>
                        </a:solidFill>
                      </a:endParaRPr>
                    </a:p>
                  </a:txBody>
                  <a:tcPr marL="72000" marR="72000" marT="0" marB="0">
                    <a:solidFill>
                      <a:schemeClr val="bg1"/>
                    </a:solidFill>
                  </a:tcPr>
                </a:tc>
                <a:tc>
                  <a:txBody>
                    <a:bodyPr/>
                    <a:lstStyle/>
                    <a:p>
                      <a:r>
                        <a:rPr lang="en-US" sz="1000" b="1" dirty="0">
                          <a:solidFill>
                            <a:schemeClr val="tx1"/>
                          </a:solidFill>
                          <a:latin typeface="Arial Narrow" panose="020B0606020202030204" pitchFamily="34" charset="0"/>
                        </a:rPr>
                        <a:t>SMEs and Startups</a:t>
                      </a:r>
                      <a:r>
                        <a:rPr lang="en-US" sz="1000" b="1" baseline="0" dirty="0">
                          <a:solidFill>
                            <a:schemeClr val="tx1"/>
                          </a:solidFill>
                          <a:latin typeface="Arial Narrow" panose="020B0606020202030204" pitchFamily="34" charset="0"/>
                        </a:rPr>
                        <a:t> </a:t>
                      </a:r>
                      <a:endParaRPr lang="da-DK" sz="1000" b="1" dirty="0">
                        <a:solidFill>
                          <a:schemeClr val="tx1"/>
                        </a:solidFill>
                        <a:latin typeface="Arial Narrow" panose="020B0606020202030204" pitchFamily="34" charset="0"/>
                      </a:endParaRPr>
                    </a:p>
                  </a:txBody>
                  <a:tcPr marL="71991" marR="71991" marT="0" marB="0">
                    <a:solidFill>
                      <a:schemeClr val="bg1">
                        <a:lumMod val="85000"/>
                      </a:schemeClr>
                    </a:solidFill>
                  </a:tcPr>
                </a:tc>
                <a:tc>
                  <a:txBody>
                    <a:bodyPr/>
                    <a:lstStyle/>
                    <a:p>
                      <a:pPr algn="ctr"/>
                      <a:r>
                        <a:rPr lang="da-DK" sz="1000" b="1" dirty="0">
                          <a:solidFill>
                            <a:schemeClr val="tx1"/>
                          </a:solidFill>
                          <a:latin typeface="Arial Narrow" panose="020B0606020202030204" pitchFamily="34" charset="0"/>
                        </a:rPr>
                        <a:t>X</a:t>
                      </a:r>
                    </a:p>
                  </a:txBody>
                  <a:tcPr marL="71991" marR="71991" marT="0" marB="0">
                    <a:solidFill>
                      <a:schemeClr val="bg1">
                        <a:lumMod val="85000"/>
                      </a:schemeClr>
                    </a:solidFill>
                  </a:tcPr>
                </a:tc>
                <a:tc>
                  <a:txBody>
                    <a:bodyPr/>
                    <a:lstStyle/>
                    <a:p>
                      <a:pPr algn="ctr"/>
                      <a:r>
                        <a:rPr lang="da-DK" sz="1000" b="1" dirty="0">
                          <a:solidFill>
                            <a:schemeClr val="tx1"/>
                          </a:solidFill>
                          <a:latin typeface="Arial Narrow" panose="020B0606020202030204" pitchFamily="34" charset="0"/>
                        </a:rPr>
                        <a:t>X</a:t>
                      </a:r>
                    </a:p>
                  </a:txBody>
                  <a:tcPr marL="71991" marR="71991" marT="0" marB="0">
                    <a:solidFill>
                      <a:schemeClr val="bg1">
                        <a:lumMod val="85000"/>
                      </a:schemeClr>
                    </a:solidFill>
                  </a:tcPr>
                </a:tc>
                <a:tc>
                  <a:txBody>
                    <a:bodyPr/>
                    <a:lstStyle/>
                    <a:p>
                      <a:pPr algn="ctr"/>
                      <a:r>
                        <a:rPr lang="da-DK" sz="1000" b="1" dirty="0">
                          <a:solidFill>
                            <a:schemeClr val="tx1"/>
                          </a:solidFill>
                          <a:latin typeface="Arial Narrow" panose="020B0606020202030204" pitchFamily="34" charset="0"/>
                        </a:rPr>
                        <a:t>X</a:t>
                      </a:r>
                    </a:p>
                  </a:txBody>
                  <a:tcPr marL="71991" marR="71991" marT="0" marB="0">
                    <a:solidFill>
                      <a:schemeClr val="bg1">
                        <a:lumMod val="85000"/>
                      </a:schemeClr>
                    </a:solidFill>
                  </a:tcPr>
                </a:tc>
                <a:tc>
                  <a:txBody>
                    <a:bodyPr/>
                    <a:lstStyle/>
                    <a:p>
                      <a:pPr algn="ctr"/>
                      <a:r>
                        <a:rPr lang="da-DK" sz="1000" b="1" dirty="0">
                          <a:solidFill>
                            <a:schemeClr val="tx1"/>
                          </a:solidFill>
                          <a:latin typeface="Arial Narrow" panose="020B0606020202030204" pitchFamily="34" charset="0"/>
                        </a:rPr>
                        <a:t>X</a:t>
                      </a:r>
                    </a:p>
                  </a:txBody>
                  <a:tcPr marL="71991" marR="71991" marT="0" marB="0">
                    <a:solidFill>
                      <a:schemeClr val="bg1">
                        <a:lumMod val="85000"/>
                      </a:schemeClr>
                    </a:solidFill>
                  </a:tcPr>
                </a:tc>
                <a:tc>
                  <a:txBody>
                    <a:bodyPr/>
                    <a:lstStyle/>
                    <a:p>
                      <a:pPr algn="ctr"/>
                      <a:r>
                        <a:rPr lang="da-DK" sz="1000" b="1" dirty="0">
                          <a:solidFill>
                            <a:schemeClr val="tx1"/>
                          </a:solidFill>
                          <a:latin typeface="Arial Narrow" panose="020B0606020202030204" pitchFamily="34" charset="0"/>
                        </a:rPr>
                        <a:t>X</a:t>
                      </a:r>
                    </a:p>
                  </a:txBody>
                  <a:tcPr marL="71991" marR="71991" marT="0" marB="0">
                    <a:solidFill>
                      <a:schemeClr val="bg1">
                        <a:lumMod val="85000"/>
                      </a:schemeClr>
                    </a:solidFill>
                  </a:tcPr>
                </a:tc>
                <a:extLst>
                  <a:ext uri="{0D108BD9-81ED-4DB2-BD59-A6C34878D82A}">
                    <a16:rowId xmlns:a16="http://schemas.microsoft.com/office/drawing/2014/main" val="3486566195"/>
                  </a:ext>
                </a:extLst>
              </a:tr>
              <a:tr h="161979">
                <a:tc rowSpan="2">
                  <a:txBody>
                    <a:bodyPr/>
                    <a:lstStyle/>
                    <a:p>
                      <a:r>
                        <a:rPr lang="da-DK" sz="1000" b="1" dirty="0">
                          <a:solidFill>
                            <a:schemeClr val="tx1"/>
                          </a:solidFill>
                          <a:latin typeface="Arial Narrow" panose="020B0606020202030204" pitchFamily="34" charset="0"/>
                        </a:rPr>
                        <a:t>Utility service </a:t>
                      </a:r>
                      <a:r>
                        <a:rPr lang="da-DK" sz="1000" b="1" dirty="0" err="1">
                          <a:solidFill>
                            <a:schemeClr val="tx1"/>
                          </a:solidFill>
                          <a:latin typeface="Arial Narrow" panose="020B0606020202030204" pitchFamily="34" charset="0"/>
                        </a:rPr>
                        <a:t>providers</a:t>
                      </a:r>
                      <a:endParaRPr lang="da-DK" sz="1000" b="1" dirty="0">
                        <a:solidFill>
                          <a:schemeClr val="tx1"/>
                        </a:solidFill>
                        <a:latin typeface="Arial Narrow" panose="020B0606020202030204" pitchFamily="34" charset="0"/>
                      </a:endParaRPr>
                    </a:p>
                  </a:txBody>
                  <a:tcPr marL="71991" marR="71991" marT="0" marB="0">
                    <a:solidFill>
                      <a:schemeClr val="bg1">
                        <a:lumMod val="85000"/>
                      </a:schemeClr>
                    </a:solidFill>
                  </a:tcPr>
                </a:tc>
                <a:tc>
                  <a:txBody>
                    <a:bodyPr/>
                    <a:lstStyle/>
                    <a:p>
                      <a:r>
                        <a:rPr lang="en-US" sz="1000" b="1" dirty="0">
                          <a:solidFill>
                            <a:schemeClr val="tx1"/>
                          </a:solidFill>
                          <a:latin typeface="Arial Narrow" panose="020B0606020202030204" pitchFamily="34" charset="0"/>
                        </a:rPr>
                        <a:t>Water Utilities </a:t>
                      </a:r>
                      <a:endParaRPr lang="da-DK" sz="1000" b="1" dirty="0">
                        <a:solidFill>
                          <a:schemeClr val="tx1"/>
                        </a:solidFill>
                        <a:latin typeface="Arial Narrow" panose="020B0606020202030204" pitchFamily="34" charset="0"/>
                      </a:endParaRPr>
                    </a:p>
                  </a:txBody>
                  <a:tcPr marL="71991" marR="71991" marT="0" marB="0">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000" b="1" dirty="0">
                          <a:solidFill>
                            <a:schemeClr val="tx1"/>
                          </a:solidFill>
                          <a:latin typeface="Arial Narrow" panose="020B0606020202030204" pitchFamily="34" charset="0"/>
                        </a:rPr>
                        <a:t>X</a:t>
                      </a:r>
                    </a:p>
                  </a:txBody>
                  <a:tcPr marL="71991" marR="71991" marT="0" marB="0">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000" b="1" dirty="0">
                          <a:solidFill>
                            <a:schemeClr val="tx1"/>
                          </a:solidFill>
                          <a:latin typeface="Arial Narrow" panose="020B0606020202030204" pitchFamily="34" charset="0"/>
                        </a:rPr>
                        <a:t>X</a:t>
                      </a:r>
                    </a:p>
                  </a:txBody>
                  <a:tcPr marL="71991" marR="71991" marT="0" marB="0">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000" b="1" dirty="0">
                          <a:solidFill>
                            <a:schemeClr val="tx1"/>
                          </a:solidFill>
                          <a:latin typeface="Arial Narrow" panose="020B0606020202030204" pitchFamily="34" charset="0"/>
                        </a:rPr>
                        <a:t>X</a:t>
                      </a:r>
                    </a:p>
                  </a:txBody>
                  <a:tcPr marL="71991" marR="71991" marT="0" marB="0">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000" b="1" i="0" dirty="0">
                          <a:solidFill>
                            <a:schemeClr val="tx1"/>
                          </a:solidFill>
                          <a:latin typeface="Arial Narrow" panose="020B0606020202030204" pitchFamily="34" charset="0"/>
                        </a:rPr>
                        <a:t>X</a:t>
                      </a:r>
                    </a:p>
                  </a:txBody>
                  <a:tcPr marL="71991" marR="71991" marT="0" marB="0">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a-DK" sz="1000" b="1" dirty="0">
                        <a:solidFill>
                          <a:schemeClr val="tx1"/>
                        </a:solidFill>
                        <a:latin typeface="Arial Narrow" panose="020B0606020202030204" pitchFamily="34" charset="0"/>
                      </a:endParaRPr>
                    </a:p>
                  </a:txBody>
                  <a:tcPr marL="71991" marR="71991" marT="0" marB="0">
                    <a:noFill/>
                  </a:tcPr>
                </a:tc>
                <a:extLst>
                  <a:ext uri="{0D108BD9-81ED-4DB2-BD59-A6C34878D82A}">
                    <a16:rowId xmlns:a16="http://schemas.microsoft.com/office/drawing/2014/main" val="3067373232"/>
                  </a:ext>
                </a:extLst>
              </a:tr>
              <a:tr h="161979">
                <a:tc vMerge="1">
                  <a:txBody>
                    <a:bodyPr/>
                    <a:lstStyle/>
                    <a:p>
                      <a:endParaRPr lang="da-DK" sz="800" dirty="0">
                        <a:solidFill>
                          <a:schemeClr val="tx1"/>
                        </a:solidFill>
                      </a:endParaRPr>
                    </a:p>
                  </a:txBody>
                  <a:tcPr marL="72000" marR="72000" marT="0" marB="0">
                    <a:solidFill>
                      <a:schemeClr val="bg1"/>
                    </a:solidFill>
                  </a:tcPr>
                </a:tc>
                <a:tc>
                  <a:txBody>
                    <a:bodyPr/>
                    <a:lstStyle/>
                    <a:p>
                      <a:r>
                        <a:rPr lang="en-US" sz="1000" b="1" dirty="0" err="1">
                          <a:solidFill>
                            <a:schemeClr val="tx1"/>
                          </a:solidFill>
                          <a:latin typeface="Arial Narrow" panose="020B0606020202030204" pitchFamily="34" charset="0"/>
                        </a:rPr>
                        <a:t>Danmarks</a:t>
                      </a:r>
                      <a:r>
                        <a:rPr lang="en-US" sz="1000" b="1" dirty="0">
                          <a:solidFill>
                            <a:schemeClr val="tx1"/>
                          </a:solidFill>
                          <a:latin typeface="Arial Narrow" panose="020B0606020202030204" pitchFamily="34" charset="0"/>
                        </a:rPr>
                        <a:t> </a:t>
                      </a:r>
                      <a:r>
                        <a:rPr lang="en-US" sz="1000" b="1" dirty="0" err="1">
                          <a:solidFill>
                            <a:schemeClr val="tx1"/>
                          </a:solidFill>
                          <a:latin typeface="Arial Narrow" panose="020B0606020202030204" pitchFamily="34" charset="0"/>
                        </a:rPr>
                        <a:t>Miljøportal</a:t>
                      </a:r>
                      <a:r>
                        <a:rPr lang="en-US" sz="1000" b="1" dirty="0">
                          <a:solidFill>
                            <a:schemeClr val="tx1"/>
                          </a:solidFill>
                          <a:latin typeface="Arial Narrow" panose="020B0606020202030204" pitchFamily="34" charset="0"/>
                        </a:rPr>
                        <a:t> (</a:t>
                      </a:r>
                      <a:r>
                        <a:rPr lang="en-US" sz="1000" b="1" dirty="0" err="1">
                          <a:solidFill>
                            <a:schemeClr val="tx1"/>
                          </a:solidFill>
                          <a:latin typeface="Arial Narrow" panose="020B0606020202030204" pitchFamily="34" charset="0"/>
                        </a:rPr>
                        <a:t>Miljøportalen</a:t>
                      </a:r>
                      <a:r>
                        <a:rPr lang="en-US" sz="1000" b="1" dirty="0">
                          <a:solidFill>
                            <a:schemeClr val="tx1"/>
                          </a:solidFill>
                          <a:latin typeface="Arial Narrow" panose="020B0606020202030204" pitchFamily="34" charset="0"/>
                        </a:rPr>
                        <a:t>)</a:t>
                      </a:r>
                      <a:endParaRPr lang="da-DK" sz="1000" b="1" dirty="0">
                        <a:solidFill>
                          <a:schemeClr val="tx1"/>
                        </a:solidFill>
                        <a:latin typeface="Arial Narrow" panose="020B0606020202030204" pitchFamily="34" charset="0"/>
                      </a:endParaRPr>
                    </a:p>
                  </a:txBody>
                  <a:tcPr marL="71991" marR="71991" marT="0" marB="0">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1" dirty="0">
                        <a:solidFill>
                          <a:schemeClr val="tx1"/>
                        </a:solidFill>
                        <a:latin typeface="Arial Narrow" panose="020B0606020202030204" pitchFamily="34" charset="0"/>
                      </a:endParaRPr>
                    </a:p>
                  </a:txBody>
                  <a:tcPr marL="71991" marR="71991" marT="0" marB="0">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1" dirty="0">
                        <a:solidFill>
                          <a:schemeClr val="tx1"/>
                        </a:solidFill>
                        <a:latin typeface="Arial Narrow" panose="020B0606020202030204" pitchFamily="34" charset="0"/>
                      </a:endParaRPr>
                    </a:p>
                  </a:txBody>
                  <a:tcPr marL="71991" marR="71991" marT="0" marB="0">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000" b="1" dirty="0">
                          <a:solidFill>
                            <a:schemeClr val="tx1"/>
                          </a:solidFill>
                          <a:latin typeface="Arial Narrow" panose="020B0606020202030204" pitchFamily="34" charset="0"/>
                        </a:rPr>
                        <a:t>X</a:t>
                      </a:r>
                      <a:endParaRPr lang="en-US" sz="1000" b="1" dirty="0">
                        <a:solidFill>
                          <a:schemeClr val="tx1"/>
                        </a:solidFill>
                        <a:latin typeface="Arial Narrow" panose="020B0606020202030204" pitchFamily="34" charset="0"/>
                      </a:endParaRPr>
                    </a:p>
                  </a:txBody>
                  <a:tcPr marL="71991" marR="71991" marT="0" marB="0">
                    <a:solidFill>
                      <a:srgbClr val="33993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000" b="1" dirty="0">
                          <a:solidFill>
                            <a:schemeClr val="tx1"/>
                          </a:solidFill>
                          <a:latin typeface="Arial Narrow" panose="020B0606020202030204" pitchFamily="34" charset="0"/>
                        </a:rPr>
                        <a:t>X</a:t>
                      </a:r>
                      <a:endParaRPr lang="en-US" sz="1000" b="1" dirty="0">
                        <a:solidFill>
                          <a:schemeClr val="tx1"/>
                        </a:solidFill>
                        <a:latin typeface="Arial Narrow" panose="020B0606020202030204" pitchFamily="34" charset="0"/>
                      </a:endParaRPr>
                    </a:p>
                  </a:txBody>
                  <a:tcPr marL="71991" marR="71991" marT="0" marB="0">
                    <a:solidFill>
                      <a:srgbClr val="33993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000" b="1" dirty="0">
                          <a:solidFill>
                            <a:schemeClr val="tx1"/>
                          </a:solidFill>
                          <a:latin typeface="Arial Narrow" panose="020B0606020202030204" pitchFamily="34" charset="0"/>
                        </a:rPr>
                        <a:t>X</a:t>
                      </a:r>
                      <a:endParaRPr lang="en-US" sz="1000" b="1" dirty="0">
                        <a:solidFill>
                          <a:schemeClr val="tx1"/>
                        </a:solidFill>
                        <a:latin typeface="Arial Narrow" panose="020B0606020202030204" pitchFamily="34" charset="0"/>
                      </a:endParaRPr>
                    </a:p>
                  </a:txBody>
                  <a:tcPr marL="71991" marR="71991" marT="0" marB="0">
                    <a:solidFill>
                      <a:srgbClr val="339933"/>
                    </a:solidFill>
                  </a:tcPr>
                </a:tc>
                <a:extLst>
                  <a:ext uri="{0D108BD9-81ED-4DB2-BD59-A6C34878D82A}">
                    <a16:rowId xmlns:a16="http://schemas.microsoft.com/office/drawing/2014/main" val="3913780547"/>
                  </a:ext>
                </a:extLst>
              </a:tr>
              <a:tr h="161979">
                <a:tc rowSpan="2">
                  <a:txBody>
                    <a:bodyPr/>
                    <a:lstStyle/>
                    <a:p>
                      <a:r>
                        <a:rPr lang="da-DK" sz="1000" b="1" strike="noStrike" dirty="0">
                          <a:solidFill>
                            <a:schemeClr val="tx1"/>
                          </a:solidFill>
                          <a:latin typeface="Arial Narrow" panose="020B0606020202030204" pitchFamily="34" charset="0"/>
                        </a:rPr>
                        <a:t>Users/ </a:t>
                      </a:r>
                      <a:r>
                        <a:rPr lang="da-DK" sz="1000" b="1" strike="noStrike" dirty="0" err="1">
                          <a:solidFill>
                            <a:schemeClr val="tx1"/>
                          </a:solidFill>
                          <a:latin typeface="Arial Narrow" panose="020B0606020202030204" pitchFamily="34" charset="0"/>
                        </a:rPr>
                        <a:t>citizens</a:t>
                      </a:r>
                      <a:endParaRPr lang="da-DK" sz="1000" b="1" strike="noStrike" dirty="0">
                        <a:solidFill>
                          <a:schemeClr val="tx1"/>
                        </a:solidFill>
                        <a:latin typeface="Arial Narrow" panose="020B0606020202030204" pitchFamily="34" charset="0"/>
                      </a:endParaRPr>
                    </a:p>
                  </a:txBody>
                  <a:tcPr marL="71991" marR="71991" marT="0" marB="0">
                    <a:solidFill>
                      <a:schemeClr val="bg1">
                        <a:lumMod val="85000"/>
                      </a:schemeClr>
                    </a:solidFill>
                  </a:tcPr>
                </a:tc>
                <a:tc>
                  <a:txBody>
                    <a:bodyPr/>
                    <a:lstStyle/>
                    <a:p>
                      <a:r>
                        <a:rPr lang="en-US" sz="1000" b="1" strike="noStrike" dirty="0">
                          <a:solidFill>
                            <a:schemeClr val="tx1"/>
                          </a:solidFill>
                          <a:latin typeface="Arial Narrow" panose="020B0606020202030204" pitchFamily="34" charset="0"/>
                        </a:rPr>
                        <a:t>Water costumers and citizens</a:t>
                      </a:r>
                      <a:endParaRPr lang="da-DK" sz="1000" b="1" strike="noStrike" dirty="0">
                        <a:solidFill>
                          <a:schemeClr val="tx1"/>
                        </a:solidFill>
                        <a:latin typeface="Arial Narrow" panose="020B0606020202030204" pitchFamily="34" charset="0"/>
                      </a:endParaRPr>
                    </a:p>
                  </a:txBody>
                  <a:tcPr marL="71991" marR="71991" marT="0" marB="0">
                    <a:noFill/>
                  </a:tcPr>
                </a:tc>
                <a:tc>
                  <a:txBody>
                    <a:bodyPr/>
                    <a:lstStyle/>
                    <a:p>
                      <a:pPr algn="ctr"/>
                      <a:r>
                        <a:rPr lang="da-DK" sz="1000" b="1" strike="noStrike" dirty="0">
                          <a:solidFill>
                            <a:schemeClr val="tx1"/>
                          </a:solidFill>
                          <a:latin typeface="Arial Narrow" panose="020B0606020202030204" pitchFamily="34" charset="0"/>
                        </a:rPr>
                        <a:t>X</a:t>
                      </a:r>
                    </a:p>
                  </a:txBody>
                  <a:tcPr marL="71991" marR="71991" marT="0" marB="0">
                    <a:noFill/>
                  </a:tcPr>
                </a:tc>
                <a:tc>
                  <a:txBody>
                    <a:bodyPr/>
                    <a:lstStyle/>
                    <a:p>
                      <a:pPr algn="ctr"/>
                      <a:endParaRPr lang="da-DK" sz="1000" b="1" strike="noStrike" dirty="0">
                        <a:solidFill>
                          <a:schemeClr val="tx1"/>
                        </a:solidFill>
                        <a:latin typeface="Arial Narrow" panose="020B0606020202030204" pitchFamily="34" charset="0"/>
                      </a:endParaRPr>
                    </a:p>
                  </a:txBody>
                  <a:tcPr marL="71991" marR="71991" marT="0" marB="0">
                    <a:noFill/>
                  </a:tcPr>
                </a:tc>
                <a:tc>
                  <a:txBody>
                    <a:bodyPr/>
                    <a:lstStyle/>
                    <a:p>
                      <a:pPr algn="ctr"/>
                      <a:endParaRPr lang="da-DK" sz="1000" b="1" strike="noStrike" dirty="0">
                        <a:solidFill>
                          <a:schemeClr val="tx1"/>
                        </a:solidFill>
                        <a:latin typeface="Arial Narrow" panose="020B0606020202030204" pitchFamily="34" charset="0"/>
                      </a:endParaRPr>
                    </a:p>
                  </a:txBody>
                  <a:tcPr marL="71991" marR="71991" marT="0" marB="0">
                    <a:noFill/>
                  </a:tcPr>
                </a:tc>
                <a:tc>
                  <a:txBody>
                    <a:bodyPr/>
                    <a:lstStyle/>
                    <a:p>
                      <a:pPr algn="ctr"/>
                      <a:endParaRPr lang="da-DK" sz="1000" b="1" strike="noStrike" dirty="0">
                        <a:solidFill>
                          <a:schemeClr val="tx1"/>
                        </a:solidFill>
                        <a:latin typeface="Arial Narrow" panose="020B0606020202030204" pitchFamily="34" charset="0"/>
                      </a:endParaRPr>
                    </a:p>
                  </a:txBody>
                  <a:tcPr marL="71991" marR="71991" marT="0" marB="0">
                    <a:noFill/>
                  </a:tcPr>
                </a:tc>
                <a:tc>
                  <a:txBody>
                    <a:bodyPr/>
                    <a:lstStyle/>
                    <a:p>
                      <a:pPr algn="ctr"/>
                      <a:r>
                        <a:rPr lang="da-DK" sz="1000" b="1" strike="noStrike" dirty="0">
                          <a:solidFill>
                            <a:schemeClr val="tx1"/>
                          </a:solidFill>
                          <a:latin typeface="Arial Narrow" panose="020B0606020202030204" pitchFamily="34" charset="0"/>
                        </a:rPr>
                        <a:t>X</a:t>
                      </a:r>
                    </a:p>
                  </a:txBody>
                  <a:tcPr marL="71991" marR="71991" marT="0" marB="0">
                    <a:noFill/>
                  </a:tcPr>
                </a:tc>
                <a:extLst>
                  <a:ext uri="{0D108BD9-81ED-4DB2-BD59-A6C34878D82A}">
                    <a16:rowId xmlns:a16="http://schemas.microsoft.com/office/drawing/2014/main" val="4087162010"/>
                  </a:ext>
                </a:extLst>
              </a:tr>
              <a:tr h="161979">
                <a:tc vMerge="1">
                  <a:txBody>
                    <a:bodyPr/>
                    <a:lstStyle/>
                    <a:p>
                      <a:endParaRPr lang="da-DK" sz="800" strike="noStrike" dirty="0">
                        <a:solidFill>
                          <a:schemeClr val="tx1"/>
                        </a:solidFill>
                      </a:endParaRPr>
                    </a:p>
                  </a:txBody>
                  <a:tcPr marL="72000" marR="72000" marT="0" marB="0">
                    <a:solidFill>
                      <a:schemeClr val="bg1"/>
                    </a:solidFill>
                  </a:tcPr>
                </a:tc>
                <a:tc>
                  <a:txBody>
                    <a:bodyPr/>
                    <a:lstStyle/>
                    <a:p>
                      <a:r>
                        <a:rPr lang="en-US" sz="1000" b="1" strike="noStrike" dirty="0">
                          <a:solidFill>
                            <a:schemeClr val="tx1"/>
                          </a:solidFill>
                          <a:latin typeface="Arial Narrow" panose="020B0606020202030204" pitchFamily="34" charset="0"/>
                        </a:rPr>
                        <a:t>Students</a:t>
                      </a:r>
                      <a:r>
                        <a:rPr lang="en-US" sz="1000" b="1" strike="noStrike" baseline="0" dirty="0">
                          <a:solidFill>
                            <a:schemeClr val="tx1"/>
                          </a:solidFill>
                          <a:latin typeface="Arial Narrow" panose="020B0606020202030204" pitchFamily="34" charset="0"/>
                        </a:rPr>
                        <a:t> and Entrepreneurs </a:t>
                      </a:r>
                      <a:endParaRPr lang="da-DK" sz="1000" b="1" strike="noStrike" dirty="0">
                        <a:solidFill>
                          <a:schemeClr val="tx1"/>
                        </a:solidFill>
                        <a:latin typeface="Arial Narrow" panose="020B0606020202030204" pitchFamily="34" charset="0"/>
                      </a:endParaRPr>
                    </a:p>
                  </a:txBody>
                  <a:tcPr marL="71991" marR="71991" marT="0" marB="0">
                    <a:noFill/>
                  </a:tcPr>
                </a:tc>
                <a:tc>
                  <a:txBody>
                    <a:bodyPr/>
                    <a:lstStyle/>
                    <a:p>
                      <a:pPr algn="ctr"/>
                      <a:endParaRPr lang="da-DK" sz="1000" b="1" strike="noStrike" dirty="0">
                        <a:solidFill>
                          <a:schemeClr val="tx1"/>
                        </a:solidFill>
                        <a:latin typeface="Arial Narrow" panose="020B0606020202030204" pitchFamily="34" charset="0"/>
                      </a:endParaRPr>
                    </a:p>
                  </a:txBody>
                  <a:tcPr marL="71991" marR="71991" marT="0" marB="0">
                    <a:noFill/>
                  </a:tcPr>
                </a:tc>
                <a:tc>
                  <a:txBody>
                    <a:bodyPr/>
                    <a:lstStyle/>
                    <a:p>
                      <a:pPr algn="ctr"/>
                      <a:endParaRPr lang="da-DK" sz="1000" b="1" strike="noStrike" dirty="0">
                        <a:solidFill>
                          <a:schemeClr val="tx1"/>
                        </a:solidFill>
                        <a:latin typeface="Arial Narrow" panose="020B0606020202030204" pitchFamily="34" charset="0"/>
                      </a:endParaRPr>
                    </a:p>
                  </a:txBody>
                  <a:tcPr marL="71991" marR="71991" marT="0" marB="0">
                    <a:noFill/>
                  </a:tcPr>
                </a:tc>
                <a:tc>
                  <a:txBody>
                    <a:bodyPr/>
                    <a:lstStyle/>
                    <a:p>
                      <a:pPr algn="ctr"/>
                      <a:endParaRPr lang="da-DK" sz="1000" b="1" strike="noStrike" dirty="0">
                        <a:solidFill>
                          <a:schemeClr val="tx1"/>
                        </a:solidFill>
                        <a:latin typeface="Arial Narrow" panose="020B0606020202030204" pitchFamily="34" charset="0"/>
                      </a:endParaRPr>
                    </a:p>
                  </a:txBody>
                  <a:tcPr marL="71991" marR="71991" marT="0" marB="0">
                    <a:noFill/>
                  </a:tcPr>
                </a:tc>
                <a:tc>
                  <a:txBody>
                    <a:bodyPr/>
                    <a:lstStyle/>
                    <a:p>
                      <a:pPr algn="ctr"/>
                      <a:endParaRPr lang="da-DK" sz="1000" b="1" strike="noStrike" dirty="0">
                        <a:solidFill>
                          <a:schemeClr val="tx1"/>
                        </a:solidFill>
                        <a:latin typeface="Arial Narrow" panose="020B0606020202030204" pitchFamily="34" charset="0"/>
                      </a:endParaRPr>
                    </a:p>
                  </a:txBody>
                  <a:tcPr marL="71991" marR="71991" marT="0" marB="0">
                    <a:noFill/>
                  </a:tcPr>
                </a:tc>
                <a:tc>
                  <a:txBody>
                    <a:bodyPr/>
                    <a:lstStyle/>
                    <a:p>
                      <a:pPr algn="ctr"/>
                      <a:r>
                        <a:rPr lang="da-DK" sz="1000" b="1" strike="noStrike" dirty="0">
                          <a:solidFill>
                            <a:schemeClr val="tx1"/>
                          </a:solidFill>
                          <a:latin typeface="Arial Narrow" panose="020B0606020202030204" pitchFamily="34" charset="0"/>
                        </a:rPr>
                        <a:t>X</a:t>
                      </a:r>
                    </a:p>
                  </a:txBody>
                  <a:tcPr marL="71991" marR="71991" marT="0" marB="0">
                    <a:noFill/>
                  </a:tcPr>
                </a:tc>
                <a:extLst>
                  <a:ext uri="{0D108BD9-81ED-4DB2-BD59-A6C34878D82A}">
                    <a16:rowId xmlns:a16="http://schemas.microsoft.com/office/drawing/2014/main" val="3064982309"/>
                  </a:ext>
                </a:extLst>
              </a:tr>
              <a:tr h="161979">
                <a:tc rowSpan="8">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000" b="1" dirty="0">
                          <a:solidFill>
                            <a:schemeClr val="tx1"/>
                          </a:solidFill>
                          <a:latin typeface="Arial Narrow" panose="020B0606020202030204" pitchFamily="34" charset="0"/>
                        </a:rPr>
                        <a:t>Public </a:t>
                      </a:r>
                      <a:r>
                        <a:rPr lang="da-DK" sz="1000" b="1" dirty="0" err="1">
                          <a:solidFill>
                            <a:schemeClr val="tx1"/>
                          </a:solidFill>
                          <a:latin typeface="Arial Narrow" panose="020B0606020202030204" pitchFamily="34" charset="0"/>
                        </a:rPr>
                        <a:t>authorities</a:t>
                      </a:r>
                      <a:r>
                        <a:rPr lang="da-DK" sz="1000" b="1" dirty="0">
                          <a:solidFill>
                            <a:schemeClr val="tx1"/>
                          </a:solidFill>
                          <a:latin typeface="Arial Narrow" panose="020B0606020202030204" pitchFamily="34" charset="0"/>
                        </a:rPr>
                        <a:t> (</a:t>
                      </a:r>
                      <a:r>
                        <a:rPr lang="da-DK" sz="1000" b="1" dirty="0" err="1">
                          <a:solidFill>
                            <a:schemeClr val="tx1"/>
                          </a:solidFill>
                          <a:latin typeface="Arial Narrow" panose="020B0606020202030204" pitchFamily="34" charset="0"/>
                        </a:rPr>
                        <a:t>nationally</a:t>
                      </a:r>
                      <a:r>
                        <a:rPr lang="da-DK" sz="1000" b="1" dirty="0">
                          <a:solidFill>
                            <a:schemeClr val="tx1"/>
                          </a:solidFill>
                          <a:latin typeface="Arial Narrow" panose="020B0606020202030204" pitchFamily="34" charset="0"/>
                        </a:rPr>
                        <a:t>)</a:t>
                      </a:r>
                    </a:p>
                  </a:txBody>
                  <a:tcPr marL="71991" marR="71991" marT="0" marB="0">
                    <a:solidFill>
                      <a:schemeClr val="bg1">
                        <a:lumMod val="85000"/>
                      </a:schemeClr>
                    </a:solidFill>
                  </a:tcPr>
                </a:tc>
                <a:tc>
                  <a:txBody>
                    <a:bodyPr/>
                    <a:lstStyle/>
                    <a:p>
                      <a:r>
                        <a:rPr lang="en-US" sz="1000" b="1" dirty="0">
                          <a:solidFill>
                            <a:schemeClr val="tx1"/>
                          </a:solidFill>
                          <a:latin typeface="Arial Narrow" panose="020B0606020202030204" pitchFamily="34" charset="0"/>
                        </a:rPr>
                        <a:t>Municipalities (98 in total)</a:t>
                      </a:r>
                      <a:endParaRPr lang="da-DK" sz="1000" b="1" dirty="0">
                        <a:solidFill>
                          <a:schemeClr val="tx1"/>
                        </a:solidFill>
                        <a:latin typeface="Arial Narrow" panose="020B0606020202030204" pitchFamily="34" charset="0"/>
                      </a:endParaRPr>
                    </a:p>
                  </a:txBody>
                  <a:tcPr marL="71991" marR="71991" marT="0" marB="0">
                    <a:noFill/>
                  </a:tcPr>
                </a:tc>
                <a:tc>
                  <a:txBody>
                    <a:bodyPr/>
                    <a:lstStyle/>
                    <a:p>
                      <a:pPr algn="ctr"/>
                      <a:endParaRPr lang="da-DK" sz="1000" b="1" dirty="0">
                        <a:solidFill>
                          <a:schemeClr val="tx1"/>
                        </a:solidFill>
                        <a:latin typeface="Arial Narrow" panose="020B0606020202030204" pitchFamily="34" charset="0"/>
                      </a:endParaRPr>
                    </a:p>
                  </a:txBody>
                  <a:tcPr marL="71991" marR="71991" marT="0" marB="0">
                    <a:noFill/>
                  </a:tcPr>
                </a:tc>
                <a:tc>
                  <a:txBody>
                    <a:bodyPr/>
                    <a:lstStyle/>
                    <a:p>
                      <a:pPr algn="ctr"/>
                      <a:r>
                        <a:rPr lang="da-DK" sz="1000" b="1" dirty="0">
                          <a:solidFill>
                            <a:schemeClr val="tx1"/>
                          </a:solidFill>
                          <a:latin typeface="Arial Narrow" panose="020B0606020202030204" pitchFamily="34" charset="0"/>
                        </a:rPr>
                        <a:t>X</a:t>
                      </a:r>
                    </a:p>
                  </a:txBody>
                  <a:tcPr marL="71991" marR="71991" marT="0" marB="0">
                    <a:noFill/>
                  </a:tcPr>
                </a:tc>
                <a:tc>
                  <a:txBody>
                    <a:bodyPr/>
                    <a:lstStyle/>
                    <a:p>
                      <a:pPr algn="ctr"/>
                      <a:r>
                        <a:rPr lang="da-DK" sz="1000" b="1" dirty="0">
                          <a:solidFill>
                            <a:schemeClr val="tx1"/>
                          </a:solidFill>
                          <a:latin typeface="Arial Narrow" panose="020B0606020202030204" pitchFamily="34" charset="0"/>
                        </a:rPr>
                        <a:t>X</a:t>
                      </a:r>
                    </a:p>
                  </a:txBody>
                  <a:tcPr marL="71991" marR="71991" marT="0" marB="0">
                    <a:noFill/>
                  </a:tcPr>
                </a:tc>
                <a:tc>
                  <a:txBody>
                    <a:bodyPr/>
                    <a:lstStyle/>
                    <a:p>
                      <a:pPr algn="ctr"/>
                      <a:r>
                        <a:rPr lang="da-DK" sz="1000" b="1" dirty="0">
                          <a:solidFill>
                            <a:schemeClr val="tx1"/>
                          </a:solidFill>
                          <a:latin typeface="Arial Narrow" panose="020B0606020202030204" pitchFamily="34" charset="0"/>
                        </a:rPr>
                        <a:t>X</a:t>
                      </a:r>
                    </a:p>
                  </a:txBody>
                  <a:tcPr marL="71991" marR="71991" marT="0" marB="0">
                    <a:noFill/>
                  </a:tcPr>
                </a:tc>
                <a:tc>
                  <a:txBody>
                    <a:bodyPr/>
                    <a:lstStyle/>
                    <a:p>
                      <a:pPr algn="ctr"/>
                      <a:r>
                        <a:rPr lang="da-DK" sz="1000" b="1" dirty="0">
                          <a:solidFill>
                            <a:schemeClr val="tx1"/>
                          </a:solidFill>
                          <a:latin typeface="Arial Narrow" panose="020B0606020202030204" pitchFamily="34" charset="0"/>
                        </a:rPr>
                        <a:t>X</a:t>
                      </a:r>
                    </a:p>
                  </a:txBody>
                  <a:tcPr marL="71991" marR="71991" marT="0" marB="0">
                    <a:noFill/>
                  </a:tcPr>
                </a:tc>
                <a:extLst>
                  <a:ext uri="{0D108BD9-81ED-4DB2-BD59-A6C34878D82A}">
                    <a16:rowId xmlns:a16="http://schemas.microsoft.com/office/drawing/2014/main" val="382617181"/>
                  </a:ext>
                </a:extLst>
              </a:tr>
              <a:tr h="161979">
                <a:tc vMerge="1">
                  <a:txBody>
                    <a:bodyPr/>
                    <a:lstStyle/>
                    <a:p>
                      <a:endParaRPr lang="da-DK" sz="800" strike="noStrike" dirty="0">
                        <a:solidFill>
                          <a:schemeClr val="tx1"/>
                        </a:solidFill>
                      </a:endParaRPr>
                    </a:p>
                  </a:txBody>
                  <a:tcPr marL="72000" marR="72000" marT="0" marB="0">
                    <a:solidFill>
                      <a:schemeClr val="bg1"/>
                    </a:solidFill>
                  </a:tcPr>
                </a:tc>
                <a:tc>
                  <a:txBody>
                    <a:bodyPr/>
                    <a:lstStyle/>
                    <a:p>
                      <a:r>
                        <a:rPr lang="en-US" sz="1000" b="1" strike="noStrike" dirty="0">
                          <a:solidFill>
                            <a:schemeClr val="tx1"/>
                          </a:solidFill>
                          <a:latin typeface="Arial Narrow" panose="020B0606020202030204" pitchFamily="34" charset="0"/>
                        </a:rPr>
                        <a:t>Regions (5 in total)</a:t>
                      </a:r>
                      <a:r>
                        <a:rPr lang="en-US" sz="1000" b="1" strike="noStrike" baseline="0" dirty="0">
                          <a:solidFill>
                            <a:schemeClr val="tx1"/>
                          </a:solidFill>
                          <a:latin typeface="Arial Narrow" panose="020B0606020202030204" pitchFamily="34" charset="0"/>
                        </a:rPr>
                        <a:t> </a:t>
                      </a:r>
                      <a:endParaRPr lang="da-DK" sz="1000" b="1" strike="noStrike" dirty="0">
                        <a:solidFill>
                          <a:schemeClr val="tx1"/>
                        </a:solidFill>
                        <a:latin typeface="Arial Narrow" panose="020B0606020202030204" pitchFamily="34" charset="0"/>
                      </a:endParaRPr>
                    </a:p>
                  </a:txBody>
                  <a:tcPr marL="71991" marR="71991" marT="0" marB="0">
                    <a:noFill/>
                  </a:tcPr>
                </a:tc>
                <a:tc>
                  <a:txBody>
                    <a:bodyPr/>
                    <a:lstStyle/>
                    <a:p>
                      <a:pPr algn="ctr"/>
                      <a:endParaRPr lang="da-DK" sz="1000" b="1" strike="noStrike" dirty="0">
                        <a:solidFill>
                          <a:schemeClr val="tx1"/>
                        </a:solidFill>
                        <a:latin typeface="Arial Narrow" panose="020B0606020202030204" pitchFamily="34" charset="0"/>
                      </a:endParaRPr>
                    </a:p>
                  </a:txBody>
                  <a:tcPr marL="71991" marR="71991" marT="0" marB="0">
                    <a:noFill/>
                  </a:tcPr>
                </a:tc>
                <a:tc>
                  <a:txBody>
                    <a:bodyPr/>
                    <a:lstStyle/>
                    <a:p>
                      <a:pPr algn="ctr"/>
                      <a:r>
                        <a:rPr lang="da-DK" sz="1000" b="1" strike="noStrike" dirty="0">
                          <a:solidFill>
                            <a:schemeClr val="tx1"/>
                          </a:solidFill>
                          <a:latin typeface="Arial Narrow" panose="020B0606020202030204" pitchFamily="34" charset="0"/>
                        </a:rPr>
                        <a:t>X</a:t>
                      </a:r>
                    </a:p>
                  </a:txBody>
                  <a:tcPr marL="71991" marR="71991" marT="0" marB="0">
                    <a:noFill/>
                  </a:tcPr>
                </a:tc>
                <a:tc>
                  <a:txBody>
                    <a:bodyPr/>
                    <a:lstStyle/>
                    <a:p>
                      <a:pPr algn="ctr"/>
                      <a:endParaRPr lang="da-DK" sz="1000" b="1" strike="noStrike" dirty="0">
                        <a:solidFill>
                          <a:schemeClr val="tx1"/>
                        </a:solidFill>
                        <a:latin typeface="Arial Narrow" panose="020B0606020202030204" pitchFamily="34" charset="0"/>
                      </a:endParaRPr>
                    </a:p>
                  </a:txBody>
                  <a:tcPr marL="71991" marR="71991" marT="0" marB="0">
                    <a:noFill/>
                  </a:tcPr>
                </a:tc>
                <a:tc>
                  <a:txBody>
                    <a:bodyPr/>
                    <a:lstStyle/>
                    <a:p>
                      <a:pPr algn="ctr"/>
                      <a:r>
                        <a:rPr lang="da-DK" sz="1000" b="1" strike="noStrike" dirty="0">
                          <a:solidFill>
                            <a:schemeClr val="tx1"/>
                          </a:solidFill>
                          <a:latin typeface="Arial Narrow" panose="020B0606020202030204" pitchFamily="34" charset="0"/>
                        </a:rPr>
                        <a:t>X</a:t>
                      </a:r>
                    </a:p>
                  </a:txBody>
                  <a:tcPr marL="71991" marR="71991" marT="0" marB="0">
                    <a:noFill/>
                  </a:tcPr>
                </a:tc>
                <a:tc>
                  <a:txBody>
                    <a:bodyPr/>
                    <a:lstStyle/>
                    <a:p>
                      <a:pPr algn="ctr"/>
                      <a:r>
                        <a:rPr lang="da-DK" sz="1000" b="1" strike="noStrike" dirty="0">
                          <a:solidFill>
                            <a:schemeClr val="tx1"/>
                          </a:solidFill>
                          <a:latin typeface="Arial Narrow" panose="020B0606020202030204" pitchFamily="34" charset="0"/>
                        </a:rPr>
                        <a:t>X</a:t>
                      </a:r>
                    </a:p>
                  </a:txBody>
                  <a:tcPr marL="71991" marR="71991" marT="0" marB="0">
                    <a:noFill/>
                  </a:tcPr>
                </a:tc>
                <a:extLst>
                  <a:ext uri="{0D108BD9-81ED-4DB2-BD59-A6C34878D82A}">
                    <a16:rowId xmlns:a16="http://schemas.microsoft.com/office/drawing/2014/main" val="3797181351"/>
                  </a:ext>
                </a:extLst>
              </a:tr>
              <a:tr h="161979">
                <a:tc vMerge="1">
                  <a:txBody>
                    <a:bodyPr/>
                    <a:lstStyle/>
                    <a:p>
                      <a:endParaRPr lang="da-DK" sz="700" dirty="0">
                        <a:solidFill>
                          <a:schemeClr val="tx1"/>
                        </a:solidFill>
                      </a:endParaRPr>
                    </a:p>
                  </a:txBody>
                  <a:tcPr marL="72000" marR="72000" marT="0" marB="0">
                    <a:solidFill>
                      <a:schemeClr val="bg1">
                        <a:lumMod val="85000"/>
                      </a:schemeClr>
                    </a:solidFill>
                  </a:tcPr>
                </a:tc>
                <a:tc>
                  <a:txBody>
                    <a:bodyPr/>
                    <a:lstStyle/>
                    <a:p>
                      <a:r>
                        <a:rPr lang="en-US" sz="1000" b="1" dirty="0">
                          <a:solidFill>
                            <a:schemeClr val="tx1"/>
                          </a:solidFill>
                          <a:latin typeface="Arial Narrow" panose="020B0606020202030204" pitchFamily="34" charset="0"/>
                        </a:rPr>
                        <a:t>Danish Ministry of Environment</a:t>
                      </a:r>
                      <a:r>
                        <a:rPr lang="en-US" sz="1000" b="1" baseline="0" dirty="0">
                          <a:solidFill>
                            <a:schemeClr val="tx1"/>
                          </a:solidFill>
                          <a:latin typeface="Arial Narrow" panose="020B0606020202030204" pitchFamily="34" charset="0"/>
                        </a:rPr>
                        <a:t> (</a:t>
                      </a:r>
                      <a:r>
                        <a:rPr lang="en-US" sz="1000" b="1" baseline="0" dirty="0" err="1">
                          <a:solidFill>
                            <a:schemeClr val="tx1"/>
                          </a:solidFill>
                          <a:latin typeface="Arial Narrow" panose="020B0606020202030204" pitchFamily="34" charset="0"/>
                        </a:rPr>
                        <a:t>Miljøministeriet</a:t>
                      </a:r>
                      <a:r>
                        <a:rPr lang="en-US" sz="1000" b="1" baseline="0" dirty="0">
                          <a:solidFill>
                            <a:schemeClr val="tx1"/>
                          </a:solidFill>
                          <a:latin typeface="Arial Narrow" panose="020B0606020202030204" pitchFamily="34" charset="0"/>
                        </a:rPr>
                        <a:t>)</a:t>
                      </a:r>
                      <a:endParaRPr lang="da-DK" sz="1000" b="1" dirty="0">
                        <a:solidFill>
                          <a:schemeClr val="tx1"/>
                        </a:solidFill>
                        <a:latin typeface="Arial Narrow" panose="020B0606020202030204" pitchFamily="34" charset="0"/>
                      </a:endParaRPr>
                    </a:p>
                  </a:txBody>
                  <a:tcPr marL="71991" marR="71991" marT="0" marB="0">
                    <a:noFill/>
                  </a:tcPr>
                </a:tc>
                <a:tc>
                  <a:txBody>
                    <a:bodyPr/>
                    <a:lstStyle/>
                    <a:p>
                      <a:pPr algn="ctr"/>
                      <a:endParaRPr lang="da-DK" sz="1000" b="1" dirty="0">
                        <a:solidFill>
                          <a:schemeClr val="tx1"/>
                        </a:solidFill>
                        <a:latin typeface="Arial Narrow" panose="020B0606020202030204" pitchFamily="34" charset="0"/>
                      </a:endParaRPr>
                    </a:p>
                  </a:txBody>
                  <a:tcPr marL="71991" marR="71991" marT="0" marB="0">
                    <a:noFill/>
                  </a:tcPr>
                </a:tc>
                <a:tc>
                  <a:txBody>
                    <a:bodyPr/>
                    <a:lstStyle/>
                    <a:p>
                      <a:pPr algn="ctr"/>
                      <a:r>
                        <a:rPr lang="da-DK" sz="1000" b="1" dirty="0">
                          <a:solidFill>
                            <a:schemeClr val="tx1"/>
                          </a:solidFill>
                          <a:latin typeface="Arial Narrow" panose="020B0606020202030204" pitchFamily="34" charset="0"/>
                        </a:rPr>
                        <a:t>X</a:t>
                      </a:r>
                    </a:p>
                  </a:txBody>
                  <a:tcPr marL="71991" marR="71991" marT="0" marB="0">
                    <a:noFill/>
                  </a:tcPr>
                </a:tc>
                <a:tc>
                  <a:txBody>
                    <a:bodyPr/>
                    <a:lstStyle/>
                    <a:p>
                      <a:pPr algn="ctr"/>
                      <a:r>
                        <a:rPr lang="da-DK" sz="1000" b="1" dirty="0">
                          <a:solidFill>
                            <a:schemeClr val="tx1"/>
                          </a:solidFill>
                          <a:latin typeface="Arial Narrow" panose="020B0606020202030204" pitchFamily="34" charset="0"/>
                        </a:rPr>
                        <a:t>X</a:t>
                      </a:r>
                    </a:p>
                  </a:txBody>
                  <a:tcPr marL="71991" marR="71991" marT="0" marB="0">
                    <a:noFill/>
                  </a:tcPr>
                </a:tc>
                <a:tc>
                  <a:txBody>
                    <a:bodyPr/>
                    <a:lstStyle/>
                    <a:p>
                      <a:pPr algn="ctr"/>
                      <a:r>
                        <a:rPr lang="da-DK" sz="1000" b="1" dirty="0">
                          <a:solidFill>
                            <a:schemeClr val="tx1"/>
                          </a:solidFill>
                          <a:latin typeface="Arial Narrow" panose="020B0606020202030204" pitchFamily="34" charset="0"/>
                        </a:rPr>
                        <a:t>X</a:t>
                      </a:r>
                    </a:p>
                  </a:txBody>
                  <a:tcPr marL="71991" marR="71991" marT="0" marB="0">
                    <a:noFill/>
                  </a:tcPr>
                </a:tc>
                <a:tc>
                  <a:txBody>
                    <a:bodyPr/>
                    <a:lstStyle/>
                    <a:p>
                      <a:pPr algn="ctr"/>
                      <a:r>
                        <a:rPr lang="da-DK" sz="1000" b="1" dirty="0">
                          <a:solidFill>
                            <a:schemeClr val="tx1"/>
                          </a:solidFill>
                          <a:latin typeface="Arial Narrow" panose="020B0606020202030204" pitchFamily="34" charset="0"/>
                        </a:rPr>
                        <a:t>X</a:t>
                      </a:r>
                    </a:p>
                  </a:txBody>
                  <a:tcPr marL="71991" marR="71991" marT="0" marB="0">
                    <a:noFill/>
                  </a:tcPr>
                </a:tc>
                <a:extLst>
                  <a:ext uri="{0D108BD9-81ED-4DB2-BD59-A6C34878D82A}">
                    <a16:rowId xmlns:a16="http://schemas.microsoft.com/office/drawing/2014/main" val="1383480029"/>
                  </a:ext>
                </a:extLst>
              </a:tr>
              <a:tr h="161979">
                <a:tc vMerge="1">
                  <a:txBody>
                    <a:bodyPr/>
                    <a:lstStyle/>
                    <a:p>
                      <a:endParaRPr lang="en-US"/>
                    </a:p>
                  </a:txBody>
                  <a:tcPr/>
                </a:tc>
                <a:tc>
                  <a:txBody>
                    <a:bodyPr/>
                    <a:lstStyle/>
                    <a:p>
                      <a:r>
                        <a:rPr lang="en-US" sz="1000" b="1" dirty="0">
                          <a:solidFill>
                            <a:schemeClr val="tx1"/>
                          </a:solidFill>
                          <a:latin typeface="Arial Narrow" panose="020B0606020202030204" pitchFamily="34" charset="0"/>
                        </a:rPr>
                        <a:t>Ministry of Digital Government and Gender Equality</a:t>
                      </a:r>
                      <a:endParaRPr lang="da-DK" sz="1000" b="1" dirty="0">
                        <a:solidFill>
                          <a:schemeClr val="tx1"/>
                        </a:solidFill>
                        <a:latin typeface="Arial Narrow" panose="020B0606020202030204" pitchFamily="34" charset="0"/>
                      </a:endParaRPr>
                    </a:p>
                  </a:txBody>
                  <a:tcPr marL="71991" marR="71991" marT="0" marB="0">
                    <a:noFill/>
                  </a:tcPr>
                </a:tc>
                <a:tc>
                  <a:txBody>
                    <a:bodyPr/>
                    <a:lstStyle/>
                    <a:p>
                      <a:pPr algn="ctr"/>
                      <a:endParaRPr lang="da-DK" sz="1000" b="1" dirty="0">
                        <a:solidFill>
                          <a:schemeClr val="tx1"/>
                        </a:solidFill>
                        <a:latin typeface="Arial Narrow" panose="020B0606020202030204" pitchFamily="34" charset="0"/>
                      </a:endParaRPr>
                    </a:p>
                  </a:txBody>
                  <a:tcPr marL="71991" marR="71991" marT="0" marB="0">
                    <a:noFill/>
                  </a:tcPr>
                </a:tc>
                <a:tc>
                  <a:txBody>
                    <a:bodyPr/>
                    <a:lstStyle/>
                    <a:p>
                      <a:pPr algn="ctr"/>
                      <a:r>
                        <a:rPr lang="da-DK" sz="1000" b="1" dirty="0">
                          <a:solidFill>
                            <a:schemeClr val="tx1"/>
                          </a:solidFill>
                          <a:latin typeface="Arial Narrow" panose="020B0606020202030204" pitchFamily="34" charset="0"/>
                        </a:rPr>
                        <a:t>X</a:t>
                      </a:r>
                    </a:p>
                  </a:txBody>
                  <a:tcPr marL="71991" marR="71991" marT="0" marB="0">
                    <a:noFill/>
                  </a:tcPr>
                </a:tc>
                <a:tc>
                  <a:txBody>
                    <a:bodyPr/>
                    <a:lstStyle/>
                    <a:p>
                      <a:pPr algn="ctr"/>
                      <a:endParaRPr lang="da-DK" sz="1000" b="1" dirty="0">
                        <a:solidFill>
                          <a:schemeClr val="tx1"/>
                        </a:solidFill>
                        <a:latin typeface="Arial Narrow" panose="020B0606020202030204" pitchFamily="34" charset="0"/>
                      </a:endParaRPr>
                    </a:p>
                  </a:txBody>
                  <a:tcPr marL="71991" marR="71991" marT="0" marB="0">
                    <a:noFill/>
                  </a:tcPr>
                </a:tc>
                <a:tc>
                  <a:txBody>
                    <a:bodyPr/>
                    <a:lstStyle/>
                    <a:p>
                      <a:pPr algn="ctr"/>
                      <a:endParaRPr lang="da-DK" sz="1000" b="1" dirty="0">
                        <a:solidFill>
                          <a:schemeClr val="tx1"/>
                        </a:solidFill>
                        <a:latin typeface="Arial Narrow" panose="020B0606020202030204" pitchFamily="34" charset="0"/>
                      </a:endParaRPr>
                    </a:p>
                  </a:txBody>
                  <a:tcPr marL="71991" marR="71991" marT="0" marB="0">
                    <a:noFill/>
                  </a:tcPr>
                </a:tc>
                <a:tc>
                  <a:txBody>
                    <a:bodyPr/>
                    <a:lstStyle/>
                    <a:p>
                      <a:pPr algn="ctr"/>
                      <a:r>
                        <a:rPr lang="da-DK" sz="1000" b="1" dirty="0">
                          <a:solidFill>
                            <a:schemeClr val="tx1"/>
                          </a:solidFill>
                          <a:latin typeface="Arial Narrow" panose="020B0606020202030204" pitchFamily="34" charset="0"/>
                        </a:rPr>
                        <a:t>X</a:t>
                      </a:r>
                    </a:p>
                  </a:txBody>
                  <a:tcPr marL="71991" marR="71991" marT="0" marB="0">
                    <a:noFill/>
                  </a:tcPr>
                </a:tc>
                <a:extLst>
                  <a:ext uri="{0D108BD9-81ED-4DB2-BD59-A6C34878D82A}">
                    <a16:rowId xmlns:a16="http://schemas.microsoft.com/office/drawing/2014/main" val="508090199"/>
                  </a:ext>
                </a:extLst>
              </a:tr>
              <a:tr h="161979">
                <a:tc vMerge="1">
                  <a:txBody>
                    <a:bodyPr/>
                    <a:lstStyle/>
                    <a:p>
                      <a:endParaRPr lang="en-US"/>
                    </a:p>
                  </a:txBody>
                  <a:tcPr/>
                </a:tc>
                <a:tc>
                  <a:txBody>
                    <a:bodyPr/>
                    <a:lstStyle/>
                    <a:p>
                      <a:r>
                        <a:rPr lang="da-DK" sz="1000" b="1" dirty="0" err="1">
                          <a:solidFill>
                            <a:schemeClr val="tx1"/>
                          </a:solidFill>
                          <a:latin typeface="Arial Narrow" panose="020B0606020202030204" pitchFamily="34" charset="0"/>
                        </a:rPr>
                        <a:t>Other</a:t>
                      </a:r>
                      <a:r>
                        <a:rPr lang="da-DK" sz="1000" b="1" dirty="0">
                          <a:solidFill>
                            <a:schemeClr val="tx1"/>
                          </a:solidFill>
                          <a:latin typeface="Arial Narrow" panose="020B0606020202030204" pitchFamily="34" charset="0"/>
                        </a:rPr>
                        <a:t> </a:t>
                      </a:r>
                      <a:r>
                        <a:rPr lang="da-DK" sz="1000" b="1" dirty="0" err="1">
                          <a:solidFill>
                            <a:schemeClr val="tx1"/>
                          </a:solidFill>
                          <a:latin typeface="Arial Narrow" panose="020B0606020202030204" pitchFamily="34" charset="0"/>
                        </a:rPr>
                        <a:t>ministries</a:t>
                      </a:r>
                      <a:endParaRPr lang="da-DK" sz="1000" b="1" dirty="0">
                        <a:solidFill>
                          <a:schemeClr val="tx1"/>
                        </a:solidFill>
                        <a:latin typeface="Arial Narrow" panose="020B0606020202030204" pitchFamily="34" charset="0"/>
                      </a:endParaRPr>
                    </a:p>
                  </a:txBody>
                  <a:tcPr marL="71991" marR="71991" marT="0" marB="0">
                    <a:noFill/>
                  </a:tcPr>
                </a:tc>
                <a:tc>
                  <a:txBody>
                    <a:bodyPr/>
                    <a:lstStyle/>
                    <a:p>
                      <a:pPr algn="ctr"/>
                      <a:endParaRPr lang="da-DK" sz="1000" b="1" dirty="0">
                        <a:solidFill>
                          <a:schemeClr val="tx1"/>
                        </a:solidFill>
                        <a:latin typeface="Arial Narrow" panose="020B0606020202030204" pitchFamily="34" charset="0"/>
                      </a:endParaRPr>
                    </a:p>
                  </a:txBody>
                  <a:tcPr marL="71991" marR="71991" marT="0" marB="0">
                    <a:noFill/>
                  </a:tcPr>
                </a:tc>
                <a:tc>
                  <a:txBody>
                    <a:bodyPr/>
                    <a:lstStyle/>
                    <a:p>
                      <a:pPr algn="ctr"/>
                      <a:endParaRPr lang="da-DK" sz="1000" b="1" dirty="0">
                        <a:solidFill>
                          <a:schemeClr val="tx1"/>
                        </a:solidFill>
                        <a:latin typeface="Arial Narrow" panose="020B0606020202030204" pitchFamily="34" charset="0"/>
                      </a:endParaRPr>
                    </a:p>
                  </a:txBody>
                  <a:tcPr marL="71991" marR="71991" marT="0" marB="0">
                    <a:noFill/>
                  </a:tcPr>
                </a:tc>
                <a:tc>
                  <a:txBody>
                    <a:bodyPr/>
                    <a:lstStyle/>
                    <a:p>
                      <a:pPr algn="ctr"/>
                      <a:endParaRPr lang="da-DK" sz="1000" b="1" dirty="0">
                        <a:solidFill>
                          <a:schemeClr val="tx1"/>
                        </a:solidFill>
                        <a:latin typeface="Arial Narrow" panose="020B0606020202030204" pitchFamily="34" charset="0"/>
                      </a:endParaRPr>
                    </a:p>
                  </a:txBody>
                  <a:tcPr marL="71991" marR="71991" marT="0" marB="0">
                    <a:noFill/>
                  </a:tcPr>
                </a:tc>
                <a:tc>
                  <a:txBody>
                    <a:bodyPr/>
                    <a:lstStyle/>
                    <a:p>
                      <a:pPr algn="ctr"/>
                      <a:endParaRPr lang="da-DK" sz="1000" b="1" dirty="0">
                        <a:solidFill>
                          <a:schemeClr val="tx1"/>
                        </a:solidFill>
                        <a:latin typeface="Arial Narrow" panose="020B0606020202030204" pitchFamily="34" charset="0"/>
                      </a:endParaRPr>
                    </a:p>
                  </a:txBody>
                  <a:tcPr marL="71991" marR="71991" marT="0" marB="0">
                    <a:noFill/>
                  </a:tcPr>
                </a:tc>
                <a:tc>
                  <a:txBody>
                    <a:bodyPr/>
                    <a:lstStyle/>
                    <a:p>
                      <a:pPr algn="ctr"/>
                      <a:r>
                        <a:rPr lang="da-DK" sz="1000" b="1" dirty="0">
                          <a:solidFill>
                            <a:schemeClr val="tx1"/>
                          </a:solidFill>
                          <a:latin typeface="Arial Narrow" panose="020B0606020202030204" pitchFamily="34" charset="0"/>
                        </a:rPr>
                        <a:t>X</a:t>
                      </a:r>
                    </a:p>
                  </a:txBody>
                  <a:tcPr marL="71991" marR="71991" marT="0" marB="0">
                    <a:noFill/>
                  </a:tcPr>
                </a:tc>
                <a:extLst>
                  <a:ext uri="{0D108BD9-81ED-4DB2-BD59-A6C34878D82A}">
                    <a16:rowId xmlns:a16="http://schemas.microsoft.com/office/drawing/2014/main" val="4242879886"/>
                  </a:ext>
                </a:extLst>
              </a:tr>
              <a:tr h="161979">
                <a:tc vMerge="1">
                  <a:txBody>
                    <a:bodyPr/>
                    <a:lstStyle/>
                    <a:p>
                      <a:endParaRPr lang="en-US"/>
                    </a:p>
                  </a:txBody>
                  <a:tcPr/>
                </a:tc>
                <a:tc>
                  <a:txBody>
                    <a:bodyPr/>
                    <a:lstStyle/>
                    <a:p>
                      <a:r>
                        <a:rPr lang="en-US" sz="1000" b="1" dirty="0" err="1">
                          <a:solidFill>
                            <a:schemeClr val="tx1"/>
                          </a:solidFill>
                          <a:latin typeface="Arial Narrow" panose="020B0606020202030204" pitchFamily="34" charset="0"/>
                        </a:rPr>
                        <a:t>Miljøstyrelsen</a:t>
                      </a:r>
                      <a:r>
                        <a:rPr lang="en-US" sz="1000" b="1" dirty="0">
                          <a:solidFill>
                            <a:schemeClr val="tx1"/>
                          </a:solidFill>
                          <a:latin typeface="Arial Narrow" panose="020B0606020202030204" pitchFamily="34" charset="0"/>
                        </a:rPr>
                        <a:t> &amp; </a:t>
                      </a:r>
                      <a:r>
                        <a:rPr lang="en-US" sz="1000" b="1" dirty="0" err="1">
                          <a:solidFill>
                            <a:schemeClr val="tx1"/>
                          </a:solidFill>
                          <a:latin typeface="Arial Narrow" panose="020B0606020202030204" pitchFamily="34" charset="0"/>
                        </a:rPr>
                        <a:t>Naturstyrelsen</a:t>
                      </a:r>
                      <a:endParaRPr lang="da-DK" sz="1000" b="1" dirty="0">
                        <a:solidFill>
                          <a:schemeClr val="tx1"/>
                        </a:solidFill>
                        <a:latin typeface="Arial Narrow" panose="020B0606020202030204" pitchFamily="34" charset="0"/>
                      </a:endParaRPr>
                    </a:p>
                  </a:txBody>
                  <a:tcPr marL="71991" marR="71991" marT="0" marB="0">
                    <a:solidFill>
                      <a:schemeClr val="bg1">
                        <a:lumMod val="85000"/>
                      </a:schemeClr>
                    </a:solidFill>
                  </a:tcPr>
                </a:tc>
                <a:tc>
                  <a:txBody>
                    <a:bodyPr/>
                    <a:lstStyle/>
                    <a:p>
                      <a:pPr algn="ctr"/>
                      <a:r>
                        <a:rPr lang="da-DK" sz="1000" b="1" dirty="0">
                          <a:solidFill>
                            <a:schemeClr val="tx1"/>
                          </a:solidFill>
                          <a:latin typeface="Arial Narrow" panose="020B0606020202030204" pitchFamily="34" charset="0"/>
                        </a:rPr>
                        <a:t>X</a:t>
                      </a:r>
                    </a:p>
                  </a:txBody>
                  <a:tcPr marL="71991" marR="71991" marT="0" marB="0">
                    <a:solidFill>
                      <a:schemeClr val="bg1">
                        <a:lumMod val="85000"/>
                      </a:schemeClr>
                    </a:solidFill>
                  </a:tcPr>
                </a:tc>
                <a:tc>
                  <a:txBody>
                    <a:bodyPr/>
                    <a:lstStyle/>
                    <a:p>
                      <a:pPr algn="ctr"/>
                      <a:r>
                        <a:rPr lang="da-DK" sz="1000" b="1" dirty="0">
                          <a:solidFill>
                            <a:schemeClr val="tx1"/>
                          </a:solidFill>
                          <a:latin typeface="Arial Narrow" panose="020B0606020202030204" pitchFamily="34" charset="0"/>
                        </a:rPr>
                        <a:t>X</a:t>
                      </a:r>
                    </a:p>
                  </a:txBody>
                  <a:tcPr marL="71991" marR="71991" marT="0" marB="0">
                    <a:solidFill>
                      <a:schemeClr val="bg1">
                        <a:lumMod val="85000"/>
                      </a:schemeClr>
                    </a:solidFill>
                  </a:tcPr>
                </a:tc>
                <a:tc>
                  <a:txBody>
                    <a:bodyPr/>
                    <a:lstStyle/>
                    <a:p>
                      <a:pPr algn="ctr"/>
                      <a:r>
                        <a:rPr lang="da-DK" sz="1000" b="1" dirty="0">
                          <a:solidFill>
                            <a:schemeClr val="tx1"/>
                          </a:solidFill>
                          <a:latin typeface="Arial Narrow" panose="020B0606020202030204" pitchFamily="34" charset="0"/>
                        </a:rPr>
                        <a:t>X</a:t>
                      </a:r>
                    </a:p>
                  </a:txBody>
                  <a:tcPr marL="71991" marR="71991" marT="0" marB="0">
                    <a:solidFill>
                      <a:schemeClr val="bg1">
                        <a:lumMod val="85000"/>
                      </a:schemeClr>
                    </a:solidFill>
                  </a:tcPr>
                </a:tc>
                <a:tc>
                  <a:txBody>
                    <a:bodyPr/>
                    <a:lstStyle/>
                    <a:p>
                      <a:pPr algn="ctr"/>
                      <a:r>
                        <a:rPr lang="da-DK" sz="1000" b="1" dirty="0">
                          <a:solidFill>
                            <a:schemeClr val="tx1"/>
                          </a:solidFill>
                          <a:latin typeface="Arial Narrow" panose="020B0606020202030204" pitchFamily="34" charset="0"/>
                        </a:rPr>
                        <a:t>X</a:t>
                      </a:r>
                    </a:p>
                  </a:txBody>
                  <a:tcPr marL="71991" marR="71991" marT="0" marB="0">
                    <a:solidFill>
                      <a:schemeClr val="bg1">
                        <a:lumMod val="85000"/>
                      </a:schemeClr>
                    </a:solidFill>
                  </a:tcPr>
                </a:tc>
                <a:tc>
                  <a:txBody>
                    <a:bodyPr/>
                    <a:lstStyle/>
                    <a:p>
                      <a:pPr algn="ctr"/>
                      <a:r>
                        <a:rPr lang="da-DK" sz="1000" b="1" dirty="0">
                          <a:solidFill>
                            <a:schemeClr val="tx1"/>
                          </a:solidFill>
                          <a:latin typeface="Arial Narrow" panose="020B0606020202030204" pitchFamily="34" charset="0"/>
                        </a:rPr>
                        <a:t>X</a:t>
                      </a:r>
                    </a:p>
                  </a:txBody>
                  <a:tcPr marL="71991" marR="71991" marT="0" marB="0">
                    <a:solidFill>
                      <a:schemeClr val="bg1">
                        <a:lumMod val="85000"/>
                      </a:schemeClr>
                    </a:solidFill>
                  </a:tcPr>
                </a:tc>
                <a:extLst>
                  <a:ext uri="{0D108BD9-81ED-4DB2-BD59-A6C34878D82A}">
                    <a16:rowId xmlns:a16="http://schemas.microsoft.com/office/drawing/2014/main" val="3149428764"/>
                  </a:ext>
                </a:extLst>
              </a:tr>
              <a:tr h="161979">
                <a:tc vMerge="1">
                  <a:txBody>
                    <a:bodyPr/>
                    <a:lstStyle/>
                    <a:p>
                      <a:endParaRPr lang="da-DK" sz="700" dirty="0">
                        <a:solidFill>
                          <a:schemeClr val="tx1"/>
                        </a:solidFill>
                      </a:endParaRPr>
                    </a:p>
                  </a:txBody>
                  <a:tcPr marL="72000" marR="72000" marT="0" marB="0">
                    <a:solidFill>
                      <a:schemeClr val="bg1">
                        <a:lumMod val="85000"/>
                      </a:schemeClr>
                    </a:solidFill>
                  </a:tcPr>
                </a:tc>
                <a:tc>
                  <a:txBody>
                    <a:bodyPr/>
                    <a:lstStyle/>
                    <a:p>
                      <a:r>
                        <a:rPr lang="da-DK" sz="1000" b="1" dirty="0" err="1">
                          <a:solidFill>
                            <a:schemeClr val="tx1"/>
                          </a:solidFill>
                          <a:latin typeface="Arial Narrow" panose="020B0606020202030204" pitchFamily="34" charset="0"/>
                        </a:rPr>
                        <a:t>Other</a:t>
                      </a:r>
                      <a:r>
                        <a:rPr lang="da-DK" sz="1000" b="1" baseline="0" dirty="0">
                          <a:solidFill>
                            <a:schemeClr val="tx1"/>
                          </a:solidFill>
                          <a:latin typeface="Arial Narrow" panose="020B0606020202030204" pitchFamily="34" charset="0"/>
                        </a:rPr>
                        <a:t> </a:t>
                      </a:r>
                      <a:r>
                        <a:rPr lang="da-DK" sz="1000" b="1" baseline="0" dirty="0" err="1">
                          <a:solidFill>
                            <a:schemeClr val="tx1"/>
                          </a:solidFill>
                          <a:latin typeface="Arial Narrow" panose="020B0606020202030204" pitchFamily="34" charset="0"/>
                        </a:rPr>
                        <a:t>agencies</a:t>
                      </a:r>
                      <a:endParaRPr lang="da-DK" sz="1000" b="1" dirty="0">
                        <a:solidFill>
                          <a:schemeClr val="tx1"/>
                        </a:solidFill>
                        <a:latin typeface="Arial Narrow" panose="020B0606020202030204" pitchFamily="34" charset="0"/>
                      </a:endParaRPr>
                    </a:p>
                  </a:txBody>
                  <a:tcPr marL="71991" marR="71991" marT="0" marB="0">
                    <a:noFill/>
                  </a:tcPr>
                </a:tc>
                <a:tc>
                  <a:txBody>
                    <a:bodyPr/>
                    <a:lstStyle/>
                    <a:p>
                      <a:pPr algn="ctr"/>
                      <a:r>
                        <a:rPr lang="da-DK" sz="1000" b="1" dirty="0">
                          <a:solidFill>
                            <a:schemeClr val="tx1"/>
                          </a:solidFill>
                          <a:latin typeface="Arial Narrow" panose="020B0606020202030204" pitchFamily="34" charset="0"/>
                        </a:rPr>
                        <a:t>X</a:t>
                      </a:r>
                    </a:p>
                  </a:txBody>
                  <a:tcPr marL="71991" marR="71991" marT="0" marB="0">
                    <a:noFill/>
                  </a:tcPr>
                </a:tc>
                <a:tc>
                  <a:txBody>
                    <a:bodyPr/>
                    <a:lstStyle/>
                    <a:p>
                      <a:pPr algn="ctr"/>
                      <a:endParaRPr lang="da-DK" sz="1000" b="1" dirty="0">
                        <a:solidFill>
                          <a:schemeClr val="tx1"/>
                        </a:solidFill>
                        <a:latin typeface="Arial Narrow" panose="020B0606020202030204" pitchFamily="34" charset="0"/>
                      </a:endParaRPr>
                    </a:p>
                  </a:txBody>
                  <a:tcPr marL="71991" marR="71991" marT="0" marB="0">
                    <a:noFill/>
                  </a:tcPr>
                </a:tc>
                <a:tc>
                  <a:txBody>
                    <a:bodyPr/>
                    <a:lstStyle/>
                    <a:p>
                      <a:pPr algn="ctr"/>
                      <a:endParaRPr lang="da-DK" sz="1000" b="1" dirty="0">
                        <a:solidFill>
                          <a:schemeClr val="tx1"/>
                        </a:solidFill>
                        <a:latin typeface="Arial Narrow" panose="020B0606020202030204" pitchFamily="34" charset="0"/>
                      </a:endParaRPr>
                    </a:p>
                  </a:txBody>
                  <a:tcPr marL="71991" marR="71991" marT="0" marB="0">
                    <a:noFill/>
                  </a:tcPr>
                </a:tc>
                <a:tc>
                  <a:txBody>
                    <a:bodyPr/>
                    <a:lstStyle/>
                    <a:p>
                      <a:pPr algn="ctr"/>
                      <a:endParaRPr lang="da-DK" sz="1000" b="1" dirty="0">
                        <a:solidFill>
                          <a:schemeClr val="tx1"/>
                        </a:solidFill>
                        <a:latin typeface="Arial Narrow" panose="020B0606020202030204" pitchFamily="34" charset="0"/>
                      </a:endParaRPr>
                    </a:p>
                  </a:txBody>
                  <a:tcPr marL="71991" marR="71991" marT="0" marB="0">
                    <a:noFill/>
                  </a:tcPr>
                </a:tc>
                <a:tc>
                  <a:txBody>
                    <a:bodyPr/>
                    <a:lstStyle/>
                    <a:p>
                      <a:pPr algn="ctr"/>
                      <a:r>
                        <a:rPr lang="da-DK" sz="1000" b="1" baseline="0" dirty="0">
                          <a:solidFill>
                            <a:schemeClr val="tx1"/>
                          </a:solidFill>
                          <a:latin typeface="Arial Narrow" panose="020B0606020202030204" pitchFamily="34" charset="0"/>
                        </a:rPr>
                        <a:t>X</a:t>
                      </a:r>
                      <a:endParaRPr lang="da-DK" sz="1000" b="1" dirty="0">
                        <a:solidFill>
                          <a:schemeClr val="tx1"/>
                        </a:solidFill>
                        <a:latin typeface="Arial Narrow" panose="020B0606020202030204" pitchFamily="34" charset="0"/>
                      </a:endParaRPr>
                    </a:p>
                  </a:txBody>
                  <a:tcPr marL="71991" marR="71991" marT="0" marB="0">
                    <a:noFill/>
                  </a:tcPr>
                </a:tc>
                <a:extLst>
                  <a:ext uri="{0D108BD9-81ED-4DB2-BD59-A6C34878D82A}">
                    <a16:rowId xmlns:a16="http://schemas.microsoft.com/office/drawing/2014/main" val="349468454"/>
                  </a:ext>
                </a:extLst>
              </a:tr>
              <a:tr h="161979">
                <a:tc vMerge="1">
                  <a:txBody>
                    <a:bodyPr/>
                    <a:lstStyle/>
                    <a:p>
                      <a:endParaRPr lang="da-DK" sz="800" dirty="0">
                        <a:solidFill>
                          <a:schemeClr val="tx1"/>
                        </a:solidFill>
                      </a:endParaRPr>
                    </a:p>
                  </a:txBody>
                  <a:tcPr marL="72000" marR="72000" marT="0" marB="0">
                    <a:solidFill>
                      <a:schemeClr val="bg1"/>
                    </a:solidFill>
                  </a:tcPr>
                </a:tc>
                <a:tc>
                  <a:txBody>
                    <a:bodyPr/>
                    <a:lstStyle/>
                    <a:p>
                      <a:r>
                        <a:rPr lang="en-US" sz="1000" b="1" dirty="0" err="1">
                          <a:solidFill>
                            <a:schemeClr val="tx1"/>
                          </a:solidFill>
                          <a:latin typeface="Arial Narrow" panose="020B0606020202030204" pitchFamily="34" charset="0"/>
                        </a:rPr>
                        <a:t>Forsyningssekretariatet</a:t>
                      </a:r>
                      <a:r>
                        <a:rPr lang="en-US" sz="1000" b="1" dirty="0">
                          <a:solidFill>
                            <a:schemeClr val="tx1"/>
                          </a:solidFill>
                          <a:latin typeface="Arial Narrow" panose="020B0606020202030204" pitchFamily="34" charset="0"/>
                        </a:rPr>
                        <a:t> (Utility Secretariat</a:t>
                      </a:r>
                      <a:r>
                        <a:rPr lang="en-US" sz="1000" b="1" baseline="0" dirty="0">
                          <a:solidFill>
                            <a:schemeClr val="tx1"/>
                          </a:solidFill>
                          <a:latin typeface="Arial Narrow" panose="020B0606020202030204" pitchFamily="34" charset="0"/>
                        </a:rPr>
                        <a:t>)</a:t>
                      </a:r>
                      <a:endParaRPr lang="da-DK" sz="1000" b="1" dirty="0">
                        <a:solidFill>
                          <a:schemeClr val="tx1"/>
                        </a:solidFill>
                        <a:latin typeface="Arial Narrow" panose="020B0606020202030204" pitchFamily="34" charset="0"/>
                      </a:endParaRPr>
                    </a:p>
                  </a:txBody>
                  <a:tcPr marL="71991" marR="71991" marT="0" marB="0">
                    <a:solidFill>
                      <a:schemeClr val="accent5"/>
                    </a:solidFill>
                  </a:tcPr>
                </a:tc>
                <a:tc>
                  <a:txBody>
                    <a:bodyPr/>
                    <a:lstStyle/>
                    <a:p>
                      <a:pPr algn="ctr"/>
                      <a:r>
                        <a:rPr lang="da-DK" sz="1000" b="1" dirty="0">
                          <a:solidFill>
                            <a:schemeClr val="tx1"/>
                          </a:solidFill>
                          <a:latin typeface="Arial Narrow" panose="020B0606020202030204" pitchFamily="34" charset="0"/>
                        </a:rPr>
                        <a:t>X</a:t>
                      </a:r>
                    </a:p>
                  </a:txBody>
                  <a:tcPr marL="71991" marR="71991" marT="0" marB="0">
                    <a:solidFill>
                      <a:schemeClr val="accent5"/>
                    </a:solidFill>
                  </a:tcPr>
                </a:tc>
                <a:tc>
                  <a:txBody>
                    <a:bodyPr/>
                    <a:lstStyle/>
                    <a:p>
                      <a:pPr algn="ctr"/>
                      <a:endParaRPr lang="da-DK" sz="1000" b="1" dirty="0">
                        <a:solidFill>
                          <a:schemeClr val="tx1"/>
                        </a:solidFill>
                        <a:latin typeface="Arial Narrow" panose="020B0606020202030204" pitchFamily="34" charset="0"/>
                      </a:endParaRPr>
                    </a:p>
                  </a:txBody>
                  <a:tcPr marL="71991" marR="71991" marT="0" marB="0">
                    <a:noFill/>
                  </a:tcPr>
                </a:tc>
                <a:tc>
                  <a:txBody>
                    <a:bodyPr/>
                    <a:lstStyle/>
                    <a:p>
                      <a:pPr algn="ctr"/>
                      <a:endParaRPr lang="da-DK" sz="1000" b="1" dirty="0">
                        <a:solidFill>
                          <a:schemeClr val="tx1"/>
                        </a:solidFill>
                        <a:latin typeface="Arial Narrow" panose="020B0606020202030204" pitchFamily="34" charset="0"/>
                      </a:endParaRPr>
                    </a:p>
                  </a:txBody>
                  <a:tcPr marL="71991" marR="71991" marT="0" marB="0">
                    <a:noFill/>
                  </a:tcPr>
                </a:tc>
                <a:tc>
                  <a:txBody>
                    <a:bodyPr/>
                    <a:lstStyle/>
                    <a:p>
                      <a:pPr algn="ctr"/>
                      <a:endParaRPr lang="da-DK" sz="1000" b="1" dirty="0">
                        <a:solidFill>
                          <a:schemeClr val="tx1"/>
                        </a:solidFill>
                        <a:latin typeface="Arial Narrow" panose="020B0606020202030204" pitchFamily="34" charset="0"/>
                      </a:endParaRPr>
                    </a:p>
                  </a:txBody>
                  <a:tcPr marL="71991" marR="71991" marT="0" marB="0">
                    <a:noFill/>
                  </a:tcPr>
                </a:tc>
                <a:tc>
                  <a:txBody>
                    <a:bodyPr/>
                    <a:lstStyle/>
                    <a:p>
                      <a:pPr algn="ctr"/>
                      <a:endParaRPr lang="da-DK" sz="1000" b="1" dirty="0">
                        <a:solidFill>
                          <a:schemeClr val="tx1"/>
                        </a:solidFill>
                        <a:latin typeface="Arial Narrow" panose="020B0606020202030204" pitchFamily="34" charset="0"/>
                      </a:endParaRPr>
                    </a:p>
                  </a:txBody>
                  <a:tcPr marL="71991" marR="71991" marT="0" marB="0">
                    <a:noFill/>
                  </a:tcPr>
                </a:tc>
                <a:extLst>
                  <a:ext uri="{0D108BD9-81ED-4DB2-BD59-A6C34878D82A}">
                    <a16:rowId xmlns:a16="http://schemas.microsoft.com/office/drawing/2014/main" val="3899713905"/>
                  </a:ext>
                </a:extLst>
              </a:tr>
              <a:tr h="161979">
                <a:tc rowSpan="7">
                  <a:txBody>
                    <a:bodyPr/>
                    <a:lstStyle/>
                    <a:p>
                      <a:r>
                        <a:rPr lang="da-DK" sz="1000" b="1" dirty="0" err="1">
                          <a:solidFill>
                            <a:schemeClr val="tx1"/>
                          </a:solidFill>
                          <a:latin typeface="Arial Narrow" panose="020B0606020202030204" pitchFamily="34" charset="0"/>
                        </a:rPr>
                        <a:t>Interest</a:t>
                      </a:r>
                      <a:r>
                        <a:rPr lang="da-DK" sz="1000" b="1" dirty="0">
                          <a:solidFill>
                            <a:schemeClr val="tx1"/>
                          </a:solidFill>
                          <a:latin typeface="Arial Narrow" panose="020B0606020202030204" pitchFamily="34" charset="0"/>
                        </a:rPr>
                        <a:t> organisations</a:t>
                      </a:r>
                    </a:p>
                  </a:txBody>
                  <a:tcPr marL="71991" marR="71991" marT="0" marB="0">
                    <a:solidFill>
                      <a:schemeClr val="bg1">
                        <a:lumMod val="85000"/>
                      </a:schemeClr>
                    </a:solidFill>
                  </a:tcPr>
                </a:tc>
                <a:tc>
                  <a:txBody>
                    <a:bodyPr/>
                    <a:lstStyle/>
                    <a:p>
                      <a:r>
                        <a:rPr lang="en-US" sz="1000" b="1" dirty="0">
                          <a:solidFill>
                            <a:schemeClr val="tx1"/>
                          </a:solidFill>
                          <a:latin typeface="Arial Narrow" panose="020B0606020202030204" pitchFamily="34" charset="0"/>
                        </a:rPr>
                        <a:t>Water Valley Denmark </a:t>
                      </a:r>
                      <a:endParaRPr lang="da-DK" sz="1000" b="1" dirty="0">
                        <a:solidFill>
                          <a:schemeClr val="tx1"/>
                        </a:solidFill>
                        <a:latin typeface="Arial Narrow" panose="020B0606020202030204" pitchFamily="34" charset="0"/>
                      </a:endParaRPr>
                    </a:p>
                  </a:txBody>
                  <a:tcPr marL="71991" marR="71991" marT="0" marB="0">
                    <a:solidFill>
                      <a:schemeClr val="bg1">
                        <a:lumMod val="85000"/>
                      </a:schemeClr>
                    </a:solidFill>
                  </a:tcPr>
                </a:tc>
                <a:tc>
                  <a:txBody>
                    <a:bodyPr/>
                    <a:lstStyle/>
                    <a:p>
                      <a:pPr algn="ctr"/>
                      <a:r>
                        <a:rPr lang="da-DK" sz="1000" b="1" dirty="0">
                          <a:solidFill>
                            <a:schemeClr val="tx1"/>
                          </a:solidFill>
                          <a:latin typeface="Arial Narrow" panose="020B0606020202030204" pitchFamily="34" charset="0"/>
                        </a:rPr>
                        <a:t>X</a:t>
                      </a:r>
                    </a:p>
                  </a:txBody>
                  <a:tcPr marL="71991" marR="71991" marT="0" marB="0">
                    <a:solidFill>
                      <a:schemeClr val="bg1">
                        <a:lumMod val="85000"/>
                      </a:schemeClr>
                    </a:solidFill>
                  </a:tcPr>
                </a:tc>
                <a:tc>
                  <a:txBody>
                    <a:bodyPr/>
                    <a:lstStyle/>
                    <a:p>
                      <a:pPr algn="ctr"/>
                      <a:r>
                        <a:rPr lang="da-DK" sz="1000" b="1" dirty="0">
                          <a:solidFill>
                            <a:schemeClr val="tx1"/>
                          </a:solidFill>
                          <a:latin typeface="Arial Narrow" panose="020B0606020202030204" pitchFamily="34" charset="0"/>
                        </a:rPr>
                        <a:t>X</a:t>
                      </a:r>
                    </a:p>
                  </a:txBody>
                  <a:tcPr marL="71991" marR="71991" marT="0" marB="0">
                    <a:solidFill>
                      <a:schemeClr val="bg1">
                        <a:lumMod val="85000"/>
                      </a:schemeClr>
                    </a:solidFill>
                  </a:tcPr>
                </a:tc>
                <a:tc>
                  <a:txBody>
                    <a:bodyPr/>
                    <a:lstStyle/>
                    <a:p>
                      <a:pPr algn="ctr"/>
                      <a:r>
                        <a:rPr lang="da-DK" sz="1000" b="1" dirty="0">
                          <a:solidFill>
                            <a:schemeClr val="tx1"/>
                          </a:solidFill>
                          <a:latin typeface="Arial Narrow" panose="020B0606020202030204" pitchFamily="34" charset="0"/>
                        </a:rPr>
                        <a:t>X</a:t>
                      </a:r>
                    </a:p>
                  </a:txBody>
                  <a:tcPr marL="71991" marR="71991" marT="0" marB="0">
                    <a:solidFill>
                      <a:schemeClr val="bg1">
                        <a:lumMod val="85000"/>
                      </a:schemeClr>
                    </a:solidFill>
                  </a:tcPr>
                </a:tc>
                <a:tc>
                  <a:txBody>
                    <a:bodyPr/>
                    <a:lstStyle/>
                    <a:p>
                      <a:pPr algn="ctr"/>
                      <a:r>
                        <a:rPr lang="da-DK" sz="1000" b="1" dirty="0">
                          <a:solidFill>
                            <a:schemeClr val="tx1"/>
                          </a:solidFill>
                          <a:latin typeface="Arial Narrow" panose="020B0606020202030204" pitchFamily="34" charset="0"/>
                        </a:rPr>
                        <a:t>X</a:t>
                      </a:r>
                    </a:p>
                  </a:txBody>
                  <a:tcPr marL="71991" marR="71991" marT="0" marB="0">
                    <a:solidFill>
                      <a:schemeClr val="bg1">
                        <a:lumMod val="85000"/>
                      </a:schemeClr>
                    </a:solidFill>
                  </a:tcPr>
                </a:tc>
                <a:tc>
                  <a:txBody>
                    <a:bodyPr/>
                    <a:lstStyle/>
                    <a:p>
                      <a:pPr algn="ctr"/>
                      <a:r>
                        <a:rPr lang="da-DK" sz="1000" b="1" dirty="0">
                          <a:solidFill>
                            <a:schemeClr val="tx1"/>
                          </a:solidFill>
                          <a:latin typeface="Arial Narrow" panose="020B0606020202030204" pitchFamily="34" charset="0"/>
                        </a:rPr>
                        <a:t>X</a:t>
                      </a:r>
                    </a:p>
                  </a:txBody>
                  <a:tcPr marL="71991" marR="71991" marT="0" marB="0">
                    <a:solidFill>
                      <a:schemeClr val="bg1">
                        <a:lumMod val="85000"/>
                      </a:schemeClr>
                    </a:solidFill>
                  </a:tcPr>
                </a:tc>
                <a:extLst>
                  <a:ext uri="{0D108BD9-81ED-4DB2-BD59-A6C34878D82A}">
                    <a16:rowId xmlns:a16="http://schemas.microsoft.com/office/drawing/2014/main" val="1384351764"/>
                  </a:ext>
                </a:extLst>
              </a:tr>
              <a:tr h="161979">
                <a:tc vMerge="1">
                  <a:txBody>
                    <a:bodyPr/>
                    <a:lstStyle/>
                    <a:p>
                      <a:endParaRPr lang="da-DK" sz="800" dirty="0">
                        <a:solidFill>
                          <a:schemeClr val="tx1"/>
                        </a:solidFill>
                      </a:endParaRPr>
                    </a:p>
                  </a:txBody>
                  <a:tcPr marL="72000" marR="72000" marT="0" marB="0">
                    <a:solidFill>
                      <a:schemeClr val="bg1"/>
                    </a:solidFill>
                  </a:tcPr>
                </a:tc>
                <a:tc>
                  <a:txBody>
                    <a:bodyPr/>
                    <a:lstStyle/>
                    <a:p>
                      <a:r>
                        <a:rPr lang="en-US" sz="1000" b="1" dirty="0">
                          <a:solidFill>
                            <a:schemeClr val="tx1"/>
                          </a:solidFill>
                          <a:latin typeface="Arial Narrow" panose="020B0606020202030204" pitchFamily="34" charset="0"/>
                        </a:rPr>
                        <a:t>CLEAN</a:t>
                      </a:r>
                      <a:endParaRPr lang="da-DK" sz="1000" b="1" dirty="0">
                        <a:solidFill>
                          <a:schemeClr val="tx1"/>
                        </a:solidFill>
                        <a:latin typeface="Arial Narrow" panose="020B0606020202030204" pitchFamily="34" charset="0"/>
                      </a:endParaRPr>
                    </a:p>
                  </a:txBody>
                  <a:tcPr marL="71991" marR="71991" marT="0" marB="0">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a-DK" sz="1000" b="1" dirty="0">
                        <a:solidFill>
                          <a:schemeClr val="tx1"/>
                        </a:solidFill>
                        <a:latin typeface="Arial Narrow" panose="020B0606020202030204" pitchFamily="34" charset="0"/>
                      </a:endParaRPr>
                    </a:p>
                  </a:txBody>
                  <a:tcPr marL="71991" marR="71991" marT="0" marB="0">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000" b="1" dirty="0">
                          <a:solidFill>
                            <a:schemeClr val="tx1"/>
                          </a:solidFill>
                          <a:latin typeface="Arial Narrow" panose="020B0606020202030204" pitchFamily="34" charset="0"/>
                        </a:rPr>
                        <a:t>X</a:t>
                      </a:r>
                    </a:p>
                  </a:txBody>
                  <a:tcPr marL="71991" marR="71991" marT="0" marB="0">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000" b="1" dirty="0">
                          <a:solidFill>
                            <a:schemeClr val="tx1"/>
                          </a:solidFill>
                          <a:latin typeface="Arial Narrow" panose="020B0606020202030204" pitchFamily="34" charset="0"/>
                        </a:rPr>
                        <a:t>X</a:t>
                      </a:r>
                    </a:p>
                  </a:txBody>
                  <a:tcPr marL="71991" marR="71991" marT="0" marB="0">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a-DK" sz="1000" b="1" dirty="0">
                        <a:solidFill>
                          <a:schemeClr val="tx1"/>
                        </a:solidFill>
                        <a:latin typeface="Arial Narrow" panose="020B0606020202030204" pitchFamily="34" charset="0"/>
                      </a:endParaRPr>
                    </a:p>
                  </a:txBody>
                  <a:tcPr marL="71991" marR="71991" marT="0" marB="0">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a-DK" sz="1000" b="1" dirty="0">
                        <a:solidFill>
                          <a:schemeClr val="tx1"/>
                        </a:solidFill>
                        <a:latin typeface="Arial Narrow" panose="020B0606020202030204" pitchFamily="34" charset="0"/>
                      </a:endParaRPr>
                    </a:p>
                  </a:txBody>
                  <a:tcPr marL="71991" marR="71991" marT="0" marB="0">
                    <a:noFill/>
                  </a:tcPr>
                </a:tc>
                <a:extLst>
                  <a:ext uri="{0D108BD9-81ED-4DB2-BD59-A6C34878D82A}">
                    <a16:rowId xmlns:a16="http://schemas.microsoft.com/office/drawing/2014/main" val="4012306135"/>
                  </a:ext>
                </a:extLst>
              </a:tr>
              <a:tr h="161979">
                <a:tc vMerge="1">
                  <a:txBody>
                    <a:bodyPr/>
                    <a:lstStyle/>
                    <a:p>
                      <a:endParaRPr lang="da-DK" sz="800" dirty="0">
                        <a:solidFill>
                          <a:schemeClr val="tx1"/>
                        </a:solidFill>
                      </a:endParaRPr>
                    </a:p>
                  </a:txBody>
                  <a:tcPr marL="72000" marR="72000" marT="0" marB="0">
                    <a:solidFill>
                      <a:schemeClr val="bg1"/>
                    </a:solidFill>
                  </a:tcPr>
                </a:tc>
                <a:tc>
                  <a:txBody>
                    <a:bodyPr/>
                    <a:lstStyle/>
                    <a:p>
                      <a:r>
                        <a:rPr lang="en-US" sz="1000" b="1" dirty="0" err="1">
                          <a:solidFill>
                            <a:schemeClr val="tx1"/>
                          </a:solidFill>
                          <a:latin typeface="Arial Narrow" panose="020B0606020202030204" pitchFamily="34" charset="0"/>
                        </a:rPr>
                        <a:t>Erhvervsfyrtårn</a:t>
                      </a:r>
                      <a:r>
                        <a:rPr lang="en-US" sz="1000" b="1" dirty="0">
                          <a:solidFill>
                            <a:schemeClr val="tx1"/>
                          </a:solidFill>
                          <a:latin typeface="Arial Narrow" panose="020B0606020202030204" pitchFamily="34" charset="0"/>
                        </a:rPr>
                        <a:t> for </a:t>
                      </a:r>
                      <a:r>
                        <a:rPr lang="en-US" sz="1000" b="1" dirty="0" err="1">
                          <a:solidFill>
                            <a:schemeClr val="tx1"/>
                          </a:solidFill>
                          <a:latin typeface="Arial Narrow" panose="020B0606020202030204" pitchFamily="34" charset="0"/>
                        </a:rPr>
                        <a:t>vandteknologi</a:t>
                      </a:r>
                      <a:r>
                        <a:rPr lang="en-US" sz="1000" b="1" dirty="0">
                          <a:solidFill>
                            <a:schemeClr val="tx1"/>
                          </a:solidFill>
                          <a:latin typeface="Arial Narrow" panose="020B0606020202030204" pitchFamily="34" charset="0"/>
                        </a:rPr>
                        <a:t> </a:t>
                      </a:r>
                      <a:endParaRPr lang="da-DK" sz="1000" b="1" dirty="0">
                        <a:solidFill>
                          <a:schemeClr val="tx1"/>
                        </a:solidFill>
                        <a:latin typeface="Arial Narrow" panose="020B0606020202030204" pitchFamily="34" charset="0"/>
                      </a:endParaRPr>
                    </a:p>
                  </a:txBody>
                  <a:tcPr marL="71991" marR="71991" marT="0" marB="0">
                    <a:noFill/>
                  </a:tcPr>
                </a:tc>
                <a:tc>
                  <a:txBody>
                    <a:bodyPr/>
                    <a:lstStyle/>
                    <a:p>
                      <a:pPr algn="ctr"/>
                      <a:endParaRPr lang="da-DK" sz="1000" b="1" dirty="0">
                        <a:solidFill>
                          <a:schemeClr val="tx1"/>
                        </a:solidFill>
                        <a:latin typeface="Arial Narrow" panose="020B0606020202030204" pitchFamily="34" charset="0"/>
                      </a:endParaRPr>
                    </a:p>
                  </a:txBody>
                  <a:tcPr marL="71991" marR="71991" marT="0" marB="0">
                    <a:noFill/>
                  </a:tcPr>
                </a:tc>
                <a:tc>
                  <a:txBody>
                    <a:bodyPr/>
                    <a:lstStyle/>
                    <a:p>
                      <a:pPr algn="ctr"/>
                      <a:r>
                        <a:rPr lang="da-DK" sz="1000" b="1" dirty="0">
                          <a:solidFill>
                            <a:schemeClr val="tx1"/>
                          </a:solidFill>
                          <a:latin typeface="Arial Narrow" panose="020B0606020202030204" pitchFamily="34" charset="0"/>
                        </a:rPr>
                        <a:t>X</a:t>
                      </a:r>
                    </a:p>
                  </a:txBody>
                  <a:tcPr marL="71991" marR="71991" marT="0" marB="0">
                    <a:noFill/>
                  </a:tcPr>
                </a:tc>
                <a:tc>
                  <a:txBody>
                    <a:bodyPr/>
                    <a:lstStyle/>
                    <a:p>
                      <a:pPr algn="ctr"/>
                      <a:r>
                        <a:rPr lang="da-DK" sz="1000" b="1" dirty="0">
                          <a:solidFill>
                            <a:schemeClr val="tx1"/>
                          </a:solidFill>
                          <a:latin typeface="Arial Narrow" panose="020B0606020202030204" pitchFamily="34" charset="0"/>
                        </a:rPr>
                        <a:t>X</a:t>
                      </a:r>
                    </a:p>
                  </a:txBody>
                  <a:tcPr marL="71991" marR="71991" marT="0" marB="0">
                    <a:noFill/>
                  </a:tcPr>
                </a:tc>
                <a:tc>
                  <a:txBody>
                    <a:bodyPr/>
                    <a:lstStyle/>
                    <a:p>
                      <a:pPr algn="ctr"/>
                      <a:endParaRPr lang="da-DK" sz="1000" b="1" dirty="0">
                        <a:solidFill>
                          <a:schemeClr val="tx1"/>
                        </a:solidFill>
                        <a:latin typeface="Arial Narrow" panose="020B0606020202030204" pitchFamily="34" charset="0"/>
                      </a:endParaRPr>
                    </a:p>
                  </a:txBody>
                  <a:tcPr marL="71991" marR="71991" marT="0" marB="0">
                    <a:noFill/>
                  </a:tcPr>
                </a:tc>
                <a:tc>
                  <a:txBody>
                    <a:bodyPr/>
                    <a:lstStyle/>
                    <a:p>
                      <a:pPr algn="ctr"/>
                      <a:endParaRPr lang="da-DK" sz="1000" b="1" dirty="0">
                        <a:solidFill>
                          <a:schemeClr val="tx1"/>
                        </a:solidFill>
                        <a:latin typeface="Arial Narrow" panose="020B0606020202030204" pitchFamily="34" charset="0"/>
                      </a:endParaRPr>
                    </a:p>
                  </a:txBody>
                  <a:tcPr marL="71991" marR="71991" marT="0" marB="0">
                    <a:noFill/>
                  </a:tcPr>
                </a:tc>
                <a:extLst>
                  <a:ext uri="{0D108BD9-81ED-4DB2-BD59-A6C34878D82A}">
                    <a16:rowId xmlns:a16="http://schemas.microsoft.com/office/drawing/2014/main" val="2658459900"/>
                  </a:ext>
                </a:extLst>
              </a:tr>
              <a:tr h="161979">
                <a:tc vMerge="1">
                  <a:txBody>
                    <a:bodyPr/>
                    <a:lstStyle/>
                    <a:p>
                      <a:endParaRPr lang="da-DK" sz="700" dirty="0">
                        <a:solidFill>
                          <a:schemeClr val="tx1"/>
                        </a:solidFill>
                      </a:endParaRPr>
                    </a:p>
                  </a:txBody>
                  <a:tcPr marL="72000" marR="72000" marT="0" marB="0">
                    <a:solidFill>
                      <a:schemeClr val="bg1">
                        <a:lumMod val="85000"/>
                      </a:schemeClr>
                    </a:solidFill>
                  </a:tcPr>
                </a:tc>
                <a:tc>
                  <a:txBody>
                    <a:bodyPr/>
                    <a:lstStyle/>
                    <a:p>
                      <a:r>
                        <a:rPr lang="da-DK" sz="1000" b="1" dirty="0">
                          <a:solidFill>
                            <a:schemeClr val="tx1"/>
                          </a:solidFill>
                          <a:latin typeface="Arial Narrow" panose="020B0606020202030204" pitchFamily="34" charset="0"/>
                        </a:rPr>
                        <a:t>DANVA, Danske Vandværker</a:t>
                      </a:r>
                    </a:p>
                  </a:txBody>
                  <a:tcPr marL="71991" marR="71991" marT="0" marB="0">
                    <a:solidFill>
                      <a:schemeClr val="bg1">
                        <a:lumMod val="85000"/>
                      </a:schemeClr>
                    </a:solidFill>
                  </a:tcPr>
                </a:tc>
                <a:tc>
                  <a:txBody>
                    <a:bodyPr/>
                    <a:lstStyle/>
                    <a:p>
                      <a:pPr algn="ctr"/>
                      <a:r>
                        <a:rPr lang="da-DK" sz="1000" b="1" dirty="0">
                          <a:solidFill>
                            <a:schemeClr val="tx1"/>
                          </a:solidFill>
                          <a:latin typeface="Arial Narrow" panose="020B0606020202030204" pitchFamily="34" charset="0"/>
                        </a:rPr>
                        <a:t>X</a:t>
                      </a:r>
                    </a:p>
                  </a:txBody>
                  <a:tcPr marL="71991" marR="71991" marT="0" marB="0">
                    <a:solidFill>
                      <a:schemeClr val="bg1">
                        <a:lumMod val="85000"/>
                      </a:schemeClr>
                    </a:solidFill>
                  </a:tcPr>
                </a:tc>
                <a:tc>
                  <a:txBody>
                    <a:bodyPr/>
                    <a:lstStyle/>
                    <a:p>
                      <a:pPr algn="ctr"/>
                      <a:r>
                        <a:rPr lang="da-DK" sz="1000" b="1" dirty="0">
                          <a:solidFill>
                            <a:schemeClr val="tx1"/>
                          </a:solidFill>
                          <a:latin typeface="Arial Narrow" panose="020B0606020202030204" pitchFamily="34" charset="0"/>
                        </a:rPr>
                        <a:t>X</a:t>
                      </a:r>
                    </a:p>
                  </a:txBody>
                  <a:tcPr marL="71991" marR="71991" marT="0" marB="0">
                    <a:solidFill>
                      <a:schemeClr val="bg1">
                        <a:lumMod val="85000"/>
                      </a:schemeClr>
                    </a:solidFill>
                  </a:tcPr>
                </a:tc>
                <a:tc>
                  <a:txBody>
                    <a:bodyPr/>
                    <a:lstStyle/>
                    <a:p>
                      <a:pPr algn="ctr"/>
                      <a:endParaRPr lang="da-DK" sz="1000" b="1" dirty="0">
                        <a:solidFill>
                          <a:schemeClr val="tx1"/>
                        </a:solidFill>
                        <a:latin typeface="Arial Narrow" panose="020B0606020202030204" pitchFamily="34" charset="0"/>
                      </a:endParaRPr>
                    </a:p>
                  </a:txBody>
                  <a:tcPr marL="71991" marR="71991" marT="0" marB="0">
                    <a:noFill/>
                  </a:tcPr>
                </a:tc>
                <a:tc>
                  <a:txBody>
                    <a:bodyPr/>
                    <a:lstStyle/>
                    <a:p>
                      <a:pPr algn="ctr"/>
                      <a:r>
                        <a:rPr lang="da-DK" sz="1000" b="1" dirty="0">
                          <a:solidFill>
                            <a:schemeClr val="tx1"/>
                          </a:solidFill>
                          <a:latin typeface="Arial Narrow" panose="020B0606020202030204" pitchFamily="34" charset="0"/>
                        </a:rPr>
                        <a:t>X</a:t>
                      </a:r>
                    </a:p>
                  </a:txBody>
                  <a:tcPr marL="71991" marR="71991" marT="0" marB="0">
                    <a:solidFill>
                      <a:schemeClr val="bg1">
                        <a:lumMod val="85000"/>
                      </a:schemeClr>
                    </a:solidFill>
                  </a:tcPr>
                </a:tc>
                <a:tc>
                  <a:txBody>
                    <a:bodyPr/>
                    <a:lstStyle/>
                    <a:p>
                      <a:pPr algn="ctr"/>
                      <a:r>
                        <a:rPr lang="da-DK" sz="1000" b="1" dirty="0">
                          <a:solidFill>
                            <a:schemeClr val="tx1"/>
                          </a:solidFill>
                          <a:latin typeface="Arial Narrow" panose="020B0606020202030204" pitchFamily="34" charset="0"/>
                        </a:rPr>
                        <a:t>X</a:t>
                      </a:r>
                    </a:p>
                  </a:txBody>
                  <a:tcPr marL="71991" marR="71991" marT="0" marB="0">
                    <a:solidFill>
                      <a:schemeClr val="bg1">
                        <a:lumMod val="85000"/>
                      </a:schemeClr>
                    </a:solidFill>
                  </a:tcPr>
                </a:tc>
                <a:extLst>
                  <a:ext uri="{0D108BD9-81ED-4DB2-BD59-A6C34878D82A}">
                    <a16:rowId xmlns:a16="http://schemas.microsoft.com/office/drawing/2014/main" val="731977586"/>
                  </a:ext>
                </a:extLst>
              </a:tr>
              <a:tr h="161979">
                <a:tc vMerge="1">
                  <a:txBody>
                    <a:bodyPr/>
                    <a:lstStyle/>
                    <a:p>
                      <a:endParaRPr lang="en-US"/>
                    </a:p>
                  </a:txBody>
                  <a:tcPr/>
                </a:tc>
                <a:tc>
                  <a:txBody>
                    <a:bodyPr/>
                    <a:lstStyle/>
                    <a:p>
                      <a:r>
                        <a:rPr lang="da-DK" sz="1000" b="1" dirty="0">
                          <a:solidFill>
                            <a:schemeClr val="tx1"/>
                          </a:solidFill>
                          <a:latin typeface="Arial Narrow" panose="020B0606020202030204" pitchFamily="34" charset="0"/>
                        </a:rPr>
                        <a:t>Kommunernes Landsforening (KL) and Danske Regioner</a:t>
                      </a:r>
                    </a:p>
                  </a:txBody>
                  <a:tcPr marL="71991" marR="71991" marT="0" marB="0">
                    <a:solidFill>
                      <a:schemeClr val="accent5"/>
                    </a:solidFill>
                  </a:tcPr>
                </a:tc>
                <a:tc>
                  <a:txBody>
                    <a:bodyPr/>
                    <a:lstStyle/>
                    <a:p>
                      <a:pPr algn="ctr"/>
                      <a:endParaRPr lang="da-DK" sz="1000" b="1" dirty="0">
                        <a:solidFill>
                          <a:schemeClr val="tx1"/>
                        </a:solidFill>
                        <a:latin typeface="Arial Narrow" panose="020B0606020202030204" pitchFamily="34" charset="0"/>
                      </a:endParaRPr>
                    </a:p>
                  </a:txBody>
                  <a:tcPr marL="71991" marR="71991" marT="0" marB="0">
                    <a:noFill/>
                  </a:tcPr>
                </a:tc>
                <a:tc>
                  <a:txBody>
                    <a:bodyPr/>
                    <a:lstStyle/>
                    <a:p>
                      <a:pPr algn="ctr"/>
                      <a:endParaRPr lang="da-DK" sz="1000" b="1" dirty="0">
                        <a:solidFill>
                          <a:schemeClr val="tx1"/>
                        </a:solidFill>
                        <a:latin typeface="Arial Narrow" panose="020B0606020202030204" pitchFamily="34" charset="0"/>
                      </a:endParaRPr>
                    </a:p>
                  </a:txBody>
                  <a:tcPr marL="71991" marR="71991" marT="0" marB="0">
                    <a:noFill/>
                  </a:tcPr>
                </a:tc>
                <a:tc>
                  <a:txBody>
                    <a:bodyPr/>
                    <a:lstStyle/>
                    <a:p>
                      <a:pPr algn="ctr"/>
                      <a:endParaRPr lang="da-DK" sz="1000" b="1" dirty="0">
                        <a:solidFill>
                          <a:schemeClr val="tx1"/>
                        </a:solidFill>
                        <a:latin typeface="Arial Narrow" panose="020B0606020202030204" pitchFamily="34" charset="0"/>
                      </a:endParaRPr>
                    </a:p>
                  </a:txBody>
                  <a:tcPr marL="71991" marR="71991" marT="0" marB="0">
                    <a:noFill/>
                  </a:tcPr>
                </a:tc>
                <a:tc>
                  <a:txBody>
                    <a:bodyPr/>
                    <a:lstStyle/>
                    <a:p>
                      <a:pPr algn="ctr"/>
                      <a:endParaRPr lang="da-DK" sz="1000" b="1" dirty="0">
                        <a:solidFill>
                          <a:schemeClr val="tx1"/>
                        </a:solidFill>
                        <a:latin typeface="Arial Narrow" panose="020B0606020202030204" pitchFamily="34" charset="0"/>
                      </a:endParaRPr>
                    </a:p>
                  </a:txBody>
                  <a:tcPr marL="71991" marR="71991" marT="0" marB="0">
                    <a:noFill/>
                  </a:tcPr>
                </a:tc>
                <a:tc>
                  <a:txBody>
                    <a:bodyPr/>
                    <a:lstStyle/>
                    <a:p>
                      <a:pPr algn="ctr"/>
                      <a:r>
                        <a:rPr lang="da-DK" sz="1000" b="1" dirty="0">
                          <a:solidFill>
                            <a:schemeClr val="tx1"/>
                          </a:solidFill>
                          <a:latin typeface="Arial Narrow" panose="020B0606020202030204" pitchFamily="34" charset="0"/>
                        </a:rPr>
                        <a:t>X</a:t>
                      </a:r>
                    </a:p>
                  </a:txBody>
                  <a:tcPr marL="71991" marR="71991" marT="0" marB="0">
                    <a:solidFill>
                      <a:schemeClr val="accent5"/>
                    </a:solidFill>
                  </a:tcPr>
                </a:tc>
                <a:extLst>
                  <a:ext uri="{0D108BD9-81ED-4DB2-BD59-A6C34878D82A}">
                    <a16:rowId xmlns:a16="http://schemas.microsoft.com/office/drawing/2014/main" val="1251384654"/>
                  </a:ext>
                </a:extLst>
              </a:tr>
              <a:tr h="161979">
                <a:tc vMerge="1">
                  <a:txBody>
                    <a:bodyPr/>
                    <a:lstStyle/>
                    <a:p>
                      <a:endParaRPr lang="da-DK" sz="700" dirty="0">
                        <a:solidFill>
                          <a:schemeClr val="tx1"/>
                        </a:solidFill>
                      </a:endParaRPr>
                    </a:p>
                  </a:txBody>
                  <a:tcPr marL="72000" marR="72000" marT="0" marB="0">
                    <a:solidFill>
                      <a:schemeClr val="bg1">
                        <a:lumMod val="85000"/>
                      </a:schemeClr>
                    </a:solidFill>
                  </a:tcPr>
                </a:tc>
                <a:tc>
                  <a:txBody>
                    <a:bodyPr/>
                    <a:lstStyle/>
                    <a:p>
                      <a:r>
                        <a:rPr lang="da-DK" sz="1000" b="1" dirty="0">
                          <a:solidFill>
                            <a:schemeClr val="tx1"/>
                          </a:solidFill>
                          <a:latin typeface="Arial Narrow" panose="020B0606020202030204" pitchFamily="34" charset="0"/>
                        </a:rPr>
                        <a:t>DI Vand, Dansk Miljøteknologi</a:t>
                      </a:r>
                    </a:p>
                  </a:txBody>
                  <a:tcPr marL="71991" marR="71991" marT="0" marB="0">
                    <a:noFill/>
                  </a:tcPr>
                </a:tc>
                <a:tc>
                  <a:txBody>
                    <a:bodyPr/>
                    <a:lstStyle/>
                    <a:p>
                      <a:pPr algn="ctr"/>
                      <a:endParaRPr lang="da-DK" sz="1000" b="1" dirty="0">
                        <a:solidFill>
                          <a:schemeClr val="tx1"/>
                        </a:solidFill>
                        <a:latin typeface="Arial Narrow" panose="020B0606020202030204" pitchFamily="34" charset="0"/>
                      </a:endParaRPr>
                    </a:p>
                  </a:txBody>
                  <a:tcPr marL="71991" marR="71991" marT="0" marB="0">
                    <a:noFill/>
                  </a:tcPr>
                </a:tc>
                <a:tc>
                  <a:txBody>
                    <a:bodyPr/>
                    <a:lstStyle/>
                    <a:p>
                      <a:pPr algn="ctr"/>
                      <a:r>
                        <a:rPr lang="da-DK" sz="1000" b="1" dirty="0">
                          <a:solidFill>
                            <a:schemeClr val="tx1"/>
                          </a:solidFill>
                          <a:latin typeface="Arial Narrow" panose="020B0606020202030204" pitchFamily="34" charset="0"/>
                        </a:rPr>
                        <a:t>X</a:t>
                      </a:r>
                    </a:p>
                  </a:txBody>
                  <a:tcPr marL="71991" marR="71991" marT="0" marB="0">
                    <a:noFill/>
                  </a:tcPr>
                </a:tc>
                <a:tc>
                  <a:txBody>
                    <a:bodyPr/>
                    <a:lstStyle/>
                    <a:p>
                      <a:pPr algn="ctr"/>
                      <a:endParaRPr lang="da-DK" sz="1000" b="1" dirty="0">
                        <a:solidFill>
                          <a:schemeClr val="tx1"/>
                        </a:solidFill>
                        <a:latin typeface="Arial Narrow" panose="020B0606020202030204" pitchFamily="34" charset="0"/>
                      </a:endParaRPr>
                    </a:p>
                  </a:txBody>
                  <a:tcPr marL="71991" marR="71991" marT="0" marB="0">
                    <a:noFill/>
                  </a:tcPr>
                </a:tc>
                <a:tc>
                  <a:txBody>
                    <a:bodyPr/>
                    <a:lstStyle/>
                    <a:p>
                      <a:pPr algn="ctr"/>
                      <a:r>
                        <a:rPr lang="da-DK" sz="1000" b="1" dirty="0">
                          <a:solidFill>
                            <a:schemeClr val="tx1"/>
                          </a:solidFill>
                          <a:latin typeface="Arial Narrow" panose="020B0606020202030204" pitchFamily="34" charset="0"/>
                        </a:rPr>
                        <a:t>X</a:t>
                      </a:r>
                    </a:p>
                  </a:txBody>
                  <a:tcPr marL="71991" marR="71991" marT="0" marB="0">
                    <a:noFill/>
                  </a:tcPr>
                </a:tc>
                <a:tc>
                  <a:txBody>
                    <a:bodyPr/>
                    <a:lstStyle/>
                    <a:p>
                      <a:pPr algn="ctr"/>
                      <a:r>
                        <a:rPr lang="da-DK" sz="1000" b="1" dirty="0">
                          <a:solidFill>
                            <a:schemeClr val="tx1"/>
                          </a:solidFill>
                          <a:latin typeface="Arial Narrow" panose="020B0606020202030204" pitchFamily="34" charset="0"/>
                        </a:rPr>
                        <a:t>X</a:t>
                      </a:r>
                    </a:p>
                  </a:txBody>
                  <a:tcPr marL="71991" marR="71991" marT="0" marB="0">
                    <a:noFill/>
                  </a:tcPr>
                </a:tc>
                <a:extLst>
                  <a:ext uri="{0D108BD9-81ED-4DB2-BD59-A6C34878D82A}">
                    <a16:rowId xmlns:a16="http://schemas.microsoft.com/office/drawing/2014/main" val="2543525720"/>
                  </a:ext>
                </a:extLst>
              </a:tr>
              <a:tr h="161979">
                <a:tc vMerge="1">
                  <a:txBody>
                    <a:bodyPr/>
                    <a:lstStyle/>
                    <a:p>
                      <a:endParaRPr lang="da-DK" sz="600" dirty="0">
                        <a:solidFill>
                          <a:schemeClr val="tx1"/>
                        </a:solidFill>
                      </a:endParaRPr>
                    </a:p>
                  </a:txBody>
                  <a:tcPr marL="72000" marR="72000" marT="0" marB="0">
                    <a:solidFill>
                      <a:schemeClr val="bg1">
                        <a:lumMod val="85000"/>
                      </a:schemeClr>
                    </a:solidFill>
                  </a:tcPr>
                </a:tc>
                <a:tc>
                  <a:txBody>
                    <a:bodyPr/>
                    <a:lstStyle/>
                    <a:p>
                      <a:r>
                        <a:rPr lang="da-DK" sz="1000" b="1" dirty="0" err="1">
                          <a:solidFill>
                            <a:schemeClr val="tx1"/>
                          </a:solidFill>
                          <a:latin typeface="Arial Narrow" panose="020B0606020202030204" pitchFamily="34" charset="0"/>
                        </a:rPr>
                        <a:t>NGOs</a:t>
                      </a:r>
                      <a:endParaRPr lang="da-DK" sz="1000" b="1" dirty="0">
                        <a:solidFill>
                          <a:schemeClr val="tx1"/>
                        </a:solidFill>
                        <a:latin typeface="Arial Narrow" panose="020B0606020202030204" pitchFamily="34" charset="0"/>
                      </a:endParaRPr>
                    </a:p>
                  </a:txBody>
                  <a:tcPr marL="71991" marR="71991" marT="0" marB="0">
                    <a:noFill/>
                  </a:tcPr>
                </a:tc>
                <a:tc>
                  <a:txBody>
                    <a:bodyPr/>
                    <a:lstStyle/>
                    <a:p>
                      <a:pPr algn="ctr"/>
                      <a:endParaRPr lang="da-DK" sz="1000" b="1" dirty="0">
                        <a:solidFill>
                          <a:schemeClr val="tx1"/>
                        </a:solidFill>
                        <a:latin typeface="Arial Narrow" panose="020B0606020202030204" pitchFamily="34" charset="0"/>
                      </a:endParaRPr>
                    </a:p>
                  </a:txBody>
                  <a:tcPr marL="71991" marR="71991" marT="0" marB="0">
                    <a:noFill/>
                  </a:tcPr>
                </a:tc>
                <a:tc>
                  <a:txBody>
                    <a:bodyPr/>
                    <a:lstStyle/>
                    <a:p>
                      <a:pPr algn="ctr"/>
                      <a:endParaRPr lang="da-DK" sz="1000" b="1" dirty="0">
                        <a:solidFill>
                          <a:schemeClr val="tx1"/>
                        </a:solidFill>
                        <a:latin typeface="Arial Narrow" panose="020B0606020202030204" pitchFamily="34" charset="0"/>
                      </a:endParaRPr>
                    </a:p>
                  </a:txBody>
                  <a:tcPr marL="71991" marR="71991" marT="0" marB="0">
                    <a:noFill/>
                  </a:tcPr>
                </a:tc>
                <a:tc>
                  <a:txBody>
                    <a:bodyPr/>
                    <a:lstStyle/>
                    <a:p>
                      <a:pPr algn="ctr"/>
                      <a:endParaRPr lang="da-DK" sz="1000" b="1" dirty="0">
                        <a:solidFill>
                          <a:schemeClr val="tx1"/>
                        </a:solidFill>
                        <a:latin typeface="Arial Narrow" panose="020B0606020202030204" pitchFamily="34" charset="0"/>
                      </a:endParaRPr>
                    </a:p>
                  </a:txBody>
                  <a:tcPr marL="71991" marR="71991" marT="0" marB="0">
                    <a:noFill/>
                  </a:tcPr>
                </a:tc>
                <a:tc>
                  <a:txBody>
                    <a:bodyPr/>
                    <a:lstStyle/>
                    <a:p>
                      <a:pPr algn="ctr"/>
                      <a:r>
                        <a:rPr lang="da-DK" sz="1000" b="1" dirty="0">
                          <a:solidFill>
                            <a:schemeClr val="tx1"/>
                          </a:solidFill>
                          <a:latin typeface="Arial Narrow" panose="020B0606020202030204" pitchFamily="34" charset="0"/>
                        </a:rPr>
                        <a:t>X</a:t>
                      </a:r>
                    </a:p>
                  </a:txBody>
                  <a:tcPr marL="71991" marR="71991" marT="0" marB="0">
                    <a:noFill/>
                  </a:tcPr>
                </a:tc>
                <a:tc>
                  <a:txBody>
                    <a:bodyPr/>
                    <a:lstStyle/>
                    <a:p>
                      <a:pPr algn="ctr"/>
                      <a:endParaRPr lang="da-DK" sz="1000" b="1" dirty="0">
                        <a:solidFill>
                          <a:schemeClr val="tx1"/>
                        </a:solidFill>
                        <a:latin typeface="Arial Narrow" panose="020B0606020202030204" pitchFamily="34" charset="0"/>
                      </a:endParaRPr>
                    </a:p>
                  </a:txBody>
                  <a:tcPr marL="71991" marR="71991" marT="0" marB="0">
                    <a:noFill/>
                  </a:tcPr>
                </a:tc>
                <a:extLst>
                  <a:ext uri="{0D108BD9-81ED-4DB2-BD59-A6C34878D82A}">
                    <a16:rowId xmlns:a16="http://schemas.microsoft.com/office/drawing/2014/main" val="975580706"/>
                  </a:ext>
                </a:extLst>
              </a:tr>
            </a:tbl>
          </a:graphicData>
        </a:graphic>
      </p:graphicFrame>
      <p:sp>
        <p:nvSpPr>
          <p:cNvPr id="5" name="Slide Number Placeholder 4"/>
          <p:cNvSpPr>
            <a:spLocks noGrp="1"/>
          </p:cNvSpPr>
          <p:nvPr>
            <p:ph type="sldNum" sz="quarter" idx="11"/>
          </p:nvPr>
        </p:nvSpPr>
        <p:spPr/>
        <p:txBody>
          <a:bodyPr/>
          <a:lstStyle/>
          <a:p>
            <a:pPr fontAlgn="base">
              <a:spcBef>
                <a:spcPct val="50000"/>
              </a:spcBef>
              <a:spcAft>
                <a:spcPct val="0"/>
              </a:spcAft>
              <a:defRPr/>
            </a:pPr>
            <a:fld id="{E5E41B73-686A-4B3D-84DF-F1CD458B39A2}" type="slidenum">
              <a:rPr lang="da-DK" sz="700">
                <a:solidFill>
                  <a:srgbClr val="FFFFFF"/>
                </a:solidFill>
                <a:latin typeface="Arial"/>
              </a:rPr>
              <a:pPr fontAlgn="base">
                <a:spcBef>
                  <a:spcPct val="50000"/>
                </a:spcBef>
                <a:spcAft>
                  <a:spcPct val="0"/>
                </a:spcAft>
                <a:defRPr/>
              </a:pPr>
              <a:t>23</a:t>
            </a:fld>
            <a:endParaRPr lang="da-DK" sz="700">
              <a:solidFill>
                <a:srgbClr val="FFFFFF"/>
              </a:solidFill>
              <a:latin typeface="Arial"/>
            </a:endParaRPr>
          </a:p>
        </p:txBody>
      </p:sp>
    </p:spTree>
    <p:extLst>
      <p:ext uri="{BB962C8B-B14F-4D97-AF65-F5344CB8AC3E}">
        <p14:creationId xmlns:p14="http://schemas.microsoft.com/office/powerpoint/2010/main" val="1292800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8BC739-44DB-B7B1-6DDC-4E74F6531F1E}"/>
              </a:ext>
            </a:extLst>
          </p:cNvPr>
          <p:cNvSpPr>
            <a:spLocks noGrp="1"/>
          </p:cNvSpPr>
          <p:nvPr>
            <p:ph type="title"/>
          </p:nvPr>
        </p:nvSpPr>
        <p:spPr>
          <a:xfrm>
            <a:off x="910630" y="-181500"/>
            <a:ext cx="10595820" cy="972716"/>
          </a:xfrm>
        </p:spPr>
        <p:txBody>
          <a:bodyPr/>
          <a:lstStyle/>
          <a:p>
            <a:r>
              <a:rPr lang="en-US" dirty="0"/>
              <a:t>Preliminary conclusions: multiverse transition pathways </a:t>
            </a:r>
            <a:endParaRPr lang="da-DK" dirty="0"/>
          </a:p>
        </p:txBody>
      </p:sp>
      <p:sp>
        <p:nvSpPr>
          <p:cNvPr id="6" name="Content Placeholder 5">
            <a:extLst>
              <a:ext uri="{FF2B5EF4-FFF2-40B4-BE49-F238E27FC236}">
                <a16:creationId xmlns:a16="http://schemas.microsoft.com/office/drawing/2014/main" id="{8EBDCBE7-D5CF-430D-DFE8-337813662003}"/>
              </a:ext>
            </a:extLst>
          </p:cNvPr>
          <p:cNvSpPr>
            <a:spLocks noGrp="1"/>
          </p:cNvSpPr>
          <p:nvPr>
            <p:ph idx="1"/>
          </p:nvPr>
        </p:nvSpPr>
        <p:spPr>
          <a:xfrm>
            <a:off x="838622" y="1052736"/>
            <a:ext cx="11100428" cy="5199170"/>
          </a:xfrm>
        </p:spPr>
        <p:txBody>
          <a:bodyPr/>
          <a:lstStyle/>
          <a:p>
            <a:r>
              <a:rPr lang="en-US" dirty="0"/>
              <a:t>The digital water transition is advancing through multiverse pathways  due to the following reasons:</a:t>
            </a:r>
          </a:p>
          <a:p>
            <a:pPr lvl="1"/>
            <a:r>
              <a:rPr lang="en-US" dirty="0"/>
              <a:t>Extreme fragmentation across water utilities: 1) different size and human capacities; 2)different data standardization; 3)different priorities; 4)different level/type of collaboration with companies, local and national authorities </a:t>
            </a:r>
          </a:p>
          <a:p>
            <a:pPr lvl="1"/>
            <a:r>
              <a:rPr lang="en-US" dirty="0"/>
              <a:t>There is a clear lack of common data standardization (different in the health sector where standards are set up at EU level) </a:t>
            </a:r>
          </a:p>
          <a:p>
            <a:pPr lvl="1"/>
            <a:r>
              <a:rPr lang="en-US" dirty="0"/>
              <a:t>Water utilities do not see value in sharing data with other utilities. It costs  money to make data sharable and there is no clear understanding on how that can support their work as it would be a new practice. </a:t>
            </a:r>
          </a:p>
          <a:p>
            <a:pPr lvl="1"/>
            <a:r>
              <a:rPr lang="en-US" dirty="0"/>
              <a:t>There is no common regulations, practices or infrastructures for governing data sharing</a:t>
            </a:r>
          </a:p>
          <a:p>
            <a:pPr lvl="1"/>
            <a:r>
              <a:rPr lang="en-US" dirty="0"/>
              <a:t>It might be problematic that the EU do not see water as a strategic sector in digitalization. There is need to make some lobbying in this direction if we want authorities and/or utilities to prioritize the creation of a water data space and to allocate funding to realize it.  </a:t>
            </a:r>
          </a:p>
          <a:p>
            <a:pPr lvl="1"/>
            <a:r>
              <a:rPr lang="en-US" dirty="0"/>
              <a:t>If things will not change in this direction, there is no incentive for water utilities and the water industries to share data – this will delay innovation for the digital and green transitions</a:t>
            </a:r>
          </a:p>
          <a:p>
            <a:pPr lvl="1"/>
            <a:r>
              <a:rPr lang="en-US" dirty="0"/>
              <a:t>Denmark is a small country and is already upfront in the digital transition. There is a need for common regulations, data standardizations and infrastructure for data sharing within and across the sectors to achieve the competitive advantage of the Danish Water Sector that the EU is aiming at. </a:t>
            </a:r>
          </a:p>
          <a:p>
            <a:pPr lvl="1"/>
            <a:endParaRPr lang="en-US" dirty="0"/>
          </a:p>
          <a:p>
            <a:pPr lvl="1"/>
            <a:endParaRPr lang="en-US" dirty="0"/>
          </a:p>
          <a:p>
            <a:endParaRPr lang="da-DK" dirty="0"/>
          </a:p>
        </p:txBody>
      </p:sp>
      <p:sp>
        <p:nvSpPr>
          <p:cNvPr id="4" name="Slide Number Placeholder 3">
            <a:extLst>
              <a:ext uri="{FF2B5EF4-FFF2-40B4-BE49-F238E27FC236}">
                <a16:creationId xmlns:a16="http://schemas.microsoft.com/office/drawing/2014/main" id="{7427ED68-CFB7-B165-5F5A-E35033693616}"/>
              </a:ext>
            </a:extLst>
          </p:cNvPr>
          <p:cNvSpPr>
            <a:spLocks noGrp="1"/>
          </p:cNvSpPr>
          <p:nvPr>
            <p:ph type="sldNum" sz="quarter" idx="11"/>
          </p:nvPr>
        </p:nvSpPr>
        <p:spPr/>
        <p:txBody>
          <a:bodyPr/>
          <a:lstStyle/>
          <a:p>
            <a:fld id="{103EA872-A674-449B-A120-B97244F8E91D}" type="slidenum">
              <a:rPr lang="da-DK" smtClean="0"/>
              <a:pPr/>
              <a:t>24</a:t>
            </a:fld>
            <a:endParaRPr lang="da-DK" dirty="0"/>
          </a:p>
        </p:txBody>
      </p:sp>
    </p:spTree>
    <p:extLst>
      <p:ext uri="{BB962C8B-B14F-4D97-AF65-F5344CB8AC3E}">
        <p14:creationId xmlns:p14="http://schemas.microsoft.com/office/powerpoint/2010/main" val="349252633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3E5FAD-5671-547E-DA88-D71252000DF7}"/>
              </a:ext>
            </a:extLst>
          </p:cNvPr>
          <p:cNvSpPr>
            <a:spLocks noGrp="1"/>
          </p:cNvSpPr>
          <p:nvPr>
            <p:ph type="title"/>
          </p:nvPr>
        </p:nvSpPr>
        <p:spPr>
          <a:xfrm>
            <a:off x="1126654" y="426127"/>
            <a:ext cx="9960446" cy="410585"/>
          </a:xfrm>
        </p:spPr>
        <p:txBody>
          <a:bodyPr/>
          <a:lstStyle/>
          <a:p>
            <a:r>
              <a:rPr lang="en-US" dirty="0"/>
              <a:t>Preliminary Conclusions: governing water data spaces </a:t>
            </a:r>
            <a:endParaRPr lang="da-DK" dirty="0"/>
          </a:p>
        </p:txBody>
      </p:sp>
      <p:sp>
        <p:nvSpPr>
          <p:cNvPr id="3" name="Content Placeholder 2">
            <a:extLst>
              <a:ext uri="{FF2B5EF4-FFF2-40B4-BE49-F238E27FC236}">
                <a16:creationId xmlns:a16="http://schemas.microsoft.com/office/drawing/2014/main" id="{641761A4-1F1C-3647-1BC1-BD4401E4B1C3}"/>
              </a:ext>
            </a:extLst>
          </p:cNvPr>
          <p:cNvSpPr>
            <a:spLocks noGrp="1"/>
          </p:cNvSpPr>
          <p:nvPr>
            <p:ph idx="1"/>
          </p:nvPr>
        </p:nvSpPr>
        <p:spPr>
          <a:xfrm>
            <a:off x="982638" y="1052736"/>
            <a:ext cx="10104462" cy="5199170"/>
          </a:xfrm>
        </p:spPr>
        <p:txBody>
          <a:bodyPr/>
          <a:lstStyle/>
          <a:p>
            <a:r>
              <a:rPr lang="en-US" dirty="0"/>
              <a:t>A data space is not a data repository, but a digital ecosystem of actors and technologies. A water data space should be organized through a specific infrastructure which makes data, which are placed in different places and owned by different actors, visible and accessible.</a:t>
            </a:r>
          </a:p>
          <a:p>
            <a:r>
              <a:rPr lang="en-US" dirty="0"/>
              <a:t> A data space should be clearly regulated to enable fair (but not necessarily free) data sharing practices across the large variety of actors involved in the design, operation, planning, development and innovation of water systems. </a:t>
            </a:r>
          </a:p>
          <a:p>
            <a:r>
              <a:rPr lang="en-US" dirty="0"/>
              <a:t>A data space should be managed by an intermediary actor with both IT capabilities and an official mandate to govern the data sharing infrastructure. </a:t>
            </a:r>
          </a:p>
          <a:p>
            <a:r>
              <a:rPr lang="en-US" dirty="0"/>
              <a:t>There could be more than one intermediaries but common data standardization and regulation for data sharing should still be enforced or </a:t>
            </a:r>
            <a:r>
              <a:rPr lang="en-US" dirty="0" err="1"/>
              <a:t>incetivized</a:t>
            </a:r>
            <a:r>
              <a:rPr lang="en-US" dirty="0"/>
              <a:t>.  </a:t>
            </a:r>
          </a:p>
          <a:p>
            <a:r>
              <a:rPr lang="en-US" dirty="0"/>
              <a:t>There is a need for setting up common data standardization nationally or at EU level – but in that case funding will have to be allocated for realizing that </a:t>
            </a:r>
          </a:p>
          <a:p>
            <a:r>
              <a:rPr lang="en-US" dirty="0"/>
              <a:t>It is not possible to understand fully the value creation of data sharing until you actually start sharing data </a:t>
            </a:r>
          </a:p>
          <a:p>
            <a:pPr lvl="1"/>
            <a:endParaRPr lang="en-US" dirty="0"/>
          </a:p>
          <a:p>
            <a:endParaRPr lang="en-US" dirty="0"/>
          </a:p>
          <a:p>
            <a:endParaRPr lang="da-DK" dirty="0"/>
          </a:p>
        </p:txBody>
      </p:sp>
      <p:sp>
        <p:nvSpPr>
          <p:cNvPr id="4" name="Footer Placeholder 3">
            <a:extLst>
              <a:ext uri="{FF2B5EF4-FFF2-40B4-BE49-F238E27FC236}">
                <a16:creationId xmlns:a16="http://schemas.microsoft.com/office/drawing/2014/main" id="{4CF02BC1-EFA6-9FE0-04E1-A937BB4570C2}"/>
              </a:ext>
            </a:extLst>
          </p:cNvPr>
          <p:cNvSpPr>
            <a:spLocks noGrp="1"/>
          </p:cNvSpPr>
          <p:nvPr>
            <p:ph type="ftr" sz="quarter" idx="10"/>
          </p:nvPr>
        </p:nvSpPr>
        <p:spPr/>
        <p:txBody>
          <a:bodyPr/>
          <a:lstStyle/>
          <a:p>
            <a:endParaRPr lang="da-DK" dirty="0"/>
          </a:p>
        </p:txBody>
      </p:sp>
      <p:sp>
        <p:nvSpPr>
          <p:cNvPr id="5" name="Slide Number Placeholder 4">
            <a:extLst>
              <a:ext uri="{FF2B5EF4-FFF2-40B4-BE49-F238E27FC236}">
                <a16:creationId xmlns:a16="http://schemas.microsoft.com/office/drawing/2014/main" id="{25231C03-A63B-48F9-F937-63ECC20B25D3}"/>
              </a:ext>
            </a:extLst>
          </p:cNvPr>
          <p:cNvSpPr>
            <a:spLocks noGrp="1"/>
          </p:cNvSpPr>
          <p:nvPr>
            <p:ph type="sldNum" sz="quarter" idx="11"/>
          </p:nvPr>
        </p:nvSpPr>
        <p:spPr/>
        <p:txBody>
          <a:bodyPr/>
          <a:lstStyle/>
          <a:p>
            <a:fld id="{103EA872-A674-449B-A120-B97244F8E91D}" type="slidenum">
              <a:rPr lang="da-DK" smtClean="0"/>
              <a:pPr/>
              <a:t>25</a:t>
            </a:fld>
            <a:endParaRPr lang="da-DK" dirty="0"/>
          </a:p>
        </p:txBody>
      </p:sp>
    </p:spTree>
    <p:extLst>
      <p:ext uri="{BB962C8B-B14F-4D97-AF65-F5344CB8AC3E}">
        <p14:creationId xmlns:p14="http://schemas.microsoft.com/office/powerpoint/2010/main" val="161224397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36B1CD-39B3-F4D9-05BF-A7D825656214}"/>
              </a:ext>
            </a:extLst>
          </p:cNvPr>
          <p:cNvSpPr>
            <a:spLocks noGrp="1"/>
          </p:cNvSpPr>
          <p:nvPr>
            <p:ph type="title"/>
          </p:nvPr>
        </p:nvSpPr>
        <p:spPr>
          <a:xfrm>
            <a:off x="838622" y="128130"/>
            <a:ext cx="10811844" cy="972716"/>
          </a:xfrm>
        </p:spPr>
        <p:txBody>
          <a:bodyPr/>
          <a:lstStyle/>
          <a:p>
            <a:r>
              <a:rPr lang="en-GB" sz="2800" dirty="0"/>
              <a:t>Governance challenges regarding the Twin Water Transitions in between systemic and place-making dynamics</a:t>
            </a:r>
            <a:endParaRPr lang="da-DK" sz="2800" dirty="0"/>
          </a:p>
        </p:txBody>
      </p:sp>
      <p:sp>
        <p:nvSpPr>
          <p:cNvPr id="3" name="Content Placeholder 2">
            <a:extLst>
              <a:ext uri="{FF2B5EF4-FFF2-40B4-BE49-F238E27FC236}">
                <a16:creationId xmlns:a16="http://schemas.microsoft.com/office/drawing/2014/main" id="{F37EB8DC-8B68-99CF-7F31-23FAB1D08E6C}"/>
              </a:ext>
            </a:extLst>
          </p:cNvPr>
          <p:cNvSpPr>
            <a:spLocks noGrp="1"/>
          </p:cNvSpPr>
          <p:nvPr>
            <p:ph idx="1"/>
          </p:nvPr>
        </p:nvSpPr>
        <p:spPr>
          <a:xfrm>
            <a:off x="694606" y="1412776"/>
            <a:ext cx="11244444" cy="4839130"/>
          </a:xfrm>
        </p:spPr>
        <p:txBody>
          <a:bodyPr/>
          <a:lstStyle/>
          <a:p>
            <a:r>
              <a:rPr lang="en-GB" sz="2200" dirty="0"/>
              <a:t>Policymakers rely too much on businesses to drive the implementation, therefore, preferring to use affordable experiments and business incentives </a:t>
            </a:r>
          </a:p>
          <a:p>
            <a:r>
              <a:rPr lang="en-GB" sz="2200" dirty="0"/>
              <a:t>the role of citizens and communities are generally valued but there appears to be a mismatch in how these stakeholders are involved in shaping Digital and Green Regional Futures; too much emphasis is, rather, placed on major stakeholders and on sectorial approaches.  </a:t>
            </a:r>
          </a:p>
          <a:p>
            <a:r>
              <a:rPr lang="en-GB" sz="2200" dirty="0"/>
              <a:t>if implemented poorly, the twin transition can lose credibility and be reduced to buzzwords or greenwashing </a:t>
            </a:r>
          </a:p>
          <a:p>
            <a:r>
              <a:rPr lang="en-GB" sz="2200"/>
              <a:t>‘Durable</a:t>
            </a:r>
            <a:r>
              <a:rPr lang="en-GB" sz="2200" dirty="0"/>
              <a:t>’ transformational journeys require engagement with place-making dynamics rather than trying to contain them in discrete and sectorial framings – which is e.g. currently the case in Danish green policies (Fratini and Jensen, 2017). </a:t>
            </a:r>
          </a:p>
          <a:p>
            <a:r>
              <a:rPr lang="en-GB" sz="2200" dirty="0"/>
              <a:t>Require a better understanding of the relation between goal-oriented ‘durable’ journey and the extent of diversification coming from place-making practices  </a:t>
            </a:r>
          </a:p>
          <a:p>
            <a:endParaRPr lang="en-GB" sz="2200" dirty="0"/>
          </a:p>
          <a:p>
            <a:pPr lvl="1"/>
            <a:endParaRPr lang="en-GB" sz="2200" dirty="0"/>
          </a:p>
          <a:p>
            <a:endParaRPr lang="da-DK" sz="2200" dirty="0"/>
          </a:p>
        </p:txBody>
      </p:sp>
      <p:sp>
        <p:nvSpPr>
          <p:cNvPr id="4" name="Footer Placeholder 3">
            <a:extLst>
              <a:ext uri="{FF2B5EF4-FFF2-40B4-BE49-F238E27FC236}">
                <a16:creationId xmlns:a16="http://schemas.microsoft.com/office/drawing/2014/main" id="{5A3B516C-D657-39D7-EA00-DC9BEB6CE302}"/>
              </a:ext>
            </a:extLst>
          </p:cNvPr>
          <p:cNvSpPr>
            <a:spLocks noGrp="1"/>
          </p:cNvSpPr>
          <p:nvPr>
            <p:ph type="ftr" sz="quarter" idx="10"/>
          </p:nvPr>
        </p:nvSpPr>
        <p:spPr/>
        <p:txBody>
          <a:bodyPr/>
          <a:lstStyle/>
          <a:p>
            <a:endParaRPr lang="da-DK" dirty="0"/>
          </a:p>
        </p:txBody>
      </p:sp>
      <p:sp>
        <p:nvSpPr>
          <p:cNvPr id="5" name="Slide Number Placeholder 4">
            <a:extLst>
              <a:ext uri="{FF2B5EF4-FFF2-40B4-BE49-F238E27FC236}">
                <a16:creationId xmlns:a16="http://schemas.microsoft.com/office/drawing/2014/main" id="{76855E51-5D48-D13D-A1C9-44EF08FB3089}"/>
              </a:ext>
            </a:extLst>
          </p:cNvPr>
          <p:cNvSpPr>
            <a:spLocks noGrp="1"/>
          </p:cNvSpPr>
          <p:nvPr>
            <p:ph type="sldNum" sz="quarter" idx="11"/>
          </p:nvPr>
        </p:nvSpPr>
        <p:spPr/>
        <p:txBody>
          <a:bodyPr/>
          <a:lstStyle/>
          <a:p>
            <a:fld id="{103EA872-A674-449B-A120-B97244F8E91D}" type="slidenum">
              <a:rPr lang="da-DK" smtClean="0"/>
              <a:pPr/>
              <a:t>26</a:t>
            </a:fld>
            <a:endParaRPr lang="da-DK" dirty="0"/>
          </a:p>
        </p:txBody>
      </p:sp>
    </p:spTree>
    <p:extLst>
      <p:ext uri="{BB962C8B-B14F-4D97-AF65-F5344CB8AC3E}">
        <p14:creationId xmlns:p14="http://schemas.microsoft.com/office/powerpoint/2010/main" val="11015976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822622" y="227801"/>
            <a:ext cx="7928478" cy="580410"/>
          </a:xfrm>
        </p:spPr>
        <p:txBody>
          <a:bodyPr>
            <a:normAutofit/>
          </a:bodyPr>
          <a:lstStyle/>
          <a:p>
            <a:r>
              <a:rPr lang="da-DK" sz="3553" b="1" dirty="0"/>
              <a:t>A </a:t>
            </a:r>
            <a:r>
              <a:rPr lang="da-DK" sz="3553" b="1" dirty="0" err="1"/>
              <a:t>complex</a:t>
            </a:r>
            <a:r>
              <a:rPr lang="da-DK" sz="3553" b="1" dirty="0"/>
              <a:t> </a:t>
            </a:r>
            <a:r>
              <a:rPr lang="da-DK" sz="3553" b="1" dirty="0" err="1"/>
              <a:t>path</a:t>
            </a:r>
            <a:r>
              <a:rPr lang="da-DK" sz="3553" b="1" dirty="0"/>
              <a:t> to </a:t>
            </a:r>
            <a:r>
              <a:rPr lang="da-DK" sz="3553" b="1" dirty="0" err="1"/>
              <a:t>Sustainability</a:t>
            </a:r>
            <a:endParaRPr lang="da-DK" sz="3553" b="1" dirty="0"/>
          </a:p>
        </p:txBody>
      </p:sp>
      <p:sp>
        <p:nvSpPr>
          <p:cNvPr id="4" name="Content Placeholder 3"/>
          <p:cNvSpPr>
            <a:spLocks noGrp="1"/>
          </p:cNvSpPr>
          <p:nvPr>
            <p:ph idx="1"/>
          </p:nvPr>
        </p:nvSpPr>
        <p:spPr>
          <a:xfrm>
            <a:off x="465218" y="1088669"/>
            <a:ext cx="6765154" cy="5541530"/>
          </a:xfrm>
        </p:spPr>
        <p:txBody>
          <a:bodyPr>
            <a:noAutofit/>
          </a:bodyPr>
          <a:lstStyle/>
          <a:p>
            <a:r>
              <a:rPr lang="en-GB" sz="1776" dirty="0"/>
              <a:t>Report to the Club of Rome (2018) </a:t>
            </a:r>
            <a:r>
              <a:rPr lang="en-GB" sz="1776" b="1" dirty="0"/>
              <a:t>“Achieving the Sustainable Development Goals within Planetary Boundaries”</a:t>
            </a:r>
            <a:r>
              <a:rPr lang="en-GB" sz="1776" dirty="0"/>
              <a:t>: </a:t>
            </a:r>
          </a:p>
          <a:p>
            <a:pPr lvl="1"/>
            <a:r>
              <a:rPr lang="en-US" sz="1599" dirty="0"/>
              <a:t>“Agenda 2030 and conventional growth incompatible!” </a:t>
            </a:r>
          </a:p>
          <a:p>
            <a:pPr lvl="1"/>
            <a:r>
              <a:rPr lang="en-US" sz="1599" dirty="0"/>
              <a:t>There are recognized conflicts in between the social and ecological SDGs </a:t>
            </a:r>
          </a:p>
          <a:p>
            <a:pPr lvl="1"/>
            <a:r>
              <a:rPr lang="en-US" sz="1599" dirty="0"/>
              <a:t>Calls for a ”</a:t>
            </a:r>
            <a:r>
              <a:rPr lang="en-US" sz="1599" b="1" dirty="0"/>
              <a:t>Smart Transformation</a:t>
            </a:r>
            <a:r>
              <a:rPr lang="en-US" sz="1599" dirty="0"/>
              <a:t>” – </a:t>
            </a:r>
            <a:r>
              <a:rPr lang="en-US" sz="1599" b="1" dirty="0"/>
              <a:t>fundamental changes in consumption patterns and socio-economic models for redistribute resources while retracting into safe planetary boundaries</a:t>
            </a:r>
            <a:r>
              <a:rPr lang="en-US" sz="1599" dirty="0"/>
              <a:t> (with Biosphere integrity and Bio-Physical Flows being the most critical)</a:t>
            </a:r>
          </a:p>
          <a:p>
            <a:pPr lvl="1"/>
            <a:r>
              <a:rPr lang="en-US" sz="1599" dirty="0"/>
              <a:t>Sustainability transformations requires science to undertake </a:t>
            </a:r>
            <a:r>
              <a:rPr lang="en-US" sz="1599" b="1" dirty="0"/>
              <a:t>integrated perspectives  </a:t>
            </a:r>
            <a:r>
              <a:rPr lang="en-US" sz="1599" dirty="0"/>
              <a:t>and </a:t>
            </a:r>
            <a:r>
              <a:rPr lang="en-US" sz="1599" b="1" dirty="0"/>
              <a:t>transdisciplinary approaches</a:t>
            </a:r>
          </a:p>
          <a:p>
            <a:r>
              <a:rPr lang="en-US" sz="1776" dirty="0"/>
              <a:t>Kate </a:t>
            </a:r>
            <a:r>
              <a:rPr lang="en-US" sz="1776" dirty="0" err="1"/>
              <a:t>Raworth</a:t>
            </a:r>
            <a:r>
              <a:rPr lang="en-US" sz="1776" dirty="0"/>
              <a:t> (2017), “</a:t>
            </a:r>
            <a:r>
              <a:rPr lang="en-US" sz="1776" b="1" dirty="0"/>
              <a:t>Doughnut Economics: Seven Ways to Think Like a 21st-Century Economist</a:t>
            </a:r>
            <a:r>
              <a:rPr lang="en-US" sz="1776" dirty="0"/>
              <a:t>”</a:t>
            </a:r>
          </a:p>
          <a:p>
            <a:pPr lvl="1"/>
            <a:r>
              <a:rPr lang="en-US" sz="1599" dirty="0"/>
              <a:t>“</a:t>
            </a:r>
            <a:r>
              <a:rPr lang="en-US" sz="1599" i="1" dirty="0"/>
              <a:t>Today’s economy is divisive and degenerative by default. Tomorrow’s </a:t>
            </a:r>
            <a:r>
              <a:rPr lang="en-US" sz="1599" b="1" i="1" dirty="0"/>
              <a:t>economy must be distributive and regenerative by design</a:t>
            </a:r>
            <a:r>
              <a:rPr lang="en-US" sz="1599" dirty="0"/>
              <a:t>.”</a:t>
            </a:r>
          </a:p>
          <a:p>
            <a:pPr lvl="1"/>
            <a:r>
              <a:rPr lang="en-US" sz="1599" dirty="0"/>
              <a:t>There is a need of </a:t>
            </a:r>
            <a:r>
              <a:rPr lang="en-US" sz="1599" b="1" dirty="0"/>
              <a:t>redesigning sectors , systems and institutions while transforming discourses, practices and identities</a:t>
            </a:r>
          </a:p>
          <a:p>
            <a:pPr lvl="1"/>
            <a:r>
              <a:rPr lang="en-US" sz="1599" dirty="0"/>
              <a:t>Such a redesign process need to be </a:t>
            </a:r>
            <a:r>
              <a:rPr lang="en-US" sz="1599" b="1" dirty="0"/>
              <a:t>inclusive and collaborative </a:t>
            </a:r>
          </a:p>
        </p:txBody>
      </p:sp>
      <p:pic>
        <p:nvPicPr>
          <p:cNvPr id="9" name="Picture 8"/>
          <p:cNvPicPr>
            <a:picLocks noChangeAspect="1"/>
          </p:cNvPicPr>
          <p:nvPr/>
        </p:nvPicPr>
        <p:blipFill rotWithShape="1">
          <a:blip r:embed="rId3"/>
          <a:srcRect l="33762" t="29149" r="12072" b="14406"/>
          <a:stretch/>
        </p:blipFill>
        <p:spPr>
          <a:xfrm>
            <a:off x="7352976" y="808211"/>
            <a:ext cx="4364409" cy="2558214"/>
          </a:xfrm>
          <a:prstGeom prst="rect">
            <a:avLst/>
          </a:prstGeom>
        </p:spPr>
      </p:pic>
      <p:pic>
        <p:nvPicPr>
          <p:cNvPr id="2" name="Picture 1"/>
          <p:cNvPicPr>
            <a:picLocks noChangeAspect="1"/>
          </p:cNvPicPr>
          <p:nvPr/>
        </p:nvPicPr>
        <p:blipFill rotWithShape="1">
          <a:blip r:embed="rId4"/>
          <a:srcRect l="6542" t="2314" r="5050" b="3720"/>
          <a:stretch/>
        </p:blipFill>
        <p:spPr>
          <a:xfrm>
            <a:off x="7598184" y="3082607"/>
            <a:ext cx="4119201" cy="3672517"/>
          </a:xfrm>
          <a:prstGeom prst="rect">
            <a:avLst/>
          </a:prstGeom>
        </p:spPr>
      </p:pic>
    </p:spTree>
    <p:extLst>
      <p:ext uri="{BB962C8B-B14F-4D97-AF65-F5344CB8AC3E}">
        <p14:creationId xmlns:p14="http://schemas.microsoft.com/office/powerpoint/2010/main" val="1071752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8" end="8"/>
                                            </p:txEl>
                                          </p:spTgt>
                                        </p:tgtEl>
                                        <p:attrNameLst>
                                          <p:attrName>style.visibility</p:attrName>
                                        </p:attrNameLst>
                                      </p:cBhvr>
                                      <p:to>
                                        <p:strVal val="visible"/>
                                      </p:to>
                                    </p:set>
                                  </p:childTnLst>
                                </p:cTn>
                              </p:par>
                            </p:childTnLst>
                          </p:cTn>
                        </p:par>
                        <p:par>
                          <p:cTn id="13" fill="hold">
                            <p:stCondLst>
                              <p:cond delay="0"/>
                            </p:stCondLst>
                            <p:childTnLst>
                              <p:par>
                                <p:cTn id="14" presetID="1" presetClass="entr" presetSubtype="0" fill="hold" nodeType="afterEffect">
                                  <p:stCondLst>
                                    <p:cond delay="0"/>
                                  </p:stCondLst>
                                  <p:childTnLst>
                                    <p:set>
                                      <p:cBhvr>
                                        <p:cTn id="15"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622" y="-243408"/>
            <a:ext cx="10873208" cy="972716"/>
          </a:xfrm>
        </p:spPr>
        <p:txBody>
          <a:bodyPr>
            <a:normAutofit/>
          </a:bodyPr>
          <a:lstStyle/>
          <a:p>
            <a:r>
              <a:rPr lang="en-US" sz="2800" b="1" dirty="0"/>
              <a:t>Critical Infrastructures and Regional Sustainability Transitions</a:t>
            </a:r>
            <a:endParaRPr lang="da-DK" sz="2800" b="1" dirty="0"/>
          </a:p>
        </p:txBody>
      </p:sp>
      <p:sp>
        <p:nvSpPr>
          <p:cNvPr id="3" name="Content Placeholder 2"/>
          <p:cNvSpPr>
            <a:spLocks noGrp="1"/>
          </p:cNvSpPr>
          <p:nvPr>
            <p:ph idx="1"/>
          </p:nvPr>
        </p:nvSpPr>
        <p:spPr>
          <a:xfrm>
            <a:off x="838622" y="1124744"/>
            <a:ext cx="11089232" cy="4608512"/>
          </a:xfrm>
        </p:spPr>
        <p:txBody>
          <a:bodyPr>
            <a:noAutofit/>
          </a:bodyPr>
          <a:lstStyle/>
          <a:p>
            <a:r>
              <a:rPr lang="en-GB" sz="2000" b="1" dirty="0"/>
              <a:t>Critical infrastructures </a:t>
            </a:r>
            <a:r>
              <a:rPr lang="en-GB" sz="2000" dirty="0"/>
              <a:t>are key focus of Transition Studies: resistant to change but great potentials for contributing to the acceleration of broader societal transformations. </a:t>
            </a:r>
          </a:p>
          <a:p>
            <a:r>
              <a:rPr lang="en-GB" sz="2000" dirty="0"/>
              <a:t>Critical Infrastructures  ideal study objects to develop strategic and innovative approaches for sustainability transitions</a:t>
            </a:r>
            <a:r>
              <a:rPr lang="en-GB" sz="2000" b="1" dirty="0"/>
              <a:t> </a:t>
            </a:r>
            <a:r>
              <a:rPr lang="en-GB" sz="2000" dirty="0"/>
              <a:t>across silos </a:t>
            </a:r>
            <a:r>
              <a:rPr lang="en-GB" sz="2000" b="1" dirty="0"/>
              <a:t>in between systemic and place-based dynamics</a:t>
            </a:r>
          </a:p>
          <a:p>
            <a:r>
              <a:rPr lang="en-GB" sz="2000" b="1" dirty="0"/>
              <a:t>Whole system change approach: </a:t>
            </a:r>
            <a:r>
              <a:rPr lang="en-GB" sz="2000" dirty="0"/>
              <a:t>the focus on singular technological innovation is not enough!</a:t>
            </a:r>
          </a:p>
          <a:p>
            <a:r>
              <a:rPr lang="en-GB" sz="2000" dirty="0"/>
              <a:t>Silo and disciplinary perspectives have potential for important externalities and lock-ins: need of </a:t>
            </a:r>
            <a:r>
              <a:rPr lang="en-GB" sz="2000" dirty="0" err="1"/>
              <a:t>trandisciplinarity</a:t>
            </a:r>
            <a:r>
              <a:rPr lang="en-GB" sz="2000" dirty="0"/>
              <a:t> and multiple systems approach</a:t>
            </a:r>
            <a:endParaRPr lang="en-GB" sz="2000" b="1" dirty="0"/>
          </a:p>
          <a:p>
            <a:r>
              <a:rPr lang="en-GB" sz="2000" dirty="0"/>
              <a:t>Social and Professional Practices are key: a focus on </a:t>
            </a:r>
            <a:r>
              <a:rPr lang="en-GB" sz="2000" b="1" dirty="0"/>
              <a:t>transformational capacity building </a:t>
            </a:r>
            <a:r>
              <a:rPr lang="en-GB" sz="2000" dirty="0"/>
              <a:t>is necessary!  </a:t>
            </a:r>
          </a:p>
          <a:p>
            <a:r>
              <a:rPr lang="en-GB" sz="2000" dirty="0"/>
              <a:t>The role of</a:t>
            </a:r>
            <a:r>
              <a:rPr lang="en-GB" sz="2000" b="1" dirty="0"/>
              <a:t> Geographies and Places in Sustainability Transitions </a:t>
            </a:r>
            <a:r>
              <a:rPr lang="en-GB" sz="2000" dirty="0"/>
              <a:t>are crucial still largely un-reflected </a:t>
            </a:r>
          </a:p>
          <a:p>
            <a:r>
              <a:rPr lang="en-GB" sz="2000" b="1" dirty="0"/>
              <a:t>Critical studies on knowledge co-production </a:t>
            </a:r>
            <a:r>
              <a:rPr lang="en-GB" sz="2000" dirty="0"/>
              <a:t>across disciplines, cultures, sectors and scales are underrepresented in Transitions Studies (implications on transition justice)</a:t>
            </a:r>
          </a:p>
          <a:p>
            <a:r>
              <a:rPr lang="da-DK" sz="2000" dirty="0"/>
              <a:t>The </a:t>
            </a:r>
            <a:r>
              <a:rPr lang="da-DK" sz="2000" b="1" dirty="0" err="1"/>
              <a:t>role</a:t>
            </a:r>
            <a:r>
              <a:rPr lang="da-DK" sz="2000" b="1" dirty="0"/>
              <a:t> of the Digital or Smart Transformation for </a:t>
            </a:r>
            <a:r>
              <a:rPr lang="da-DK" sz="2000" b="1" dirty="0" err="1"/>
              <a:t>Sustainability</a:t>
            </a:r>
            <a:r>
              <a:rPr lang="da-DK" sz="2000" b="1" dirty="0"/>
              <a:t> Transitions </a:t>
            </a:r>
            <a:r>
              <a:rPr lang="da-DK" sz="2000" dirty="0"/>
              <a:t>in Critical </a:t>
            </a:r>
            <a:r>
              <a:rPr lang="da-DK" sz="2000" dirty="0" err="1"/>
              <a:t>Infrastructures</a:t>
            </a:r>
            <a:r>
              <a:rPr lang="da-DK" sz="2000" dirty="0"/>
              <a:t> is </a:t>
            </a:r>
            <a:r>
              <a:rPr lang="da-DK" sz="2000" b="1" dirty="0" err="1"/>
              <a:t>largely</a:t>
            </a:r>
            <a:r>
              <a:rPr lang="da-DK" sz="2000" b="1" dirty="0"/>
              <a:t> </a:t>
            </a:r>
            <a:r>
              <a:rPr lang="da-DK" sz="2000" b="1" dirty="0" err="1"/>
              <a:t>understudied</a:t>
            </a:r>
            <a:r>
              <a:rPr lang="da-DK" sz="2000" b="1" dirty="0"/>
              <a:t>! </a:t>
            </a:r>
          </a:p>
        </p:txBody>
      </p:sp>
    </p:spTree>
    <p:extLst>
      <p:ext uri="{BB962C8B-B14F-4D97-AF65-F5344CB8AC3E}">
        <p14:creationId xmlns:p14="http://schemas.microsoft.com/office/powerpoint/2010/main" val="30687654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 name="Oval 7"/>
          <p:cNvSpPr/>
          <p:nvPr/>
        </p:nvSpPr>
        <p:spPr>
          <a:xfrm>
            <a:off x="576156" y="1856299"/>
            <a:ext cx="11090929" cy="2578195"/>
          </a:xfrm>
          <a:prstGeom prst="ellipse">
            <a:avLst/>
          </a:prstGeom>
          <a:solidFill>
            <a:srgbClr val="7DAE2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68900" fontAlgn="auto">
              <a:spcBef>
                <a:spcPts val="0"/>
              </a:spcBef>
              <a:spcAft>
                <a:spcPts val="0"/>
              </a:spcAft>
            </a:pPr>
            <a:endParaRPr lang="da-DK" sz="1711">
              <a:solidFill>
                <a:prstClr val="white"/>
              </a:solidFill>
              <a:latin typeface="Trebuchet MS" panose="020B0603020202020204"/>
            </a:endParaRPr>
          </a:p>
        </p:txBody>
      </p:sp>
      <p:sp>
        <p:nvSpPr>
          <p:cNvPr id="7" name="Oval 6"/>
          <p:cNvSpPr/>
          <p:nvPr/>
        </p:nvSpPr>
        <p:spPr>
          <a:xfrm>
            <a:off x="576156" y="1972317"/>
            <a:ext cx="8688519" cy="2346159"/>
          </a:xfrm>
          <a:prstGeom prst="ellipse">
            <a:avLst/>
          </a:prstGeom>
          <a:solidFill>
            <a:srgbClr val="8DC52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68900" fontAlgn="auto">
              <a:spcBef>
                <a:spcPts val="0"/>
              </a:spcBef>
              <a:spcAft>
                <a:spcPts val="0"/>
              </a:spcAft>
            </a:pPr>
            <a:endParaRPr lang="da-DK" sz="1711">
              <a:solidFill>
                <a:prstClr val="white"/>
              </a:solidFill>
              <a:latin typeface="Trebuchet MS" panose="020B0603020202020204"/>
            </a:endParaRPr>
          </a:p>
        </p:txBody>
      </p:sp>
      <p:sp>
        <p:nvSpPr>
          <p:cNvPr id="6" name="Oval 5"/>
          <p:cNvSpPr/>
          <p:nvPr/>
        </p:nvSpPr>
        <p:spPr>
          <a:xfrm>
            <a:off x="576156" y="2101228"/>
            <a:ext cx="6943136" cy="2101229"/>
          </a:xfrm>
          <a:prstGeom prst="ellipse">
            <a:avLst/>
          </a:prstGeom>
          <a:solidFill>
            <a:srgbClr val="A8DA4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68900" fontAlgn="auto">
              <a:spcBef>
                <a:spcPts val="0"/>
              </a:spcBef>
              <a:spcAft>
                <a:spcPts val="0"/>
              </a:spcAft>
            </a:pPr>
            <a:endParaRPr lang="da-DK" sz="1711">
              <a:solidFill>
                <a:prstClr val="white"/>
              </a:solidFill>
              <a:latin typeface="Trebuchet MS" panose="020B0603020202020204"/>
            </a:endParaRPr>
          </a:p>
        </p:txBody>
      </p:sp>
      <p:sp>
        <p:nvSpPr>
          <p:cNvPr id="4" name="Oval 3"/>
          <p:cNvSpPr/>
          <p:nvPr/>
        </p:nvSpPr>
        <p:spPr>
          <a:xfrm>
            <a:off x="507258" y="2264982"/>
            <a:ext cx="5064006" cy="1772510"/>
          </a:xfrm>
          <a:prstGeom prst="ellipse">
            <a:avLst/>
          </a:prstGeom>
          <a:solidFill>
            <a:srgbClr val="B9E17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68900" fontAlgn="auto">
              <a:spcBef>
                <a:spcPts val="0"/>
              </a:spcBef>
              <a:spcAft>
                <a:spcPts val="0"/>
              </a:spcAft>
            </a:pPr>
            <a:endParaRPr lang="da-DK" sz="1711">
              <a:solidFill>
                <a:prstClr val="white"/>
              </a:solidFill>
              <a:latin typeface="Trebuchet MS" panose="020B0603020202020204"/>
            </a:endParaRPr>
          </a:p>
        </p:txBody>
      </p:sp>
      <p:sp>
        <p:nvSpPr>
          <p:cNvPr id="5" name="Oval 4"/>
          <p:cNvSpPr/>
          <p:nvPr/>
        </p:nvSpPr>
        <p:spPr>
          <a:xfrm>
            <a:off x="576155" y="2359048"/>
            <a:ext cx="3422936" cy="1521135"/>
          </a:xfrm>
          <a:prstGeom prst="ellipse">
            <a:avLst/>
          </a:prstGeom>
          <a:solidFill>
            <a:srgbClr val="CCE99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68900" fontAlgn="auto">
              <a:spcBef>
                <a:spcPts val="0"/>
              </a:spcBef>
              <a:spcAft>
                <a:spcPts val="0"/>
              </a:spcAft>
            </a:pPr>
            <a:endParaRPr lang="da-DK" sz="1711">
              <a:solidFill>
                <a:prstClr val="white"/>
              </a:solidFill>
              <a:latin typeface="Trebuchet MS" panose="020B0603020202020204"/>
            </a:endParaRPr>
          </a:p>
        </p:txBody>
      </p:sp>
      <p:sp>
        <p:nvSpPr>
          <p:cNvPr id="3" name="Oval 2"/>
          <p:cNvSpPr/>
          <p:nvPr/>
        </p:nvSpPr>
        <p:spPr>
          <a:xfrm>
            <a:off x="563265" y="2571746"/>
            <a:ext cx="2062082" cy="1127964"/>
          </a:xfrm>
          <a:prstGeom prst="ellipse">
            <a:avLst/>
          </a:prstGeom>
          <a:solidFill>
            <a:srgbClr val="DDF0B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68900" fontAlgn="auto">
              <a:spcBef>
                <a:spcPts val="0"/>
              </a:spcBef>
              <a:spcAft>
                <a:spcPts val="0"/>
              </a:spcAft>
            </a:pPr>
            <a:endParaRPr lang="da-DK" sz="1711">
              <a:solidFill>
                <a:prstClr val="white"/>
              </a:solidFill>
              <a:latin typeface="Trebuchet MS" panose="020B0603020202020204"/>
            </a:endParaRPr>
          </a:p>
        </p:txBody>
      </p:sp>
      <p:sp>
        <p:nvSpPr>
          <p:cNvPr id="10" name="TextBox 9"/>
          <p:cNvSpPr txBox="1"/>
          <p:nvPr/>
        </p:nvSpPr>
        <p:spPr>
          <a:xfrm flipH="1">
            <a:off x="3796054" y="2762994"/>
            <a:ext cx="1689194" cy="693780"/>
          </a:xfrm>
          <a:prstGeom prst="rect">
            <a:avLst/>
          </a:prstGeom>
          <a:noFill/>
        </p:spPr>
        <p:txBody>
          <a:bodyPr wrap="square" rtlCol="0">
            <a:spAutoFit/>
          </a:bodyPr>
          <a:lstStyle/>
          <a:p>
            <a:pPr algn="ctr" defTabSz="868900" fontAlgn="auto">
              <a:spcBef>
                <a:spcPts val="0"/>
              </a:spcBef>
              <a:spcAft>
                <a:spcPts val="0"/>
              </a:spcAft>
            </a:pPr>
            <a:r>
              <a:rPr lang="da-DK" sz="1954" b="1" dirty="0">
                <a:solidFill>
                  <a:prstClr val="black"/>
                </a:solidFill>
                <a:latin typeface="Trebuchet MS" panose="020B0603020202020204"/>
                <a:ea typeface="+mn-ea"/>
              </a:rPr>
              <a:t>Green Transition</a:t>
            </a:r>
          </a:p>
        </p:txBody>
      </p:sp>
      <p:sp>
        <p:nvSpPr>
          <p:cNvPr id="11" name="TextBox 10"/>
          <p:cNvSpPr txBox="1"/>
          <p:nvPr/>
        </p:nvSpPr>
        <p:spPr>
          <a:xfrm>
            <a:off x="952754" y="2905568"/>
            <a:ext cx="1109599" cy="393056"/>
          </a:xfrm>
          <a:prstGeom prst="rect">
            <a:avLst/>
          </a:prstGeom>
          <a:noFill/>
        </p:spPr>
        <p:txBody>
          <a:bodyPr wrap="none" rtlCol="0">
            <a:spAutoFit/>
          </a:bodyPr>
          <a:lstStyle/>
          <a:p>
            <a:pPr algn="ctr" defTabSz="868900" fontAlgn="auto">
              <a:spcBef>
                <a:spcPts val="0"/>
              </a:spcBef>
              <a:spcAft>
                <a:spcPts val="0"/>
              </a:spcAft>
            </a:pPr>
            <a:r>
              <a:rPr lang="da-DK" sz="1954" b="1" dirty="0">
                <a:solidFill>
                  <a:prstClr val="black"/>
                </a:solidFill>
                <a:latin typeface="Trebuchet MS" panose="020B0603020202020204"/>
                <a:ea typeface="+mn-ea"/>
              </a:rPr>
              <a:t>Supply  </a:t>
            </a:r>
          </a:p>
        </p:txBody>
      </p:sp>
      <p:sp>
        <p:nvSpPr>
          <p:cNvPr id="12" name="TextBox 11"/>
          <p:cNvSpPr txBox="1"/>
          <p:nvPr/>
        </p:nvSpPr>
        <p:spPr>
          <a:xfrm>
            <a:off x="2610366" y="2930400"/>
            <a:ext cx="966823" cy="393056"/>
          </a:xfrm>
          <a:prstGeom prst="rect">
            <a:avLst/>
          </a:prstGeom>
          <a:noFill/>
        </p:spPr>
        <p:txBody>
          <a:bodyPr wrap="square" rtlCol="0">
            <a:spAutoFit/>
          </a:bodyPr>
          <a:lstStyle/>
          <a:p>
            <a:pPr algn="ctr" defTabSz="868900" fontAlgn="auto">
              <a:spcBef>
                <a:spcPts val="0"/>
              </a:spcBef>
              <a:spcAft>
                <a:spcPts val="0"/>
              </a:spcAft>
            </a:pPr>
            <a:r>
              <a:rPr lang="da-DK" sz="1954" b="1" dirty="0" err="1">
                <a:solidFill>
                  <a:prstClr val="black"/>
                </a:solidFill>
                <a:latin typeface="Trebuchet MS" panose="020B0603020202020204"/>
                <a:ea typeface="+mn-ea"/>
              </a:rPr>
              <a:t>Risk</a:t>
            </a:r>
            <a:endParaRPr lang="da-DK" sz="1954" b="1" dirty="0">
              <a:solidFill>
                <a:prstClr val="black"/>
              </a:solidFill>
              <a:latin typeface="Trebuchet MS" panose="020B0603020202020204"/>
              <a:ea typeface="+mn-ea"/>
            </a:endParaRPr>
          </a:p>
        </p:txBody>
      </p:sp>
      <p:sp>
        <p:nvSpPr>
          <p:cNvPr id="13" name="TextBox 12"/>
          <p:cNvSpPr txBox="1"/>
          <p:nvPr/>
        </p:nvSpPr>
        <p:spPr>
          <a:xfrm>
            <a:off x="7564695" y="2878796"/>
            <a:ext cx="1418978" cy="393056"/>
          </a:xfrm>
          <a:prstGeom prst="rect">
            <a:avLst/>
          </a:prstGeom>
          <a:noFill/>
        </p:spPr>
        <p:txBody>
          <a:bodyPr wrap="none" rtlCol="0">
            <a:spAutoFit/>
          </a:bodyPr>
          <a:lstStyle/>
          <a:p>
            <a:pPr algn="ctr" defTabSz="868900" fontAlgn="auto">
              <a:spcBef>
                <a:spcPts val="0"/>
              </a:spcBef>
              <a:spcAft>
                <a:spcPts val="0"/>
              </a:spcAft>
            </a:pPr>
            <a:r>
              <a:rPr lang="da-DK" sz="1954" b="1" dirty="0" err="1">
                <a:solidFill>
                  <a:prstClr val="black"/>
                </a:solidFill>
                <a:latin typeface="Trebuchet MS" panose="020B0603020202020204"/>
                <a:ea typeface="+mn-ea"/>
              </a:rPr>
              <a:t>Circularity</a:t>
            </a:r>
            <a:endParaRPr lang="da-DK" sz="1954" b="1" dirty="0">
              <a:solidFill>
                <a:prstClr val="black"/>
              </a:solidFill>
              <a:latin typeface="Trebuchet MS" panose="020B0603020202020204"/>
              <a:ea typeface="+mn-ea"/>
            </a:endParaRPr>
          </a:p>
        </p:txBody>
      </p:sp>
      <p:sp>
        <p:nvSpPr>
          <p:cNvPr id="14" name="TextBox 13"/>
          <p:cNvSpPr txBox="1"/>
          <p:nvPr/>
        </p:nvSpPr>
        <p:spPr>
          <a:xfrm>
            <a:off x="5725078" y="2899200"/>
            <a:ext cx="1265091" cy="393056"/>
          </a:xfrm>
          <a:prstGeom prst="rect">
            <a:avLst/>
          </a:prstGeom>
          <a:noFill/>
        </p:spPr>
        <p:txBody>
          <a:bodyPr wrap="none" rtlCol="0">
            <a:spAutoFit/>
          </a:bodyPr>
          <a:lstStyle/>
          <a:p>
            <a:pPr algn="ctr" defTabSz="868900" fontAlgn="auto">
              <a:spcBef>
                <a:spcPts val="0"/>
              </a:spcBef>
              <a:spcAft>
                <a:spcPts val="0"/>
              </a:spcAft>
            </a:pPr>
            <a:r>
              <a:rPr lang="en-US" sz="1954" b="1" dirty="0">
                <a:solidFill>
                  <a:prstClr val="black"/>
                </a:solidFill>
                <a:latin typeface="Trebuchet MS" panose="020B0603020202020204"/>
                <a:ea typeface="+mn-ea"/>
              </a:rPr>
              <a:t>Livability</a:t>
            </a:r>
            <a:endParaRPr lang="da-DK" sz="1954" b="1" dirty="0">
              <a:solidFill>
                <a:prstClr val="black"/>
              </a:solidFill>
              <a:latin typeface="Trebuchet MS" panose="020B0603020202020204"/>
              <a:ea typeface="+mn-ea"/>
            </a:endParaRPr>
          </a:p>
        </p:txBody>
      </p:sp>
      <p:sp>
        <p:nvSpPr>
          <p:cNvPr id="15" name="TextBox 14"/>
          <p:cNvSpPr txBox="1"/>
          <p:nvPr/>
        </p:nvSpPr>
        <p:spPr>
          <a:xfrm>
            <a:off x="4490901" y="6400134"/>
            <a:ext cx="3319948" cy="393056"/>
          </a:xfrm>
          <a:prstGeom prst="rect">
            <a:avLst/>
          </a:prstGeom>
          <a:noFill/>
        </p:spPr>
        <p:txBody>
          <a:bodyPr wrap="none" rtlCol="0">
            <a:spAutoFit/>
          </a:bodyPr>
          <a:lstStyle/>
          <a:p>
            <a:pPr defTabSz="868900" fontAlgn="auto">
              <a:spcBef>
                <a:spcPts val="0"/>
              </a:spcBef>
              <a:spcAft>
                <a:spcPts val="0"/>
              </a:spcAft>
            </a:pPr>
            <a:r>
              <a:rPr lang="da-DK" sz="1954" b="1" dirty="0">
                <a:solidFill>
                  <a:srgbClr val="0070C0"/>
                </a:solidFill>
                <a:latin typeface="Trebuchet MS" panose="020B0603020202020204"/>
                <a:ea typeface="+mn-ea"/>
              </a:rPr>
              <a:t>Service </a:t>
            </a:r>
            <a:r>
              <a:rPr lang="da-DK" sz="1954" b="1" dirty="0" err="1">
                <a:solidFill>
                  <a:srgbClr val="0070C0"/>
                </a:solidFill>
                <a:latin typeface="Trebuchet MS" panose="020B0603020202020204"/>
                <a:ea typeface="+mn-ea"/>
              </a:rPr>
              <a:t>delivery</a:t>
            </a:r>
            <a:r>
              <a:rPr lang="da-DK" sz="1954" b="1" dirty="0">
                <a:solidFill>
                  <a:srgbClr val="0070C0"/>
                </a:solidFill>
                <a:latin typeface="Trebuchet MS" panose="020B0603020202020204"/>
                <a:ea typeface="+mn-ea"/>
              </a:rPr>
              <a:t> </a:t>
            </a:r>
            <a:r>
              <a:rPr lang="da-DK" sz="1954" b="1" dirty="0" err="1">
                <a:solidFill>
                  <a:srgbClr val="0070C0"/>
                </a:solidFill>
                <a:latin typeface="Trebuchet MS" panose="020B0603020202020204"/>
                <a:ea typeface="+mn-ea"/>
              </a:rPr>
              <a:t>functions</a:t>
            </a:r>
            <a:r>
              <a:rPr lang="da-DK" sz="1954" b="1" dirty="0">
                <a:solidFill>
                  <a:srgbClr val="0070C0"/>
                </a:solidFill>
                <a:latin typeface="Trebuchet MS" panose="020B0603020202020204"/>
                <a:ea typeface="+mn-ea"/>
              </a:rPr>
              <a:t> </a:t>
            </a:r>
          </a:p>
        </p:txBody>
      </p:sp>
      <p:sp>
        <p:nvSpPr>
          <p:cNvPr id="16" name="TextBox 15"/>
          <p:cNvSpPr txBox="1"/>
          <p:nvPr/>
        </p:nvSpPr>
        <p:spPr>
          <a:xfrm>
            <a:off x="3825709" y="12071"/>
            <a:ext cx="4180953" cy="393056"/>
          </a:xfrm>
          <a:prstGeom prst="rect">
            <a:avLst/>
          </a:prstGeom>
          <a:noFill/>
        </p:spPr>
        <p:txBody>
          <a:bodyPr wrap="none" rtlCol="0">
            <a:spAutoFit/>
          </a:bodyPr>
          <a:lstStyle/>
          <a:p>
            <a:pPr defTabSz="868900" fontAlgn="auto">
              <a:spcBef>
                <a:spcPts val="0"/>
              </a:spcBef>
              <a:spcAft>
                <a:spcPts val="0"/>
              </a:spcAft>
            </a:pPr>
            <a:r>
              <a:rPr lang="da-DK" sz="1954" b="1" dirty="0" err="1">
                <a:solidFill>
                  <a:srgbClr val="FF0000"/>
                </a:solidFill>
                <a:latin typeface="Trebuchet MS" panose="020B0603020202020204"/>
                <a:ea typeface="+mn-ea"/>
              </a:rPr>
              <a:t>Cumulative</a:t>
            </a:r>
            <a:r>
              <a:rPr lang="da-DK" sz="1954" b="1" dirty="0">
                <a:solidFill>
                  <a:srgbClr val="FF0000"/>
                </a:solidFill>
                <a:latin typeface="Trebuchet MS" panose="020B0603020202020204"/>
                <a:ea typeface="+mn-ea"/>
              </a:rPr>
              <a:t> </a:t>
            </a:r>
            <a:r>
              <a:rPr lang="da-DK" sz="1954" b="1" dirty="0" err="1">
                <a:solidFill>
                  <a:srgbClr val="FF0000"/>
                </a:solidFill>
                <a:latin typeface="Trebuchet MS" panose="020B0603020202020204"/>
                <a:ea typeface="+mn-ea"/>
              </a:rPr>
              <a:t>socio-political</a:t>
            </a:r>
            <a:r>
              <a:rPr lang="da-DK" sz="1954" b="1" dirty="0">
                <a:solidFill>
                  <a:srgbClr val="FF0000"/>
                </a:solidFill>
                <a:latin typeface="Trebuchet MS" panose="020B0603020202020204"/>
                <a:ea typeface="+mn-ea"/>
              </a:rPr>
              <a:t> drivers </a:t>
            </a:r>
          </a:p>
        </p:txBody>
      </p:sp>
      <p:cxnSp>
        <p:nvCxnSpPr>
          <p:cNvPr id="18" name="Straight Connector 17"/>
          <p:cNvCxnSpPr/>
          <p:nvPr/>
        </p:nvCxnSpPr>
        <p:spPr>
          <a:xfrm flipV="1">
            <a:off x="673859" y="6609655"/>
            <a:ext cx="3686820" cy="12891"/>
          </a:xfrm>
          <a:prstGeom prst="line">
            <a:avLst/>
          </a:prstGeom>
          <a:ln w="5715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flipV="1">
            <a:off x="7752278" y="6632350"/>
            <a:ext cx="3716753" cy="12891"/>
          </a:xfrm>
          <a:prstGeom prst="straightConnector1">
            <a:avLst/>
          </a:prstGeom>
          <a:ln w="57150">
            <a:solidFill>
              <a:srgbClr val="0070C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601937" y="232036"/>
            <a:ext cx="3136490" cy="25783"/>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8065814" y="232036"/>
            <a:ext cx="3274309" cy="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578684" y="446399"/>
            <a:ext cx="1588898" cy="618887"/>
          </a:xfrm>
          <a:prstGeom prst="rect">
            <a:avLst/>
          </a:prstGeom>
          <a:noFill/>
          <a:ln w="28575">
            <a:solidFill>
              <a:srgbClr val="FF0000"/>
            </a:solidFill>
          </a:ln>
        </p:spPr>
        <p:txBody>
          <a:bodyPr wrap="none" rtlCol="0">
            <a:spAutoFit/>
          </a:bodyPr>
          <a:lstStyle/>
          <a:p>
            <a:pPr algn="ctr" defTabSz="868900" fontAlgn="auto">
              <a:spcBef>
                <a:spcPts val="0"/>
              </a:spcBef>
              <a:spcAft>
                <a:spcPts val="0"/>
              </a:spcAft>
            </a:pPr>
            <a:r>
              <a:rPr lang="da-DK" sz="1711" dirty="0">
                <a:solidFill>
                  <a:prstClr val="black"/>
                </a:solidFill>
                <a:latin typeface="Trebuchet MS" panose="020B0603020202020204"/>
                <a:ea typeface="+mn-ea"/>
              </a:rPr>
              <a:t>Supply </a:t>
            </a:r>
            <a:r>
              <a:rPr lang="da-DK" sz="1711" dirty="0" err="1">
                <a:solidFill>
                  <a:prstClr val="black"/>
                </a:solidFill>
                <a:latin typeface="Trebuchet MS" panose="020B0603020202020204"/>
                <a:ea typeface="+mn-ea"/>
              </a:rPr>
              <a:t>access</a:t>
            </a:r>
            <a:r>
              <a:rPr lang="da-DK" sz="1711" dirty="0">
                <a:solidFill>
                  <a:prstClr val="black"/>
                </a:solidFill>
                <a:latin typeface="Trebuchet MS" panose="020B0603020202020204"/>
                <a:ea typeface="+mn-ea"/>
              </a:rPr>
              <a:t> </a:t>
            </a:r>
          </a:p>
          <a:p>
            <a:pPr algn="ctr" defTabSz="868900" fontAlgn="auto">
              <a:spcBef>
                <a:spcPts val="0"/>
              </a:spcBef>
              <a:spcAft>
                <a:spcPts val="0"/>
              </a:spcAft>
            </a:pPr>
            <a:r>
              <a:rPr lang="da-DK" sz="1711" dirty="0">
                <a:solidFill>
                  <a:prstClr val="black"/>
                </a:solidFill>
                <a:latin typeface="Trebuchet MS" panose="020B0603020202020204"/>
                <a:ea typeface="+mn-ea"/>
              </a:rPr>
              <a:t>and </a:t>
            </a:r>
            <a:r>
              <a:rPr lang="da-DK" sz="1711" dirty="0" err="1">
                <a:solidFill>
                  <a:prstClr val="black"/>
                </a:solidFill>
                <a:latin typeface="Trebuchet MS" panose="020B0603020202020204"/>
                <a:ea typeface="+mn-ea"/>
              </a:rPr>
              <a:t>security</a:t>
            </a:r>
            <a:r>
              <a:rPr lang="da-DK" sz="1711" dirty="0">
                <a:solidFill>
                  <a:prstClr val="black"/>
                </a:solidFill>
                <a:latin typeface="Trebuchet MS" panose="020B0603020202020204"/>
                <a:ea typeface="+mn-ea"/>
              </a:rPr>
              <a:t> </a:t>
            </a:r>
          </a:p>
        </p:txBody>
      </p:sp>
      <p:sp>
        <p:nvSpPr>
          <p:cNvPr id="29" name="TextBox 28"/>
          <p:cNvSpPr txBox="1"/>
          <p:nvPr/>
        </p:nvSpPr>
        <p:spPr>
          <a:xfrm>
            <a:off x="573082" y="5303931"/>
            <a:ext cx="1680846" cy="1145442"/>
          </a:xfrm>
          <a:prstGeom prst="rect">
            <a:avLst/>
          </a:prstGeom>
          <a:noFill/>
          <a:ln w="28575">
            <a:solidFill>
              <a:srgbClr val="0070C0"/>
            </a:solidFill>
          </a:ln>
        </p:spPr>
        <p:txBody>
          <a:bodyPr wrap="square" rtlCol="0">
            <a:spAutoFit/>
          </a:bodyPr>
          <a:lstStyle/>
          <a:p>
            <a:pPr algn="ctr" defTabSz="868900" fontAlgn="auto">
              <a:spcBef>
                <a:spcPts val="0"/>
              </a:spcBef>
              <a:spcAft>
                <a:spcPts val="0"/>
              </a:spcAft>
            </a:pPr>
            <a:r>
              <a:rPr lang="en-US" sz="1711" dirty="0">
                <a:solidFill>
                  <a:prstClr val="black"/>
                </a:solidFill>
                <a:latin typeface="Trebuchet MS" panose="020B0603020202020204"/>
                <a:ea typeface="+mn-ea"/>
              </a:rPr>
              <a:t>Distribution </a:t>
            </a:r>
          </a:p>
          <a:p>
            <a:pPr algn="ctr" defTabSz="868900" fontAlgn="auto">
              <a:spcBef>
                <a:spcPts val="0"/>
              </a:spcBef>
              <a:spcAft>
                <a:spcPts val="0"/>
              </a:spcAft>
            </a:pPr>
            <a:r>
              <a:rPr lang="en-US" sz="1711" dirty="0">
                <a:solidFill>
                  <a:prstClr val="black"/>
                </a:solidFill>
                <a:latin typeface="Trebuchet MS" panose="020B0603020202020204"/>
                <a:ea typeface="+mn-ea"/>
              </a:rPr>
              <a:t>of resources for livelihood and sustenance</a:t>
            </a:r>
          </a:p>
        </p:txBody>
      </p:sp>
      <p:sp>
        <p:nvSpPr>
          <p:cNvPr id="30" name="TextBox 29"/>
          <p:cNvSpPr txBox="1"/>
          <p:nvPr/>
        </p:nvSpPr>
        <p:spPr>
          <a:xfrm>
            <a:off x="2223128" y="452744"/>
            <a:ext cx="1542410" cy="618887"/>
          </a:xfrm>
          <a:prstGeom prst="rect">
            <a:avLst/>
          </a:prstGeom>
          <a:noFill/>
          <a:ln w="28575">
            <a:solidFill>
              <a:srgbClr val="FF0000"/>
            </a:solidFill>
          </a:ln>
        </p:spPr>
        <p:txBody>
          <a:bodyPr wrap="none" rtlCol="0">
            <a:spAutoFit/>
          </a:bodyPr>
          <a:lstStyle/>
          <a:p>
            <a:pPr algn="ctr" defTabSz="868900" fontAlgn="auto">
              <a:spcBef>
                <a:spcPts val="0"/>
              </a:spcBef>
              <a:spcAft>
                <a:spcPts val="0"/>
              </a:spcAft>
            </a:pPr>
            <a:r>
              <a:rPr lang="da-DK" sz="1711" dirty="0">
                <a:solidFill>
                  <a:prstClr val="black"/>
                </a:solidFill>
                <a:latin typeface="Trebuchet MS" panose="020B0603020202020204"/>
                <a:ea typeface="+mn-ea"/>
              </a:rPr>
              <a:t>Public </a:t>
            </a:r>
            <a:r>
              <a:rPr lang="da-DK" sz="1711" dirty="0" err="1">
                <a:solidFill>
                  <a:prstClr val="black"/>
                </a:solidFill>
                <a:latin typeface="Trebuchet MS" panose="020B0603020202020204"/>
                <a:ea typeface="+mn-ea"/>
              </a:rPr>
              <a:t>health</a:t>
            </a:r>
            <a:r>
              <a:rPr lang="da-DK" sz="1711" dirty="0">
                <a:solidFill>
                  <a:prstClr val="black"/>
                </a:solidFill>
                <a:latin typeface="Trebuchet MS" panose="020B0603020202020204"/>
                <a:ea typeface="+mn-ea"/>
              </a:rPr>
              <a:t> </a:t>
            </a:r>
          </a:p>
          <a:p>
            <a:pPr algn="ctr" defTabSz="868900" fontAlgn="auto">
              <a:spcBef>
                <a:spcPts val="0"/>
              </a:spcBef>
              <a:spcAft>
                <a:spcPts val="0"/>
              </a:spcAft>
            </a:pPr>
            <a:r>
              <a:rPr lang="da-DK" sz="1711" dirty="0" err="1">
                <a:solidFill>
                  <a:prstClr val="black"/>
                </a:solidFill>
                <a:latin typeface="Trebuchet MS" panose="020B0603020202020204"/>
                <a:ea typeface="+mn-ea"/>
              </a:rPr>
              <a:t>protection</a:t>
            </a:r>
            <a:endParaRPr lang="da-DK" sz="1711" dirty="0">
              <a:solidFill>
                <a:prstClr val="black"/>
              </a:solidFill>
              <a:latin typeface="Trebuchet MS" panose="020B0603020202020204"/>
              <a:ea typeface="+mn-ea"/>
            </a:endParaRPr>
          </a:p>
        </p:txBody>
      </p:sp>
      <p:sp>
        <p:nvSpPr>
          <p:cNvPr id="31" name="TextBox 30"/>
          <p:cNvSpPr txBox="1"/>
          <p:nvPr/>
        </p:nvSpPr>
        <p:spPr>
          <a:xfrm>
            <a:off x="2325044" y="5305920"/>
            <a:ext cx="1603397" cy="1145442"/>
          </a:xfrm>
          <a:prstGeom prst="rect">
            <a:avLst/>
          </a:prstGeom>
          <a:noFill/>
          <a:ln w="28575">
            <a:solidFill>
              <a:srgbClr val="0070C0"/>
            </a:solidFill>
          </a:ln>
        </p:spPr>
        <p:txBody>
          <a:bodyPr wrap="square" rtlCol="0">
            <a:spAutoFit/>
          </a:bodyPr>
          <a:lstStyle/>
          <a:p>
            <a:pPr algn="ctr" defTabSz="868900" fontAlgn="auto">
              <a:spcBef>
                <a:spcPts val="0"/>
              </a:spcBef>
              <a:spcAft>
                <a:spcPts val="0"/>
              </a:spcAft>
            </a:pPr>
            <a:r>
              <a:rPr lang="en-US" sz="1711" dirty="0">
                <a:solidFill>
                  <a:prstClr val="black"/>
                </a:solidFill>
                <a:latin typeface="Trebuchet MS" panose="020B0603020202020204"/>
                <a:ea typeface="+mn-ea"/>
              </a:rPr>
              <a:t>Prevent and</a:t>
            </a:r>
          </a:p>
          <a:p>
            <a:pPr algn="ctr" defTabSz="868900" fontAlgn="auto">
              <a:spcBef>
                <a:spcPts val="0"/>
              </a:spcBef>
              <a:spcAft>
                <a:spcPts val="0"/>
              </a:spcAft>
            </a:pPr>
            <a:r>
              <a:rPr lang="en-US" sz="1711" dirty="0">
                <a:solidFill>
                  <a:prstClr val="black"/>
                </a:solidFill>
                <a:latin typeface="Trebuchet MS" panose="020B0603020202020204"/>
                <a:ea typeface="+mn-ea"/>
              </a:rPr>
              <a:t>mitigate health/safety </a:t>
            </a:r>
          </a:p>
          <a:p>
            <a:pPr algn="ctr" defTabSz="868900" fontAlgn="auto">
              <a:spcBef>
                <a:spcPts val="0"/>
              </a:spcBef>
              <a:spcAft>
                <a:spcPts val="0"/>
              </a:spcAft>
            </a:pPr>
            <a:r>
              <a:rPr lang="en-US" sz="1711" dirty="0">
                <a:solidFill>
                  <a:prstClr val="black"/>
                </a:solidFill>
                <a:latin typeface="Trebuchet MS" panose="020B0603020202020204"/>
                <a:ea typeface="+mn-ea"/>
              </a:rPr>
              <a:t>hazards</a:t>
            </a:r>
            <a:endParaRPr lang="da-DK" sz="1711" dirty="0">
              <a:solidFill>
                <a:prstClr val="black"/>
              </a:solidFill>
              <a:latin typeface="Trebuchet MS" panose="020B0603020202020204"/>
              <a:ea typeface="+mn-ea"/>
            </a:endParaRPr>
          </a:p>
        </p:txBody>
      </p:sp>
      <p:sp>
        <p:nvSpPr>
          <p:cNvPr id="32" name="TextBox 31"/>
          <p:cNvSpPr txBox="1"/>
          <p:nvPr/>
        </p:nvSpPr>
        <p:spPr>
          <a:xfrm>
            <a:off x="4015860" y="5557286"/>
            <a:ext cx="1560042" cy="882165"/>
          </a:xfrm>
          <a:prstGeom prst="rect">
            <a:avLst/>
          </a:prstGeom>
          <a:noFill/>
          <a:ln w="28575">
            <a:solidFill>
              <a:srgbClr val="0070C0"/>
            </a:solidFill>
          </a:ln>
        </p:spPr>
        <p:txBody>
          <a:bodyPr wrap="none" rtlCol="0">
            <a:spAutoFit/>
          </a:bodyPr>
          <a:lstStyle/>
          <a:p>
            <a:pPr algn="ctr" defTabSz="868900" fontAlgn="auto">
              <a:spcBef>
                <a:spcPts val="0"/>
              </a:spcBef>
              <a:spcAft>
                <a:spcPts val="0"/>
              </a:spcAft>
            </a:pPr>
            <a:r>
              <a:rPr lang="en-US" sz="1711" dirty="0">
                <a:solidFill>
                  <a:prstClr val="black"/>
                </a:solidFill>
                <a:latin typeface="Trebuchet MS" panose="020B0603020202020204"/>
                <a:ea typeface="+mn-ea"/>
              </a:rPr>
              <a:t>Create new </a:t>
            </a:r>
          </a:p>
          <a:p>
            <a:pPr algn="ctr" defTabSz="868900" fontAlgn="auto">
              <a:spcBef>
                <a:spcPts val="0"/>
              </a:spcBef>
              <a:spcAft>
                <a:spcPts val="0"/>
              </a:spcAft>
            </a:pPr>
            <a:r>
              <a:rPr lang="en-US" sz="1711" dirty="0">
                <a:solidFill>
                  <a:prstClr val="black"/>
                </a:solidFill>
                <a:latin typeface="Trebuchet MS" panose="020B0603020202020204"/>
                <a:ea typeface="+mn-ea"/>
              </a:rPr>
              <a:t>opportunities </a:t>
            </a:r>
          </a:p>
          <a:p>
            <a:pPr algn="ctr" defTabSz="868900" fontAlgn="auto">
              <a:spcBef>
                <a:spcPts val="0"/>
              </a:spcBef>
              <a:spcAft>
                <a:spcPts val="0"/>
              </a:spcAft>
            </a:pPr>
            <a:r>
              <a:rPr lang="en-US" sz="1711" dirty="0">
                <a:solidFill>
                  <a:prstClr val="black"/>
                </a:solidFill>
                <a:latin typeface="Trebuchet MS" panose="020B0603020202020204"/>
                <a:ea typeface="+mn-ea"/>
              </a:rPr>
              <a:t>for growth</a:t>
            </a:r>
            <a:endParaRPr lang="da-DK" sz="1711" dirty="0">
              <a:solidFill>
                <a:prstClr val="black"/>
              </a:solidFill>
              <a:latin typeface="Trebuchet MS" panose="020B0603020202020204"/>
              <a:ea typeface="+mn-ea"/>
            </a:endParaRPr>
          </a:p>
        </p:txBody>
      </p:sp>
      <p:sp>
        <p:nvSpPr>
          <p:cNvPr id="33" name="TextBox 32"/>
          <p:cNvSpPr txBox="1"/>
          <p:nvPr/>
        </p:nvSpPr>
        <p:spPr>
          <a:xfrm>
            <a:off x="3833055" y="433511"/>
            <a:ext cx="1615192" cy="882165"/>
          </a:xfrm>
          <a:prstGeom prst="rect">
            <a:avLst/>
          </a:prstGeom>
          <a:noFill/>
          <a:ln w="28575">
            <a:solidFill>
              <a:srgbClr val="FF0000"/>
            </a:solidFill>
          </a:ln>
        </p:spPr>
        <p:txBody>
          <a:bodyPr wrap="square" rtlCol="0">
            <a:spAutoFit/>
          </a:bodyPr>
          <a:lstStyle/>
          <a:p>
            <a:pPr algn="ctr" defTabSz="868900" fontAlgn="auto">
              <a:spcBef>
                <a:spcPts val="0"/>
              </a:spcBef>
              <a:spcAft>
                <a:spcPts val="0"/>
              </a:spcAft>
            </a:pPr>
            <a:r>
              <a:rPr lang="da-DK" sz="1711" dirty="0" err="1">
                <a:solidFill>
                  <a:prstClr val="black"/>
                </a:solidFill>
                <a:latin typeface="Trebuchet MS" panose="020B0603020202020204"/>
                <a:ea typeface="+mn-ea"/>
              </a:rPr>
              <a:t>Socio-economic</a:t>
            </a:r>
            <a:r>
              <a:rPr lang="da-DK" sz="1711" dirty="0">
                <a:solidFill>
                  <a:prstClr val="black"/>
                </a:solidFill>
                <a:latin typeface="Trebuchet MS" panose="020B0603020202020204"/>
                <a:ea typeface="+mn-ea"/>
              </a:rPr>
              <a:t> </a:t>
            </a:r>
          </a:p>
          <a:p>
            <a:pPr algn="ctr" defTabSz="868900" fontAlgn="auto">
              <a:spcBef>
                <a:spcPts val="0"/>
              </a:spcBef>
              <a:spcAft>
                <a:spcPts val="0"/>
              </a:spcAft>
            </a:pPr>
            <a:r>
              <a:rPr lang="da-DK" sz="1711" dirty="0" err="1">
                <a:solidFill>
                  <a:prstClr val="black"/>
                </a:solidFill>
                <a:latin typeface="Trebuchet MS" panose="020B0603020202020204"/>
                <a:ea typeface="+mn-ea"/>
              </a:rPr>
              <a:t>sustainability</a:t>
            </a:r>
            <a:endParaRPr lang="da-DK" sz="1711" dirty="0">
              <a:solidFill>
                <a:prstClr val="black"/>
              </a:solidFill>
              <a:latin typeface="Trebuchet MS" panose="020B0603020202020204"/>
              <a:ea typeface="+mn-ea"/>
            </a:endParaRPr>
          </a:p>
        </p:txBody>
      </p:sp>
      <p:sp>
        <p:nvSpPr>
          <p:cNvPr id="34" name="TextBox 33"/>
          <p:cNvSpPr txBox="1"/>
          <p:nvPr/>
        </p:nvSpPr>
        <p:spPr>
          <a:xfrm>
            <a:off x="5515913" y="455480"/>
            <a:ext cx="1740028" cy="882165"/>
          </a:xfrm>
          <a:prstGeom prst="rect">
            <a:avLst/>
          </a:prstGeom>
          <a:noFill/>
          <a:ln w="28575">
            <a:solidFill>
              <a:srgbClr val="FF0000"/>
            </a:solidFill>
          </a:ln>
        </p:spPr>
        <p:txBody>
          <a:bodyPr wrap="none" rtlCol="0">
            <a:spAutoFit/>
          </a:bodyPr>
          <a:lstStyle/>
          <a:p>
            <a:pPr algn="ctr" defTabSz="868900" fontAlgn="auto">
              <a:spcBef>
                <a:spcPts val="0"/>
              </a:spcBef>
              <a:spcAft>
                <a:spcPts val="0"/>
              </a:spcAft>
            </a:pPr>
            <a:r>
              <a:rPr lang="en-GB" sz="1711" dirty="0">
                <a:solidFill>
                  <a:prstClr val="black"/>
                </a:solidFill>
                <a:latin typeface="Trebuchet MS" panose="020B0603020202020204"/>
                <a:ea typeface="+mn-ea"/>
              </a:rPr>
              <a:t>Social amenity, </a:t>
            </a:r>
          </a:p>
          <a:p>
            <a:pPr algn="ctr" defTabSz="868900" fontAlgn="auto">
              <a:spcBef>
                <a:spcPts val="0"/>
              </a:spcBef>
              <a:spcAft>
                <a:spcPts val="0"/>
              </a:spcAft>
            </a:pPr>
            <a:r>
              <a:rPr lang="en-GB" sz="1711" dirty="0">
                <a:solidFill>
                  <a:prstClr val="black"/>
                </a:solidFill>
                <a:latin typeface="Trebuchet MS" panose="020B0603020202020204"/>
                <a:ea typeface="+mn-ea"/>
              </a:rPr>
              <a:t>environmental </a:t>
            </a:r>
          </a:p>
          <a:p>
            <a:pPr algn="ctr" defTabSz="868900" fontAlgn="auto">
              <a:spcBef>
                <a:spcPts val="0"/>
              </a:spcBef>
              <a:spcAft>
                <a:spcPts val="0"/>
              </a:spcAft>
            </a:pPr>
            <a:r>
              <a:rPr lang="en-GB" sz="1711" dirty="0">
                <a:solidFill>
                  <a:prstClr val="black"/>
                </a:solidFill>
                <a:latin typeface="Trebuchet MS" panose="020B0603020202020204"/>
                <a:ea typeface="+mn-ea"/>
              </a:rPr>
              <a:t>protection</a:t>
            </a:r>
          </a:p>
        </p:txBody>
      </p:sp>
      <p:sp>
        <p:nvSpPr>
          <p:cNvPr id="35" name="TextBox 34"/>
          <p:cNvSpPr txBox="1"/>
          <p:nvPr/>
        </p:nvSpPr>
        <p:spPr>
          <a:xfrm>
            <a:off x="5639423" y="5294071"/>
            <a:ext cx="1604927" cy="1145442"/>
          </a:xfrm>
          <a:prstGeom prst="rect">
            <a:avLst/>
          </a:prstGeom>
          <a:noFill/>
          <a:ln w="28575">
            <a:solidFill>
              <a:srgbClr val="0070C0"/>
            </a:solidFill>
          </a:ln>
        </p:spPr>
        <p:txBody>
          <a:bodyPr wrap="none" rtlCol="0">
            <a:spAutoFit/>
          </a:bodyPr>
          <a:lstStyle/>
          <a:p>
            <a:pPr algn="ctr" defTabSz="868900" fontAlgn="auto">
              <a:spcBef>
                <a:spcPts val="0"/>
              </a:spcBef>
              <a:spcAft>
                <a:spcPts val="0"/>
              </a:spcAft>
            </a:pPr>
            <a:r>
              <a:rPr lang="da-DK" sz="1711" dirty="0">
                <a:solidFill>
                  <a:prstClr val="black"/>
                </a:solidFill>
                <a:latin typeface="Trebuchet MS" panose="020B0603020202020204"/>
                <a:ea typeface="+mn-ea"/>
              </a:rPr>
              <a:t>Pollution </a:t>
            </a:r>
          </a:p>
          <a:p>
            <a:pPr algn="ctr" defTabSz="868900" fontAlgn="auto">
              <a:spcBef>
                <a:spcPts val="0"/>
              </a:spcBef>
              <a:spcAft>
                <a:spcPts val="0"/>
              </a:spcAft>
            </a:pPr>
            <a:r>
              <a:rPr lang="da-DK" sz="1711" dirty="0">
                <a:solidFill>
                  <a:prstClr val="black"/>
                </a:solidFill>
                <a:latin typeface="Trebuchet MS" panose="020B0603020202020204"/>
                <a:ea typeface="+mn-ea"/>
              </a:rPr>
              <a:t>management, </a:t>
            </a:r>
          </a:p>
          <a:p>
            <a:pPr algn="ctr" defTabSz="868900" fontAlgn="auto">
              <a:spcBef>
                <a:spcPts val="0"/>
              </a:spcBef>
              <a:spcAft>
                <a:spcPts val="0"/>
              </a:spcAft>
            </a:pPr>
            <a:r>
              <a:rPr lang="da-DK" sz="1711" dirty="0" err="1">
                <a:solidFill>
                  <a:prstClr val="black"/>
                </a:solidFill>
                <a:latin typeface="Trebuchet MS" panose="020B0603020202020204"/>
                <a:ea typeface="+mn-ea"/>
              </a:rPr>
              <a:t>comfort</a:t>
            </a:r>
            <a:r>
              <a:rPr lang="da-DK" sz="1711" dirty="0">
                <a:solidFill>
                  <a:prstClr val="black"/>
                </a:solidFill>
                <a:latin typeface="Trebuchet MS" panose="020B0603020202020204"/>
                <a:ea typeface="+mn-ea"/>
              </a:rPr>
              <a:t> </a:t>
            </a:r>
          </a:p>
          <a:p>
            <a:pPr algn="ctr" defTabSz="868900" fontAlgn="auto">
              <a:spcBef>
                <a:spcPts val="0"/>
              </a:spcBef>
              <a:spcAft>
                <a:spcPts val="0"/>
              </a:spcAft>
            </a:pPr>
            <a:r>
              <a:rPr lang="da-DK" sz="1711" dirty="0">
                <a:solidFill>
                  <a:prstClr val="black"/>
                </a:solidFill>
                <a:latin typeface="Trebuchet MS" panose="020B0603020202020204"/>
                <a:ea typeface="+mn-ea"/>
              </a:rPr>
              <a:t>and </a:t>
            </a:r>
            <a:r>
              <a:rPr lang="da-DK" sz="1711" dirty="0" err="1">
                <a:solidFill>
                  <a:prstClr val="black"/>
                </a:solidFill>
                <a:latin typeface="Trebuchet MS" panose="020B0603020202020204"/>
                <a:ea typeface="+mn-ea"/>
              </a:rPr>
              <a:t>beauty</a:t>
            </a:r>
            <a:endParaRPr lang="da-DK" sz="1711" dirty="0">
              <a:solidFill>
                <a:prstClr val="black"/>
              </a:solidFill>
              <a:latin typeface="Trebuchet MS" panose="020B0603020202020204"/>
              <a:ea typeface="+mn-ea"/>
            </a:endParaRPr>
          </a:p>
        </p:txBody>
      </p:sp>
      <p:sp>
        <p:nvSpPr>
          <p:cNvPr id="36" name="TextBox 35"/>
          <p:cNvSpPr txBox="1"/>
          <p:nvPr/>
        </p:nvSpPr>
        <p:spPr>
          <a:xfrm>
            <a:off x="7299706" y="448490"/>
            <a:ext cx="1955985" cy="1145442"/>
          </a:xfrm>
          <a:prstGeom prst="rect">
            <a:avLst/>
          </a:prstGeom>
          <a:noFill/>
          <a:ln w="28575">
            <a:solidFill>
              <a:srgbClr val="FF0000"/>
            </a:solidFill>
          </a:ln>
        </p:spPr>
        <p:txBody>
          <a:bodyPr wrap="none" rtlCol="0">
            <a:spAutoFit/>
          </a:bodyPr>
          <a:lstStyle/>
          <a:p>
            <a:pPr algn="ctr" defTabSz="868900" fontAlgn="auto">
              <a:spcBef>
                <a:spcPts val="0"/>
              </a:spcBef>
              <a:spcAft>
                <a:spcPts val="0"/>
              </a:spcAft>
            </a:pPr>
            <a:r>
              <a:rPr lang="da-DK" sz="1711" dirty="0">
                <a:solidFill>
                  <a:prstClr val="black"/>
                </a:solidFill>
                <a:latin typeface="Trebuchet MS" panose="020B0603020202020204"/>
                <a:ea typeface="+mn-ea"/>
              </a:rPr>
              <a:t>Limits on </a:t>
            </a:r>
          </a:p>
          <a:p>
            <a:pPr algn="ctr" defTabSz="868900" fontAlgn="auto">
              <a:spcBef>
                <a:spcPts val="0"/>
              </a:spcBef>
              <a:spcAft>
                <a:spcPts val="0"/>
              </a:spcAft>
            </a:pPr>
            <a:r>
              <a:rPr lang="da-DK" sz="1711" dirty="0" err="1">
                <a:solidFill>
                  <a:prstClr val="black"/>
                </a:solidFill>
                <a:latin typeface="Trebuchet MS" panose="020B0603020202020204"/>
                <a:ea typeface="+mn-ea"/>
              </a:rPr>
              <a:t>natural</a:t>
            </a:r>
            <a:r>
              <a:rPr lang="da-DK" sz="1711" dirty="0">
                <a:solidFill>
                  <a:prstClr val="black"/>
                </a:solidFill>
                <a:latin typeface="Trebuchet MS" panose="020B0603020202020204"/>
                <a:ea typeface="+mn-ea"/>
              </a:rPr>
              <a:t> </a:t>
            </a:r>
            <a:r>
              <a:rPr lang="da-DK" sz="1711" dirty="0" err="1">
                <a:solidFill>
                  <a:prstClr val="black"/>
                </a:solidFill>
                <a:latin typeface="Trebuchet MS" panose="020B0603020202020204"/>
                <a:ea typeface="+mn-ea"/>
              </a:rPr>
              <a:t>resources</a:t>
            </a:r>
            <a:r>
              <a:rPr lang="da-DK" sz="1711" dirty="0">
                <a:solidFill>
                  <a:prstClr val="black"/>
                </a:solidFill>
                <a:latin typeface="Trebuchet MS" panose="020B0603020202020204"/>
                <a:ea typeface="+mn-ea"/>
              </a:rPr>
              <a:t> </a:t>
            </a:r>
          </a:p>
          <a:p>
            <a:pPr algn="ctr" defTabSz="868900" fontAlgn="auto">
              <a:spcBef>
                <a:spcPts val="0"/>
              </a:spcBef>
              <a:spcAft>
                <a:spcPts val="0"/>
              </a:spcAft>
            </a:pPr>
            <a:r>
              <a:rPr lang="da-DK" sz="1711" dirty="0">
                <a:solidFill>
                  <a:prstClr val="black"/>
                </a:solidFill>
                <a:latin typeface="Trebuchet MS" panose="020B0603020202020204"/>
                <a:ea typeface="+mn-ea"/>
              </a:rPr>
              <a:t>and </a:t>
            </a:r>
            <a:r>
              <a:rPr lang="da-DK" sz="1711" dirty="0" err="1">
                <a:solidFill>
                  <a:prstClr val="black"/>
                </a:solidFill>
                <a:latin typeface="Trebuchet MS" panose="020B0603020202020204"/>
                <a:ea typeface="+mn-ea"/>
              </a:rPr>
              <a:t>materials</a:t>
            </a:r>
            <a:r>
              <a:rPr lang="da-DK" sz="1711" dirty="0">
                <a:solidFill>
                  <a:prstClr val="black"/>
                </a:solidFill>
                <a:latin typeface="Trebuchet MS" panose="020B0603020202020204"/>
                <a:ea typeface="+mn-ea"/>
              </a:rPr>
              <a:t>, </a:t>
            </a:r>
          </a:p>
          <a:p>
            <a:pPr algn="ctr" defTabSz="868900" fontAlgn="auto">
              <a:spcBef>
                <a:spcPts val="0"/>
              </a:spcBef>
              <a:spcAft>
                <a:spcPts val="0"/>
              </a:spcAft>
            </a:pPr>
            <a:r>
              <a:rPr lang="da-DK" sz="1711" dirty="0">
                <a:solidFill>
                  <a:prstClr val="black"/>
                </a:solidFill>
                <a:latin typeface="Trebuchet MS" panose="020B0603020202020204"/>
                <a:ea typeface="+mn-ea"/>
              </a:rPr>
              <a:t>social </a:t>
            </a:r>
            <a:r>
              <a:rPr lang="da-DK" sz="1711" dirty="0" err="1">
                <a:solidFill>
                  <a:prstClr val="black"/>
                </a:solidFill>
                <a:latin typeface="Trebuchet MS" panose="020B0603020202020204"/>
                <a:ea typeface="+mn-ea"/>
              </a:rPr>
              <a:t>equity</a:t>
            </a:r>
            <a:endParaRPr lang="da-DK" sz="1711" dirty="0">
              <a:solidFill>
                <a:prstClr val="black"/>
              </a:solidFill>
              <a:latin typeface="Trebuchet MS" panose="020B0603020202020204"/>
              <a:ea typeface="+mn-ea"/>
            </a:endParaRPr>
          </a:p>
        </p:txBody>
      </p:sp>
      <p:sp>
        <p:nvSpPr>
          <p:cNvPr id="37" name="TextBox 36"/>
          <p:cNvSpPr txBox="1"/>
          <p:nvPr/>
        </p:nvSpPr>
        <p:spPr>
          <a:xfrm>
            <a:off x="7305062" y="4529177"/>
            <a:ext cx="2018278" cy="2198551"/>
          </a:xfrm>
          <a:prstGeom prst="rect">
            <a:avLst/>
          </a:prstGeom>
          <a:noFill/>
          <a:ln w="28575">
            <a:solidFill>
              <a:srgbClr val="0070C0"/>
            </a:solidFill>
          </a:ln>
        </p:spPr>
        <p:txBody>
          <a:bodyPr wrap="square" rtlCol="0">
            <a:spAutoFit/>
          </a:bodyPr>
          <a:lstStyle/>
          <a:p>
            <a:pPr algn="ctr" defTabSz="868900" fontAlgn="auto">
              <a:spcBef>
                <a:spcPts val="0"/>
              </a:spcBef>
              <a:spcAft>
                <a:spcPts val="0"/>
              </a:spcAft>
            </a:pPr>
            <a:r>
              <a:rPr lang="da-DK" sz="1711" dirty="0">
                <a:solidFill>
                  <a:prstClr val="black"/>
                </a:solidFill>
                <a:latin typeface="Trebuchet MS" panose="020B0603020202020204"/>
                <a:ea typeface="+mn-ea"/>
              </a:rPr>
              <a:t>Diverse, </a:t>
            </a:r>
            <a:r>
              <a:rPr lang="da-DK" sz="1711" dirty="0" err="1">
                <a:solidFill>
                  <a:prstClr val="black"/>
                </a:solidFill>
                <a:latin typeface="Trebuchet MS" panose="020B0603020202020204"/>
                <a:ea typeface="+mn-ea"/>
              </a:rPr>
              <a:t>fit</a:t>
            </a:r>
            <a:r>
              <a:rPr lang="da-DK" sz="1711" dirty="0">
                <a:solidFill>
                  <a:prstClr val="black"/>
                </a:solidFill>
                <a:latin typeface="Trebuchet MS" panose="020B0603020202020204"/>
                <a:ea typeface="+mn-ea"/>
              </a:rPr>
              <a:t>-for-purpose </a:t>
            </a:r>
            <a:r>
              <a:rPr lang="da-DK" sz="1711" dirty="0" err="1">
                <a:solidFill>
                  <a:prstClr val="black"/>
                </a:solidFill>
                <a:latin typeface="Trebuchet MS" panose="020B0603020202020204"/>
                <a:ea typeface="+mn-ea"/>
              </a:rPr>
              <a:t>renewable</a:t>
            </a:r>
            <a:r>
              <a:rPr lang="da-DK" sz="1711" dirty="0">
                <a:solidFill>
                  <a:prstClr val="black"/>
                </a:solidFill>
                <a:latin typeface="Trebuchet MS" panose="020B0603020202020204"/>
                <a:ea typeface="+mn-ea"/>
              </a:rPr>
              <a:t> </a:t>
            </a:r>
            <a:r>
              <a:rPr lang="da-DK" sz="1711" dirty="0" err="1">
                <a:solidFill>
                  <a:prstClr val="black"/>
                </a:solidFill>
                <a:latin typeface="Trebuchet MS" panose="020B0603020202020204"/>
                <a:ea typeface="+mn-ea"/>
              </a:rPr>
              <a:t>sources</a:t>
            </a:r>
            <a:r>
              <a:rPr lang="da-DK" sz="1711" dirty="0">
                <a:solidFill>
                  <a:prstClr val="black"/>
                </a:solidFill>
                <a:latin typeface="Trebuchet MS" panose="020B0603020202020204"/>
                <a:ea typeface="+mn-ea"/>
              </a:rPr>
              <a:t>, </a:t>
            </a:r>
            <a:r>
              <a:rPr lang="da-DK" sz="1711" dirty="0" err="1">
                <a:solidFill>
                  <a:prstClr val="black"/>
                </a:solidFill>
                <a:latin typeface="Trebuchet MS" panose="020B0603020202020204"/>
                <a:ea typeface="+mn-ea"/>
              </a:rPr>
              <a:t>maintainance</a:t>
            </a:r>
            <a:r>
              <a:rPr lang="da-DK" sz="1711" dirty="0">
                <a:solidFill>
                  <a:prstClr val="black"/>
                </a:solidFill>
                <a:latin typeface="Trebuchet MS" panose="020B0603020202020204"/>
                <a:ea typeface="+mn-ea"/>
              </a:rPr>
              <a:t>, </a:t>
            </a:r>
            <a:r>
              <a:rPr lang="da-DK" sz="1711" dirty="0" err="1">
                <a:solidFill>
                  <a:prstClr val="black"/>
                </a:solidFill>
                <a:latin typeface="Trebuchet MS" panose="020B0603020202020204"/>
                <a:ea typeface="+mn-ea"/>
              </a:rPr>
              <a:t>reuse</a:t>
            </a:r>
            <a:r>
              <a:rPr lang="da-DK" sz="1711" dirty="0">
                <a:solidFill>
                  <a:prstClr val="black"/>
                </a:solidFill>
                <a:latin typeface="Trebuchet MS" panose="020B0603020202020204"/>
                <a:ea typeface="+mn-ea"/>
              </a:rPr>
              <a:t>, </a:t>
            </a:r>
            <a:r>
              <a:rPr lang="da-DK" sz="1711" dirty="0" err="1">
                <a:solidFill>
                  <a:prstClr val="black"/>
                </a:solidFill>
                <a:latin typeface="Trebuchet MS" panose="020B0603020202020204"/>
                <a:ea typeface="+mn-ea"/>
              </a:rPr>
              <a:t>redistribute</a:t>
            </a:r>
            <a:r>
              <a:rPr lang="da-DK" sz="1711" dirty="0">
                <a:solidFill>
                  <a:prstClr val="black"/>
                </a:solidFill>
                <a:latin typeface="Trebuchet MS" panose="020B0603020202020204"/>
                <a:ea typeface="+mn-ea"/>
              </a:rPr>
              <a:t>, </a:t>
            </a:r>
            <a:r>
              <a:rPr lang="da-DK" sz="1711" dirty="0" err="1">
                <a:solidFill>
                  <a:prstClr val="black"/>
                </a:solidFill>
                <a:latin typeface="Trebuchet MS" panose="020B0603020202020204"/>
                <a:ea typeface="+mn-ea"/>
              </a:rPr>
              <a:t>recycle</a:t>
            </a:r>
            <a:r>
              <a:rPr lang="da-DK" sz="1711" dirty="0">
                <a:solidFill>
                  <a:prstClr val="black"/>
                </a:solidFill>
                <a:latin typeface="Trebuchet MS" panose="020B0603020202020204"/>
                <a:ea typeface="+mn-ea"/>
              </a:rPr>
              <a:t>, </a:t>
            </a:r>
            <a:r>
              <a:rPr lang="da-DK" sz="1711" dirty="0" err="1">
                <a:solidFill>
                  <a:prstClr val="black"/>
                </a:solidFill>
                <a:latin typeface="Trebuchet MS" panose="020B0603020202020204"/>
                <a:ea typeface="+mn-ea"/>
              </a:rPr>
              <a:t>share</a:t>
            </a:r>
            <a:endParaRPr lang="da-DK" sz="1711" dirty="0">
              <a:solidFill>
                <a:prstClr val="black"/>
              </a:solidFill>
              <a:latin typeface="Trebuchet MS" panose="020B0603020202020204"/>
              <a:ea typeface="+mn-ea"/>
            </a:endParaRPr>
          </a:p>
        </p:txBody>
      </p:sp>
      <p:sp>
        <p:nvSpPr>
          <p:cNvPr id="38" name="Rectangle 37"/>
          <p:cNvSpPr/>
          <p:nvPr/>
        </p:nvSpPr>
        <p:spPr>
          <a:xfrm>
            <a:off x="9407787" y="4254023"/>
            <a:ext cx="2223845" cy="2198551"/>
          </a:xfrm>
          <a:prstGeom prst="rect">
            <a:avLst/>
          </a:prstGeom>
          <a:ln w="28575">
            <a:solidFill>
              <a:srgbClr val="0070C0"/>
            </a:solidFill>
          </a:ln>
        </p:spPr>
        <p:txBody>
          <a:bodyPr wrap="square">
            <a:spAutoFit/>
          </a:bodyPr>
          <a:lstStyle/>
          <a:p>
            <a:pPr algn="ctr" defTabSz="868900" fontAlgn="auto">
              <a:spcBef>
                <a:spcPts val="0"/>
              </a:spcBef>
              <a:spcAft>
                <a:spcPts val="0"/>
              </a:spcAft>
            </a:pPr>
            <a:r>
              <a:rPr lang="da-DK" sz="1711" dirty="0">
                <a:solidFill>
                  <a:prstClr val="black"/>
                </a:solidFill>
                <a:latin typeface="Trebuchet MS" panose="020B0603020202020204"/>
                <a:ea typeface="+mn-ea"/>
              </a:rPr>
              <a:t>Adaptive and </a:t>
            </a:r>
            <a:r>
              <a:rPr lang="da-DK" sz="1711" dirty="0" err="1">
                <a:solidFill>
                  <a:prstClr val="black"/>
                </a:solidFill>
                <a:latin typeface="Trebuchet MS" panose="020B0603020202020204"/>
                <a:ea typeface="+mn-ea"/>
              </a:rPr>
              <a:t>multifunctional</a:t>
            </a:r>
            <a:r>
              <a:rPr lang="da-DK" sz="1711" dirty="0">
                <a:solidFill>
                  <a:prstClr val="black"/>
                </a:solidFill>
                <a:latin typeface="Trebuchet MS" panose="020B0603020202020204"/>
                <a:ea typeface="+mn-ea"/>
              </a:rPr>
              <a:t> </a:t>
            </a:r>
            <a:r>
              <a:rPr lang="da-DK" sz="1711" dirty="0" err="1">
                <a:solidFill>
                  <a:prstClr val="black"/>
                </a:solidFill>
                <a:latin typeface="Trebuchet MS" panose="020B0603020202020204"/>
                <a:ea typeface="+mn-ea"/>
              </a:rPr>
              <a:t>infrastructures</a:t>
            </a:r>
            <a:r>
              <a:rPr lang="da-DK" sz="1711" dirty="0">
                <a:solidFill>
                  <a:prstClr val="black"/>
                </a:solidFill>
                <a:latin typeface="Trebuchet MS" panose="020B0603020202020204"/>
                <a:ea typeface="+mn-ea"/>
              </a:rPr>
              <a:t>, </a:t>
            </a:r>
          </a:p>
          <a:p>
            <a:pPr algn="ctr" defTabSz="868900" fontAlgn="auto">
              <a:spcBef>
                <a:spcPts val="0"/>
              </a:spcBef>
              <a:spcAft>
                <a:spcPts val="0"/>
              </a:spcAft>
            </a:pPr>
            <a:r>
              <a:rPr lang="da-DK" sz="1711" dirty="0" err="1">
                <a:solidFill>
                  <a:prstClr val="black"/>
                </a:solidFill>
                <a:latin typeface="Trebuchet MS" panose="020B0603020202020204"/>
                <a:ea typeface="+mn-ea"/>
              </a:rPr>
              <a:t>transdisciplinary</a:t>
            </a:r>
            <a:r>
              <a:rPr lang="da-DK" sz="1711" dirty="0">
                <a:solidFill>
                  <a:prstClr val="black"/>
                </a:solidFill>
                <a:latin typeface="Trebuchet MS" panose="020B0603020202020204"/>
                <a:ea typeface="+mn-ea"/>
              </a:rPr>
              <a:t> design for </a:t>
            </a:r>
            <a:r>
              <a:rPr lang="da-DK" sz="1711" dirty="0" err="1">
                <a:solidFill>
                  <a:prstClr val="black"/>
                </a:solidFill>
                <a:latin typeface="Trebuchet MS" panose="020B0603020202020204"/>
                <a:ea typeface="+mn-ea"/>
              </a:rPr>
              <a:t>biosphere</a:t>
            </a:r>
            <a:r>
              <a:rPr lang="da-DK" sz="1711" dirty="0">
                <a:solidFill>
                  <a:prstClr val="black"/>
                </a:solidFill>
                <a:latin typeface="Trebuchet MS" panose="020B0603020202020204"/>
                <a:ea typeface="+mn-ea"/>
              </a:rPr>
              <a:t> regeneration,</a:t>
            </a:r>
          </a:p>
          <a:p>
            <a:pPr algn="ctr" defTabSz="868900" fontAlgn="auto">
              <a:spcBef>
                <a:spcPts val="0"/>
              </a:spcBef>
              <a:spcAft>
                <a:spcPts val="0"/>
              </a:spcAft>
            </a:pPr>
            <a:r>
              <a:rPr lang="da-DK" sz="1711" dirty="0" err="1">
                <a:solidFill>
                  <a:prstClr val="black"/>
                </a:solidFill>
                <a:latin typeface="Trebuchet MS" panose="020B0603020202020204"/>
                <a:ea typeface="+mn-ea"/>
              </a:rPr>
              <a:t>reinforcing</a:t>
            </a:r>
            <a:r>
              <a:rPr lang="da-DK" sz="1711" dirty="0">
                <a:solidFill>
                  <a:prstClr val="black"/>
                </a:solidFill>
                <a:latin typeface="Trebuchet MS" panose="020B0603020202020204"/>
                <a:ea typeface="+mn-ea"/>
              </a:rPr>
              <a:t> </a:t>
            </a:r>
            <a:r>
              <a:rPr lang="da-DK" sz="1711" dirty="0" err="1">
                <a:solidFill>
                  <a:prstClr val="black"/>
                </a:solidFill>
                <a:latin typeface="Trebuchet MS" panose="020B0603020202020204"/>
                <a:ea typeface="+mn-ea"/>
              </a:rPr>
              <a:t>cultural</a:t>
            </a:r>
            <a:r>
              <a:rPr lang="da-DK" sz="1711" dirty="0">
                <a:solidFill>
                  <a:prstClr val="black"/>
                </a:solidFill>
                <a:latin typeface="Trebuchet MS" panose="020B0603020202020204"/>
                <a:ea typeface="+mn-ea"/>
              </a:rPr>
              <a:t> </a:t>
            </a:r>
            <a:r>
              <a:rPr lang="da-DK" sz="1711" dirty="0" err="1">
                <a:solidFill>
                  <a:prstClr val="black"/>
                </a:solidFill>
                <a:latin typeface="Trebuchet MS" panose="020B0603020202020204"/>
                <a:ea typeface="+mn-ea"/>
              </a:rPr>
              <a:t>identity</a:t>
            </a:r>
            <a:endParaRPr lang="da-DK" sz="1711" dirty="0">
              <a:solidFill>
                <a:prstClr val="black"/>
              </a:solidFill>
              <a:latin typeface="Trebuchet MS" panose="020B0603020202020204"/>
              <a:ea typeface="+mn-ea"/>
            </a:endParaRPr>
          </a:p>
        </p:txBody>
      </p:sp>
      <p:sp>
        <p:nvSpPr>
          <p:cNvPr id="39" name="TextBox 38"/>
          <p:cNvSpPr txBox="1"/>
          <p:nvPr/>
        </p:nvSpPr>
        <p:spPr>
          <a:xfrm>
            <a:off x="9299202" y="441783"/>
            <a:ext cx="2343911" cy="1408719"/>
          </a:xfrm>
          <a:prstGeom prst="rect">
            <a:avLst/>
          </a:prstGeom>
          <a:noFill/>
          <a:ln w="28575">
            <a:solidFill>
              <a:srgbClr val="FF0000"/>
            </a:solidFill>
          </a:ln>
        </p:spPr>
        <p:txBody>
          <a:bodyPr wrap="none" rtlCol="0">
            <a:spAutoFit/>
          </a:bodyPr>
          <a:lstStyle/>
          <a:p>
            <a:pPr algn="ctr" defTabSz="868900" fontAlgn="auto">
              <a:spcBef>
                <a:spcPts val="0"/>
              </a:spcBef>
              <a:spcAft>
                <a:spcPts val="0"/>
              </a:spcAft>
            </a:pPr>
            <a:r>
              <a:rPr lang="da-DK" sz="1711" dirty="0" err="1">
                <a:solidFill>
                  <a:prstClr val="black"/>
                </a:solidFill>
                <a:latin typeface="Trebuchet MS" panose="020B0603020202020204"/>
                <a:ea typeface="+mn-ea"/>
              </a:rPr>
              <a:t>Intergenerational</a:t>
            </a:r>
            <a:r>
              <a:rPr lang="da-DK" sz="1711" dirty="0">
                <a:solidFill>
                  <a:prstClr val="black"/>
                </a:solidFill>
                <a:latin typeface="Trebuchet MS" panose="020B0603020202020204"/>
                <a:ea typeface="+mn-ea"/>
              </a:rPr>
              <a:t> </a:t>
            </a:r>
          </a:p>
          <a:p>
            <a:pPr algn="ctr" defTabSz="868900" fontAlgn="auto">
              <a:spcBef>
                <a:spcPts val="0"/>
              </a:spcBef>
              <a:spcAft>
                <a:spcPts val="0"/>
              </a:spcAft>
            </a:pPr>
            <a:r>
              <a:rPr lang="da-DK" sz="1711" dirty="0" err="1">
                <a:solidFill>
                  <a:prstClr val="black"/>
                </a:solidFill>
                <a:latin typeface="Trebuchet MS" panose="020B0603020202020204"/>
                <a:ea typeface="+mn-ea"/>
              </a:rPr>
              <a:t>equity</a:t>
            </a:r>
            <a:r>
              <a:rPr lang="da-DK" sz="1711" dirty="0">
                <a:solidFill>
                  <a:prstClr val="black"/>
                </a:solidFill>
                <a:latin typeface="Trebuchet MS" panose="020B0603020202020204"/>
                <a:ea typeface="+mn-ea"/>
              </a:rPr>
              <a:t>, </a:t>
            </a:r>
            <a:r>
              <a:rPr lang="da-DK" sz="1711" dirty="0" err="1">
                <a:solidFill>
                  <a:prstClr val="black"/>
                </a:solidFill>
                <a:latin typeface="Trebuchet MS" panose="020B0603020202020204"/>
                <a:ea typeface="+mn-ea"/>
              </a:rPr>
              <a:t>resilience</a:t>
            </a:r>
            <a:r>
              <a:rPr lang="da-DK" sz="1711" dirty="0">
                <a:solidFill>
                  <a:prstClr val="black"/>
                </a:solidFill>
                <a:latin typeface="Trebuchet MS" panose="020B0603020202020204"/>
                <a:ea typeface="+mn-ea"/>
              </a:rPr>
              <a:t>, </a:t>
            </a:r>
          </a:p>
          <a:p>
            <a:pPr algn="ctr" defTabSz="868900" fontAlgn="auto">
              <a:spcBef>
                <a:spcPts val="0"/>
              </a:spcBef>
              <a:spcAft>
                <a:spcPts val="0"/>
              </a:spcAft>
            </a:pPr>
            <a:r>
              <a:rPr lang="da-DK" sz="1711" dirty="0" err="1">
                <a:solidFill>
                  <a:prstClr val="black"/>
                </a:solidFill>
                <a:latin typeface="Trebuchet MS" panose="020B0603020202020204"/>
                <a:ea typeface="+mn-ea"/>
              </a:rPr>
              <a:t>sense</a:t>
            </a:r>
            <a:r>
              <a:rPr lang="da-DK" sz="1711" dirty="0">
                <a:solidFill>
                  <a:prstClr val="black"/>
                </a:solidFill>
                <a:latin typeface="Trebuchet MS" panose="020B0603020202020204"/>
                <a:ea typeface="+mn-ea"/>
              </a:rPr>
              <a:t> of </a:t>
            </a:r>
            <a:r>
              <a:rPr lang="da-DK" sz="1711" dirty="0" err="1">
                <a:solidFill>
                  <a:prstClr val="black"/>
                </a:solidFill>
                <a:latin typeface="Trebuchet MS" panose="020B0603020202020204"/>
                <a:ea typeface="+mn-ea"/>
              </a:rPr>
              <a:t>belonging</a:t>
            </a:r>
            <a:r>
              <a:rPr lang="da-DK" sz="1711" dirty="0">
                <a:solidFill>
                  <a:prstClr val="black"/>
                </a:solidFill>
                <a:latin typeface="Trebuchet MS" panose="020B0603020202020204"/>
                <a:ea typeface="+mn-ea"/>
              </a:rPr>
              <a:t>, </a:t>
            </a:r>
          </a:p>
          <a:p>
            <a:pPr algn="ctr" defTabSz="868900" fontAlgn="auto">
              <a:spcBef>
                <a:spcPts val="0"/>
              </a:spcBef>
              <a:spcAft>
                <a:spcPts val="0"/>
              </a:spcAft>
            </a:pPr>
            <a:r>
              <a:rPr lang="da-DK" sz="1711" dirty="0" err="1">
                <a:solidFill>
                  <a:prstClr val="black"/>
                </a:solidFill>
                <a:latin typeface="Trebuchet MS" panose="020B0603020202020204"/>
                <a:ea typeface="+mn-ea"/>
              </a:rPr>
              <a:t>environmental</a:t>
            </a:r>
            <a:r>
              <a:rPr lang="da-DK" sz="1711" dirty="0">
                <a:solidFill>
                  <a:prstClr val="black"/>
                </a:solidFill>
                <a:latin typeface="Trebuchet MS" panose="020B0603020202020204"/>
                <a:ea typeface="+mn-ea"/>
              </a:rPr>
              <a:t>/social </a:t>
            </a:r>
          </a:p>
          <a:p>
            <a:pPr algn="ctr" defTabSz="868900" fontAlgn="auto">
              <a:spcBef>
                <a:spcPts val="0"/>
              </a:spcBef>
              <a:spcAft>
                <a:spcPts val="0"/>
              </a:spcAft>
            </a:pPr>
            <a:r>
              <a:rPr lang="da-DK" sz="1711" dirty="0" err="1">
                <a:solidFill>
                  <a:prstClr val="black"/>
                </a:solidFill>
                <a:latin typeface="Trebuchet MS" panose="020B0603020202020204"/>
                <a:ea typeface="+mn-ea"/>
              </a:rPr>
              <a:t>justice</a:t>
            </a:r>
            <a:r>
              <a:rPr lang="da-DK" sz="1711" dirty="0">
                <a:solidFill>
                  <a:prstClr val="black"/>
                </a:solidFill>
                <a:latin typeface="Trebuchet MS" panose="020B0603020202020204"/>
                <a:ea typeface="+mn-ea"/>
              </a:rPr>
              <a:t>  </a:t>
            </a:r>
          </a:p>
        </p:txBody>
      </p:sp>
      <p:cxnSp>
        <p:nvCxnSpPr>
          <p:cNvPr id="41" name="Straight Arrow Connector 40"/>
          <p:cNvCxnSpPr/>
          <p:nvPr/>
        </p:nvCxnSpPr>
        <p:spPr>
          <a:xfrm>
            <a:off x="1382457" y="1077100"/>
            <a:ext cx="13455" cy="1685894"/>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8177794" y="1584558"/>
            <a:ext cx="16526" cy="1103764"/>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6328079" y="1341363"/>
            <a:ext cx="0" cy="1255461"/>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a:off x="4617959" y="1267949"/>
            <a:ext cx="0" cy="139727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3024630" y="1071361"/>
            <a:ext cx="0" cy="1614086"/>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10415894" y="1854061"/>
            <a:ext cx="0" cy="742763"/>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a:off x="1486684" y="3582216"/>
            <a:ext cx="0" cy="1711855"/>
          </a:xfrm>
          <a:prstGeom prst="straightConnector1">
            <a:avLst/>
          </a:prstGeom>
          <a:ln w="38100">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a:off x="3076893" y="3578567"/>
            <a:ext cx="0" cy="1711855"/>
          </a:xfrm>
          <a:prstGeom prst="straightConnector1">
            <a:avLst/>
          </a:prstGeom>
          <a:ln w="38100">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a:off x="4617959" y="3582216"/>
            <a:ext cx="22692" cy="1975070"/>
          </a:xfrm>
          <a:prstGeom prst="straightConnector1">
            <a:avLst/>
          </a:prstGeom>
          <a:ln w="38100">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a:off x="6328079" y="3618090"/>
            <a:ext cx="0" cy="1711855"/>
          </a:xfrm>
          <a:prstGeom prst="straightConnector1">
            <a:avLst/>
          </a:prstGeom>
          <a:ln w="38100">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8202480" y="3566528"/>
            <a:ext cx="9380" cy="955408"/>
          </a:xfrm>
          <a:prstGeom prst="straightConnector1">
            <a:avLst/>
          </a:prstGeom>
          <a:ln w="38100">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a:off x="10471157" y="3458274"/>
            <a:ext cx="0" cy="781380"/>
          </a:xfrm>
          <a:prstGeom prst="straightConnector1">
            <a:avLst/>
          </a:prstGeom>
          <a:ln w="38100">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76" name="Right Arrow 75">
            <a:extLst>
              <a:ext uri="{FF2B5EF4-FFF2-40B4-BE49-F238E27FC236}">
                <a16:creationId xmlns:a16="http://schemas.microsoft.com/office/drawing/2014/main" id="{58AD4246-BBD7-2540-8385-645FFE1E7FAC}"/>
              </a:ext>
            </a:extLst>
          </p:cNvPr>
          <p:cNvSpPr/>
          <p:nvPr/>
        </p:nvSpPr>
        <p:spPr>
          <a:xfrm>
            <a:off x="879097" y="328724"/>
            <a:ext cx="10083964" cy="1522448"/>
          </a:xfrm>
          <a:prstGeom prst="rightArrow">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868900" fontAlgn="auto">
              <a:spcBef>
                <a:spcPts val="0"/>
              </a:spcBef>
              <a:spcAft>
                <a:spcPts val="0"/>
              </a:spcAft>
            </a:pPr>
            <a:r>
              <a:rPr lang="da-DK" sz="1711" dirty="0" err="1">
                <a:solidFill>
                  <a:prstClr val="white"/>
                </a:solidFill>
                <a:latin typeface="Trebuchet MS" panose="020B0603020202020204"/>
              </a:rPr>
              <a:t>Increasing</a:t>
            </a:r>
            <a:r>
              <a:rPr lang="da-DK" sz="1711" dirty="0">
                <a:solidFill>
                  <a:prstClr val="white"/>
                </a:solidFill>
                <a:latin typeface="Trebuchet MS" panose="020B0603020202020204"/>
              </a:rPr>
              <a:t> </a:t>
            </a:r>
            <a:r>
              <a:rPr lang="da-DK" sz="1711" dirty="0" err="1">
                <a:solidFill>
                  <a:prstClr val="white"/>
                </a:solidFill>
                <a:latin typeface="Trebuchet MS" panose="020B0603020202020204"/>
              </a:rPr>
              <a:t>diversity</a:t>
            </a:r>
            <a:r>
              <a:rPr lang="da-DK" sz="1711" dirty="0">
                <a:solidFill>
                  <a:prstClr val="white"/>
                </a:solidFill>
                <a:latin typeface="Trebuchet MS" panose="020B0603020202020204"/>
              </a:rPr>
              <a:t> of </a:t>
            </a:r>
            <a:r>
              <a:rPr lang="da-DK" sz="1711" dirty="0" err="1">
                <a:solidFill>
                  <a:prstClr val="white"/>
                </a:solidFill>
                <a:latin typeface="Trebuchet MS" panose="020B0603020202020204"/>
              </a:rPr>
              <a:t>actors</a:t>
            </a:r>
            <a:r>
              <a:rPr lang="da-DK" sz="1711" dirty="0">
                <a:solidFill>
                  <a:prstClr val="white"/>
                </a:solidFill>
                <a:latin typeface="Trebuchet MS" panose="020B0603020202020204"/>
              </a:rPr>
              <a:t> and </a:t>
            </a:r>
            <a:r>
              <a:rPr lang="da-DK" sz="1711" dirty="0" err="1">
                <a:solidFill>
                  <a:prstClr val="white"/>
                </a:solidFill>
                <a:latin typeface="Trebuchet MS" panose="020B0603020202020204"/>
              </a:rPr>
              <a:t>level</a:t>
            </a:r>
            <a:r>
              <a:rPr lang="da-DK" sz="1711" dirty="0">
                <a:solidFill>
                  <a:prstClr val="white"/>
                </a:solidFill>
                <a:latin typeface="Trebuchet MS" panose="020B0603020202020204"/>
              </a:rPr>
              <a:t> of </a:t>
            </a:r>
            <a:r>
              <a:rPr lang="da-DK" sz="1711" dirty="0" err="1">
                <a:solidFill>
                  <a:prstClr val="white"/>
                </a:solidFill>
                <a:latin typeface="Trebuchet MS" panose="020B0603020202020204"/>
              </a:rPr>
              <a:t>collaboration</a:t>
            </a:r>
            <a:endParaRPr lang="da-DK" sz="1711" dirty="0">
              <a:solidFill>
                <a:prstClr val="white"/>
              </a:solidFill>
              <a:latin typeface="Trebuchet MS" panose="020B0603020202020204"/>
            </a:endParaRPr>
          </a:p>
        </p:txBody>
      </p:sp>
      <p:sp>
        <p:nvSpPr>
          <p:cNvPr id="80" name="Sun 79">
            <a:extLst>
              <a:ext uri="{FF2B5EF4-FFF2-40B4-BE49-F238E27FC236}">
                <a16:creationId xmlns:a16="http://schemas.microsoft.com/office/drawing/2014/main" id="{033B3B2F-26DA-2446-AEBC-560728779E6C}"/>
              </a:ext>
            </a:extLst>
          </p:cNvPr>
          <p:cNvSpPr/>
          <p:nvPr/>
        </p:nvSpPr>
        <p:spPr>
          <a:xfrm>
            <a:off x="7869735" y="1975796"/>
            <a:ext cx="4998555" cy="2381301"/>
          </a:xfrm>
          <a:prstGeom prst="sun">
            <a:avLst/>
          </a:prstGeom>
          <a:solidFill>
            <a:srgbClr val="FFFF00">
              <a:alpha val="30980"/>
            </a:srgbClr>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68900" fontAlgn="auto">
              <a:spcBef>
                <a:spcPts val="0"/>
              </a:spcBef>
              <a:spcAft>
                <a:spcPts val="0"/>
              </a:spcAft>
            </a:pPr>
            <a:endParaRPr lang="da-DK" sz="1711">
              <a:solidFill>
                <a:prstClr val="white"/>
              </a:solidFill>
              <a:latin typeface="Trebuchet MS" panose="020B0603020202020204"/>
            </a:endParaRPr>
          </a:p>
        </p:txBody>
      </p:sp>
      <p:sp>
        <p:nvSpPr>
          <p:cNvPr id="9" name="TextBox 8"/>
          <p:cNvSpPr txBox="1"/>
          <p:nvPr/>
        </p:nvSpPr>
        <p:spPr>
          <a:xfrm>
            <a:off x="9469431" y="2923528"/>
            <a:ext cx="2092624" cy="393056"/>
          </a:xfrm>
          <a:prstGeom prst="rect">
            <a:avLst/>
          </a:prstGeom>
          <a:noFill/>
        </p:spPr>
        <p:txBody>
          <a:bodyPr wrap="none" rtlCol="0">
            <a:spAutoFit/>
          </a:bodyPr>
          <a:lstStyle/>
          <a:p>
            <a:pPr algn="ctr" defTabSz="868900" fontAlgn="auto">
              <a:spcBef>
                <a:spcPts val="0"/>
              </a:spcBef>
              <a:spcAft>
                <a:spcPts val="0"/>
              </a:spcAft>
            </a:pPr>
            <a:r>
              <a:rPr lang="da-DK" sz="1954" b="1" dirty="0">
                <a:solidFill>
                  <a:prstClr val="black"/>
                </a:solidFill>
                <a:latin typeface="Trebuchet MS" panose="020B0603020202020204"/>
                <a:ea typeface="+mn-ea"/>
              </a:rPr>
              <a:t>Smart Transition</a:t>
            </a:r>
          </a:p>
        </p:txBody>
      </p:sp>
      <p:sp>
        <p:nvSpPr>
          <p:cNvPr id="2" name="Right Arrow 74">
            <a:extLst>
              <a:ext uri="{FF2B5EF4-FFF2-40B4-BE49-F238E27FC236}">
                <a16:creationId xmlns:a16="http://schemas.microsoft.com/office/drawing/2014/main" id="{E9515D4F-F12B-7080-530A-E5B4304E4594}"/>
              </a:ext>
            </a:extLst>
          </p:cNvPr>
          <p:cNvSpPr/>
          <p:nvPr/>
        </p:nvSpPr>
        <p:spPr>
          <a:xfrm>
            <a:off x="879097" y="4783790"/>
            <a:ext cx="10083964" cy="1473339"/>
          </a:xfrm>
          <a:prstGeom prs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68900" fontAlgn="auto">
              <a:spcBef>
                <a:spcPts val="0"/>
              </a:spcBef>
              <a:spcAft>
                <a:spcPts val="0"/>
              </a:spcAft>
            </a:pPr>
            <a:r>
              <a:rPr lang="en-GB" sz="1711" dirty="0">
                <a:solidFill>
                  <a:prstClr val="white"/>
                </a:solidFill>
                <a:latin typeface="Trebuchet MS" panose="020B0603020202020204"/>
              </a:rPr>
              <a:t>Radical transformation of business models, planning/management practices and governance structures (beyond sectorial perspectives)</a:t>
            </a:r>
          </a:p>
        </p:txBody>
      </p:sp>
      <p:sp>
        <p:nvSpPr>
          <p:cNvPr id="75" name="Right Arrow 74">
            <a:extLst>
              <a:ext uri="{FF2B5EF4-FFF2-40B4-BE49-F238E27FC236}">
                <a16:creationId xmlns:a16="http://schemas.microsoft.com/office/drawing/2014/main" id="{774504EC-F80F-9F44-BB15-6ED127E8E8BC}"/>
              </a:ext>
            </a:extLst>
          </p:cNvPr>
          <p:cNvSpPr/>
          <p:nvPr/>
        </p:nvSpPr>
        <p:spPr>
          <a:xfrm>
            <a:off x="879097" y="2428612"/>
            <a:ext cx="10083963" cy="1473339"/>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68900" fontAlgn="auto">
              <a:spcBef>
                <a:spcPts val="0"/>
              </a:spcBef>
              <a:spcAft>
                <a:spcPts val="0"/>
              </a:spcAft>
            </a:pPr>
            <a:r>
              <a:rPr lang="en-GB" sz="1711" dirty="0">
                <a:ln w="0"/>
                <a:solidFill>
                  <a:prstClr val="black"/>
                </a:solidFill>
                <a:effectLst>
                  <a:outerShdw blurRad="38100" dist="19050" dir="2700000" algn="tl" rotWithShape="0">
                    <a:prstClr val="black">
                      <a:alpha val="40000"/>
                    </a:prstClr>
                  </a:outerShdw>
                </a:effectLst>
                <a:latin typeface="Trebuchet MS" panose="020B0603020202020204"/>
              </a:rPr>
              <a:t>Requiring knowledge and experimentations for shared learnings to re-design system and places </a:t>
            </a:r>
          </a:p>
        </p:txBody>
      </p:sp>
    </p:spTree>
    <p:extLst>
      <p:ext uri="{BB962C8B-B14F-4D97-AF65-F5344CB8AC3E}">
        <p14:creationId xmlns:p14="http://schemas.microsoft.com/office/powerpoint/2010/main" val="42098480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2"/>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6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0"/>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6"/>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48"/>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4"/>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6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5"/>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4"/>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7"/>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47"/>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36"/>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37"/>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68"/>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3"/>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51"/>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39"/>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69"/>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8"/>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38"/>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9"/>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grpId="0" nodeType="clickEffect">
                                  <p:stCondLst>
                                    <p:cond delay="0"/>
                                  </p:stCondLst>
                                  <p:childTnLst>
                                    <p:set>
                                      <p:cBhvr>
                                        <p:cTn id="76" dur="1" fill="hold">
                                          <p:stCondLst>
                                            <p:cond delay="0"/>
                                          </p:stCondLst>
                                        </p:cTn>
                                        <p:tgtEl>
                                          <p:spTgt spid="80"/>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2" presetClass="entr" presetSubtype="8" fill="hold" grpId="0" nodeType="clickEffect">
                                  <p:stCondLst>
                                    <p:cond delay="0"/>
                                  </p:stCondLst>
                                  <p:childTnLst>
                                    <p:set>
                                      <p:cBhvr>
                                        <p:cTn id="80" dur="1" fill="hold">
                                          <p:stCondLst>
                                            <p:cond delay="0"/>
                                          </p:stCondLst>
                                        </p:cTn>
                                        <p:tgtEl>
                                          <p:spTgt spid="76"/>
                                        </p:tgtEl>
                                        <p:attrNameLst>
                                          <p:attrName>style.visibility</p:attrName>
                                        </p:attrNameLst>
                                      </p:cBhvr>
                                      <p:to>
                                        <p:strVal val="visible"/>
                                      </p:to>
                                    </p:set>
                                    <p:anim calcmode="lin" valueType="num">
                                      <p:cBhvr additive="base">
                                        <p:cTn id="81" dur="500" fill="hold"/>
                                        <p:tgtEl>
                                          <p:spTgt spid="76"/>
                                        </p:tgtEl>
                                        <p:attrNameLst>
                                          <p:attrName>ppt_x</p:attrName>
                                        </p:attrNameLst>
                                      </p:cBhvr>
                                      <p:tavLst>
                                        <p:tav tm="0">
                                          <p:val>
                                            <p:strVal val="0-#ppt_w/2"/>
                                          </p:val>
                                        </p:tav>
                                        <p:tav tm="100000">
                                          <p:val>
                                            <p:strVal val="#ppt_x"/>
                                          </p:val>
                                        </p:tav>
                                      </p:tavLst>
                                    </p:anim>
                                    <p:anim calcmode="lin" valueType="num">
                                      <p:cBhvr additive="base">
                                        <p:cTn id="82" dur="500" fill="hold"/>
                                        <p:tgtEl>
                                          <p:spTgt spid="76"/>
                                        </p:tgtEl>
                                        <p:attrNameLst>
                                          <p:attrName>ppt_y</p:attrName>
                                        </p:attrNameLst>
                                      </p:cBhvr>
                                      <p:tavLst>
                                        <p:tav tm="0">
                                          <p:val>
                                            <p:strVal val="#ppt_y"/>
                                          </p:val>
                                        </p:tav>
                                        <p:tav tm="100000">
                                          <p:val>
                                            <p:strVal val="#ppt_y"/>
                                          </p:val>
                                        </p:tav>
                                      </p:tavLst>
                                    </p:anim>
                                  </p:childTnLst>
                                </p:cTn>
                              </p:par>
                            </p:childTnLst>
                          </p:cTn>
                        </p:par>
                      </p:childTnLst>
                    </p:cTn>
                  </p:par>
                  <p:par>
                    <p:cTn id="83" fill="hold">
                      <p:stCondLst>
                        <p:cond delay="indefinite"/>
                      </p:stCondLst>
                      <p:childTnLst>
                        <p:par>
                          <p:cTn id="84" fill="hold">
                            <p:stCondLst>
                              <p:cond delay="0"/>
                            </p:stCondLst>
                            <p:childTnLst>
                              <p:par>
                                <p:cTn id="85" presetID="2" presetClass="entr" presetSubtype="8" fill="hold" grpId="0" nodeType="clickEffect">
                                  <p:stCondLst>
                                    <p:cond delay="0"/>
                                  </p:stCondLst>
                                  <p:childTnLst>
                                    <p:set>
                                      <p:cBhvr>
                                        <p:cTn id="86" dur="1" fill="hold">
                                          <p:stCondLst>
                                            <p:cond delay="0"/>
                                          </p:stCondLst>
                                        </p:cTn>
                                        <p:tgtEl>
                                          <p:spTgt spid="2"/>
                                        </p:tgtEl>
                                        <p:attrNameLst>
                                          <p:attrName>style.visibility</p:attrName>
                                        </p:attrNameLst>
                                      </p:cBhvr>
                                      <p:to>
                                        <p:strVal val="visible"/>
                                      </p:to>
                                    </p:set>
                                    <p:anim calcmode="lin" valueType="num">
                                      <p:cBhvr additive="base">
                                        <p:cTn id="87" dur="500" fill="hold"/>
                                        <p:tgtEl>
                                          <p:spTgt spid="2"/>
                                        </p:tgtEl>
                                        <p:attrNameLst>
                                          <p:attrName>ppt_x</p:attrName>
                                        </p:attrNameLst>
                                      </p:cBhvr>
                                      <p:tavLst>
                                        <p:tav tm="0">
                                          <p:val>
                                            <p:strVal val="0-#ppt_w/2"/>
                                          </p:val>
                                        </p:tav>
                                        <p:tav tm="100000">
                                          <p:val>
                                            <p:strVal val="#ppt_x"/>
                                          </p:val>
                                        </p:tav>
                                      </p:tavLst>
                                    </p:anim>
                                    <p:anim calcmode="lin" valueType="num">
                                      <p:cBhvr additive="base">
                                        <p:cTn id="88" dur="500" fill="hold"/>
                                        <p:tgtEl>
                                          <p:spTgt spid="2"/>
                                        </p:tgtEl>
                                        <p:attrNameLst>
                                          <p:attrName>ppt_y</p:attrName>
                                        </p:attrNameLst>
                                      </p:cBhvr>
                                      <p:tavLst>
                                        <p:tav tm="0">
                                          <p:val>
                                            <p:strVal val="#ppt_y"/>
                                          </p:val>
                                        </p:tav>
                                        <p:tav tm="100000">
                                          <p:val>
                                            <p:strVal val="#ppt_y"/>
                                          </p:val>
                                        </p:tav>
                                      </p:tavLst>
                                    </p:anim>
                                  </p:childTnLst>
                                </p:cTn>
                              </p:par>
                            </p:childTnLst>
                          </p:cTn>
                        </p:par>
                      </p:childTnLst>
                    </p:cTn>
                  </p:par>
                  <p:par>
                    <p:cTn id="89" fill="hold">
                      <p:stCondLst>
                        <p:cond delay="indefinite"/>
                      </p:stCondLst>
                      <p:childTnLst>
                        <p:par>
                          <p:cTn id="90" fill="hold">
                            <p:stCondLst>
                              <p:cond delay="0"/>
                            </p:stCondLst>
                            <p:childTnLst>
                              <p:par>
                                <p:cTn id="91" presetID="2" presetClass="entr" presetSubtype="8" fill="hold" grpId="0" nodeType="clickEffect">
                                  <p:stCondLst>
                                    <p:cond delay="0"/>
                                  </p:stCondLst>
                                  <p:childTnLst>
                                    <p:set>
                                      <p:cBhvr>
                                        <p:cTn id="92" dur="1" fill="hold">
                                          <p:stCondLst>
                                            <p:cond delay="0"/>
                                          </p:stCondLst>
                                        </p:cTn>
                                        <p:tgtEl>
                                          <p:spTgt spid="75"/>
                                        </p:tgtEl>
                                        <p:attrNameLst>
                                          <p:attrName>style.visibility</p:attrName>
                                        </p:attrNameLst>
                                      </p:cBhvr>
                                      <p:to>
                                        <p:strVal val="visible"/>
                                      </p:to>
                                    </p:set>
                                    <p:anim calcmode="lin" valueType="num">
                                      <p:cBhvr additive="base">
                                        <p:cTn id="93" dur="500" fill="hold"/>
                                        <p:tgtEl>
                                          <p:spTgt spid="75"/>
                                        </p:tgtEl>
                                        <p:attrNameLst>
                                          <p:attrName>ppt_x</p:attrName>
                                        </p:attrNameLst>
                                      </p:cBhvr>
                                      <p:tavLst>
                                        <p:tav tm="0">
                                          <p:val>
                                            <p:strVal val="0-#ppt_w/2"/>
                                          </p:val>
                                        </p:tav>
                                        <p:tav tm="100000">
                                          <p:val>
                                            <p:strVal val="#ppt_x"/>
                                          </p:val>
                                        </p:tav>
                                      </p:tavLst>
                                    </p:anim>
                                    <p:anim calcmode="lin" valueType="num">
                                      <p:cBhvr additive="base">
                                        <p:cTn id="94" dur="500" fill="hold"/>
                                        <p:tgtEl>
                                          <p:spTgt spid="7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7" grpId="0" animBg="1"/>
      <p:bldP spid="6" grpId="0" animBg="1"/>
      <p:bldP spid="4" grpId="0" animBg="1"/>
      <p:bldP spid="5" grpId="0" animBg="1"/>
      <p:bldP spid="10" grpId="0"/>
      <p:bldP spid="12" grpId="0"/>
      <p:bldP spid="13" grpId="0"/>
      <p:bldP spid="14" grpId="0"/>
      <p:bldP spid="30" grpId="0" animBg="1"/>
      <p:bldP spid="31" grpId="0" animBg="1"/>
      <p:bldP spid="32" grpId="0" animBg="1"/>
      <p:bldP spid="33" grpId="0" animBg="1"/>
      <p:bldP spid="34" grpId="0" animBg="1"/>
      <p:bldP spid="35" grpId="0" animBg="1"/>
      <p:bldP spid="36" grpId="0" animBg="1"/>
      <p:bldP spid="37" grpId="0" animBg="1"/>
      <p:bldP spid="38" grpId="0" animBg="1"/>
      <p:bldP spid="39" grpId="0" animBg="1"/>
      <p:bldP spid="76" grpId="0" animBg="1"/>
      <p:bldP spid="80" grpId="0" animBg="1"/>
      <p:bldP spid="9" grpId="0"/>
      <p:bldP spid="2" grpId="0" animBg="1"/>
      <p:bldP spid="75" grpId="0" animBg="1"/>
    </p:bld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3D595E-89A3-8A49-B74B-D24DDCD0E948}"/>
              </a:ext>
            </a:extLst>
          </p:cNvPr>
          <p:cNvSpPr>
            <a:spLocks noGrp="1"/>
          </p:cNvSpPr>
          <p:nvPr>
            <p:ph type="title"/>
          </p:nvPr>
        </p:nvSpPr>
        <p:spPr>
          <a:xfrm>
            <a:off x="622598" y="355385"/>
            <a:ext cx="11357225" cy="633005"/>
          </a:xfrm>
        </p:spPr>
        <p:txBody>
          <a:bodyPr>
            <a:noAutofit/>
          </a:bodyPr>
          <a:lstStyle/>
          <a:p>
            <a:r>
              <a:rPr lang="en-US" sz="3198" b="1" dirty="0"/>
              <a:t>Smart transformations as part of an integrated regional strategy </a:t>
            </a:r>
            <a:br>
              <a:rPr lang="en-US" sz="3198" b="1" dirty="0"/>
            </a:br>
            <a:endParaRPr lang="en-US" sz="3198" b="1" dirty="0"/>
          </a:p>
        </p:txBody>
      </p:sp>
      <p:pic>
        <p:nvPicPr>
          <p:cNvPr id="1025" name="Picture 1" descr="page24image1011143312">
            <a:extLst>
              <a:ext uri="{FF2B5EF4-FFF2-40B4-BE49-F238E27FC236}">
                <a16:creationId xmlns:a16="http://schemas.microsoft.com/office/drawing/2014/main" id="{2A5CBDE2-230C-A947-95B5-9D5B839DA64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8777" t="13617" r="8085" b="6666"/>
          <a:stretch/>
        </p:blipFill>
        <p:spPr bwMode="auto">
          <a:xfrm>
            <a:off x="790731" y="1270867"/>
            <a:ext cx="9962533" cy="5373266"/>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D28FAEF7-FA41-924C-B632-AAA30ABDF6CE}"/>
              </a:ext>
            </a:extLst>
          </p:cNvPr>
          <p:cNvSpPr txBox="1"/>
          <p:nvPr/>
        </p:nvSpPr>
        <p:spPr>
          <a:xfrm>
            <a:off x="7860423" y="1289249"/>
            <a:ext cx="2214673" cy="584519"/>
          </a:xfrm>
          <a:prstGeom prst="rect">
            <a:avLst/>
          </a:prstGeom>
          <a:solidFill>
            <a:schemeClr val="accent1"/>
          </a:solidFill>
        </p:spPr>
        <p:txBody>
          <a:bodyPr wrap="square" rtlCol="0">
            <a:spAutoFit/>
          </a:bodyPr>
          <a:lstStyle/>
          <a:p>
            <a:pPr algn="ctr" defTabSz="843357" fontAlgn="auto">
              <a:spcBef>
                <a:spcPts val="0"/>
              </a:spcBef>
              <a:spcAft>
                <a:spcPts val="0"/>
              </a:spcAft>
            </a:pPr>
            <a:r>
              <a:rPr lang="en-US" sz="1599" b="1" dirty="0">
                <a:solidFill>
                  <a:prstClr val="black"/>
                </a:solidFill>
                <a:latin typeface="Trebuchet MS" panose="020B0603020202020204"/>
                <a:ea typeface="+mn-ea"/>
              </a:rPr>
              <a:t>S</a:t>
            </a:r>
            <a:r>
              <a:rPr lang="da-DK" sz="1599" b="1" dirty="0">
                <a:solidFill>
                  <a:prstClr val="black"/>
                </a:solidFill>
                <a:latin typeface="Trebuchet MS" panose="020B0603020202020204"/>
                <a:ea typeface="+mn-ea"/>
              </a:rPr>
              <a:t>mart Transformation</a:t>
            </a:r>
          </a:p>
        </p:txBody>
      </p:sp>
      <p:sp>
        <p:nvSpPr>
          <p:cNvPr id="5" name="Slide Number Placeholder 4">
            <a:extLst>
              <a:ext uri="{FF2B5EF4-FFF2-40B4-BE49-F238E27FC236}">
                <a16:creationId xmlns:a16="http://schemas.microsoft.com/office/drawing/2014/main" id="{353AFD2C-74FA-C641-9FEF-24070259B91D}"/>
              </a:ext>
            </a:extLst>
          </p:cNvPr>
          <p:cNvSpPr>
            <a:spLocks noGrp="1"/>
          </p:cNvSpPr>
          <p:nvPr>
            <p:ph type="sldNum" sz="quarter" idx="12"/>
          </p:nvPr>
        </p:nvSpPr>
        <p:spPr>
          <a:xfrm>
            <a:off x="10769457" y="6142607"/>
            <a:ext cx="630225" cy="336745"/>
          </a:xfrm>
        </p:spPr>
        <p:txBody>
          <a:bodyPr/>
          <a:lstStyle/>
          <a:p>
            <a:pPr defTabSz="843357" fontAlgn="auto">
              <a:spcBef>
                <a:spcPts val="0"/>
              </a:spcBef>
              <a:spcAft>
                <a:spcPts val="0"/>
              </a:spcAft>
            </a:pPr>
            <a:fld id="{D57F1E4F-1CFF-5643-939E-217C01CDF565}" type="slidenum">
              <a:rPr lang="en-US">
                <a:solidFill>
                  <a:srgbClr val="90C226"/>
                </a:solidFill>
                <a:latin typeface="Trebuchet MS" panose="020B0603020202020204"/>
                <a:ea typeface="+mn-ea"/>
              </a:rPr>
              <a:pPr defTabSz="843357" fontAlgn="auto">
                <a:spcBef>
                  <a:spcPts val="0"/>
                </a:spcBef>
                <a:spcAft>
                  <a:spcPts val="0"/>
                </a:spcAft>
              </a:pPr>
              <a:t>6</a:t>
            </a:fld>
            <a:endParaRPr lang="en-US" dirty="0">
              <a:solidFill>
                <a:srgbClr val="90C226"/>
              </a:solidFill>
              <a:latin typeface="Trebuchet MS" panose="020B0603020202020204"/>
              <a:ea typeface="+mn-ea"/>
            </a:endParaRPr>
          </a:p>
        </p:txBody>
      </p:sp>
      <p:sp>
        <p:nvSpPr>
          <p:cNvPr id="26" name="TextBox 25">
            <a:extLst>
              <a:ext uri="{FF2B5EF4-FFF2-40B4-BE49-F238E27FC236}">
                <a16:creationId xmlns:a16="http://schemas.microsoft.com/office/drawing/2014/main" id="{24090DF2-5904-4ED6-2AF0-3A1802C2E2AB}"/>
              </a:ext>
            </a:extLst>
          </p:cNvPr>
          <p:cNvSpPr txBox="1"/>
          <p:nvPr/>
        </p:nvSpPr>
        <p:spPr>
          <a:xfrm>
            <a:off x="4708256" y="2472213"/>
            <a:ext cx="1350050" cy="355610"/>
          </a:xfrm>
          <a:prstGeom prst="rect">
            <a:avLst/>
          </a:prstGeom>
          <a:solidFill>
            <a:srgbClr val="C00000">
              <a:alpha val="44000"/>
            </a:srgbClr>
          </a:solidFill>
          <a:ln>
            <a:solidFill>
              <a:srgbClr val="C00000"/>
            </a:solidFill>
          </a:ln>
        </p:spPr>
        <p:txBody>
          <a:bodyPr wrap="none" rtlCol="0">
            <a:spAutoFit/>
          </a:bodyPr>
          <a:lstStyle/>
          <a:p>
            <a:pPr defTabSz="868900" fontAlgn="auto">
              <a:spcBef>
                <a:spcPts val="0"/>
              </a:spcBef>
              <a:spcAft>
                <a:spcPts val="0"/>
              </a:spcAft>
            </a:pPr>
            <a:r>
              <a:rPr lang="da-DK" sz="1711" dirty="0">
                <a:solidFill>
                  <a:prstClr val="black"/>
                </a:solidFill>
                <a:latin typeface="Trebuchet MS" panose="020B0603020202020204"/>
                <a:ea typeface="+mn-ea"/>
              </a:rPr>
              <a:t>Institutions </a:t>
            </a:r>
          </a:p>
        </p:txBody>
      </p:sp>
      <p:sp>
        <p:nvSpPr>
          <p:cNvPr id="27" name="TextBox 26">
            <a:extLst>
              <a:ext uri="{FF2B5EF4-FFF2-40B4-BE49-F238E27FC236}">
                <a16:creationId xmlns:a16="http://schemas.microsoft.com/office/drawing/2014/main" id="{0A288639-95C6-5259-006D-9E9C689A3756}"/>
              </a:ext>
            </a:extLst>
          </p:cNvPr>
          <p:cNvSpPr txBox="1"/>
          <p:nvPr/>
        </p:nvSpPr>
        <p:spPr>
          <a:xfrm>
            <a:off x="3902640" y="3478374"/>
            <a:ext cx="1585690" cy="355610"/>
          </a:xfrm>
          <a:prstGeom prst="rect">
            <a:avLst/>
          </a:prstGeom>
          <a:solidFill>
            <a:srgbClr val="336699">
              <a:alpha val="33000"/>
            </a:srgbClr>
          </a:solidFill>
          <a:ln>
            <a:solidFill>
              <a:srgbClr val="336699"/>
            </a:solidFill>
          </a:ln>
        </p:spPr>
        <p:txBody>
          <a:bodyPr wrap="none" rtlCol="0">
            <a:spAutoFit/>
          </a:bodyPr>
          <a:lstStyle/>
          <a:p>
            <a:pPr defTabSz="868900" fontAlgn="auto">
              <a:spcBef>
                <a:spcPts val="0"/>
              </a:spcBef>
              <a:spcAft>
                <a:spcPts val="0"/>
              </a:spcAft>
            </a:pPr>
            <a:r>
              <a:rPr lang="da-DK" sz="1711" dirty="0">
                <a:solidFill>
                  <a:prstClr val="black"/>
                </a:solidFill>
                <a:latin typeface="Trebuchet MS" panose="020B0603020202020204"/>
                <a:ea typeface="+mn-ea"/>
              </a:rPr>
              <a:t>Organizations </a:t>
            </a:r>
          </a:p>
        </p:txBody>
      </p:sp>
      <p:sp>
        <p:nvSpPr>
          <p:cNvPr id="28" name="TextBox 27">
            <a:extLst>
              <a:ext uri="{FF2B5EF4-FFF2-40B4-BE49-F238E27FC236}">
                <a16:creationId xmlns:a16="http://schemas.microsoft.com/office/drawing/2014/main" id="{F87BC076-1B9A-33A1-2207-B63783D7E9DF}"/>
              </a:ext>
            </a:extLst>
          </p:cNvPr>
          <p:cNvSpPr txBox="1"/>
          <p:nvPr/>
        </p:nvSpPr>
        <p:spPr>
          <a:xfrm>
            <a:off x="4501349" y="2932755"/>
            <a:ext cx="823623" cy="355610"/>
          </a:xfrm>
          <a:prstGeom prst="rect">
            <a:avLst/>
          </a:prstGeom>
          <a:solidFill>
            <a:schemeClr val="accent6">
              <a:alpha val="60000"/>
            </a:schemeClr>
          </a:solidFill>
          <a:ln>
            <a:solidFill>
              <a:schemeClr val="accent6"/>
            </a:solidFill>
          </a:ln>
        </p:spPr>
        <p:txBody>
          <a:bodyPr wrap="none" rtlCol="0">
            <a:spAutoFit/>
          </a:bodyPr>
          <a:lstStyle/>
          <a:p>
            <a:pPr defTabSz="868900" fontAlgn="auto">
              <a:spcBef>
                <a:spcPts val="0"/>
              </a:spcBef>
              <a:spcAft>
                <a:spcPts val="0"/>
              </a:spcAft>
            </a:pPr>
            <a:r>
              <a:rPr lang="da-DK" sz="1711" dirty="0">
                <a:solidFill>
                  <a:prstClr val="black"/>
                </a:solidFill>
                <a:latin typeface="Trebuchet MS" panose="020B0603020202020204"/>
                <a:ea typeface="+mn-ea"/>
              </a:rPr>
              <a:t>Policy </a:t>
            </a:r>
          </a:p>
        </p:txBody>
      </p:sp>
      <p:sp>
        <p:nvSpPr>
          <p:cNvPr id="29" name="TextBox 28">
            <a:extLst>
              <a:ext uri="{FF2B5EF4-FFF2-40B4-BE49-F238E27FC236}">
                <a16:creationId xmlns:a16="http://schemas.microsoft.com/office/drawing/2014/main" id="{2BF6EAD0-235B-6AD2-E653-DAC180C06044}"/>
              </a:ext>
            </a:extLst>
          </p:cNvPr>
          <p:cNvSpPr txBox="1"/>
          <p:nvPr/>
        </p:nvSpPr>
        <p:spPr>
          <a:xfrm>
            <a:off x="3560686" y="3960004"/>
            <a:ext cx="1794081" cy="355610"/>
          </a:xfrm>
          <a:prstGeom prst="rect">
            <a:avLst/>
          </a:prstGeom>
          <a:solidFill>
            <a:schemeClr val="accent2">
              <a:alpha val="52000"/>
            </a:schemeClr>
          </a:solidFill>
          <a:ln>
            <a:solidFill>
              <a:schemeClr val="accent2"/>
            </a:solidFill>
          </a:ln>
        </p:spPr>
        <p:txBody>
          <a:bodyPr wrap="none" rtlCol="0">
            <a:spAutoFit/>
          </a:bodyPr>
          <a:lstStyle/>
          <a:p>
            <a:pPr defTabSz="868900" fontAlgn="auto">
              <a:spcBef>
                <a:spcPts val="0"/>
              </a:spcBef>
              <a:spcAft>
                <a:spcPts val="0"/>
              </a:spcAft>
            </a:pPr>
            <a:r>
              <a:rPr lang="da-DK" sz="1711" dirty="0">
                <a:solidFill>
                  <a:prstClr val="black"/>
                </a:solidFill>
                <a:latin typeface="Trebuchet MS" panose="020B0603020202020204"/>
                <a:ea typeface="+mn-ea"/>
              </a:rPr>
              <a:t>Business Models </a:t>
            </a:r>
          </a:p>
        </p:txBody>
      </p:sp>
      <p:cxnSp>
        <p:nvCxnSpPr>
          <p:cNvPr id="30" name="Straight Arrow Connector 29">
            <a:extLst>
              <a:ext uri="{FF2B5EF4-FFF2-40B4-BE49-F238E27FC236}">
                <a16:creationId xmlns:a16="http://schemas.microsoft.com/office/drawing/2014/main" id="{9CF5122A-7F1B-5112-218C-DB8D0C01415F}"/>
              </a:ext>
            </a:extLst>
          </p:cNvPr>
          <p:cNvCxnSpPr/>
          <p:nvPr/>
        </p:nvCxnSpPr>
        <p:spPr>
          <a:xfrm>
            <a:off x="5601672" y="2800239"/>
            <a:ext cx="366450" cy="29652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BA1E9274-90C9-6BDF-AC5A-DF1ABD1E4DC4}"/>
              </a:ext>
            </a:extLst>
          </p:cNvPr>
          <p:cNvCxnSpPr>
            <a:cxnSpLocks/>
          </p:cNvCxnSpPr>
          <p:nvPr/>
        </p:nvCxnSpPr>
        <p:spPr>
          <a:xfrm>
            <a:off x="5195156" y="3096768"/>
            <a:ext cx="561662" cy="33223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B0C0A2BA-1203-F4E8-AE61-CE003A812160}"/>
              </a:ext>
            </a:extLst>
          </p:cNvPr>
          <p:cNvCxnSpPr>
            <a:cxnSpLocks/>
            <a:stCxn id="27" idx="3"/>
          </p:cNvCxnSpPr>
          <p:nvPr/>
        </p:nvCxnSpPr>
        <p:spPr>
          <a:xfrm flipH="1">
            <a:off x="5475987" y="3656179"/>
            <a:ext cx="12343" cy="30382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F2B93EEC-2B38-CD13-C674-72E19BDE36AE}"/>
              </a:ext>
            </a:extLst>
          </p:cNvPr>
          <p:cNvCxnSpPr>
            <a:cxnSpLocks/>
          </p:cNvCxnSpPr>
          <p:nvPr/>
        </p:nvCxnSpPr>
        <p:spPr>
          <a:xfrm>
            <a:off x="4575946" y="4288029"/>
            <a:ext cx="352251" cy="34706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D5FD46AD-185F-2A4A-8814-B1E0158C90F6}"/>
              </a:ext>
            </a:extLst>
          </p:cNvPr>
          <p:cNvSpPr txBox="1"/>
          <p:nvPr/>
        </p:nvSpPr>
        <p:spPr>
          <a:xfrm>
            <a:off x="5526212" y="2031479"/>
            <a:ext cx="1072088" cy="355610"/>
          </a:xfrm>
          <a:prstGeom prst="rect">
            <a:avLst/>
          </a:prstGeom>
          <a:solidFill>
            <a:srgbClr val="FF99FF">
              <a:alpha val="60000"/>
            </a:srgbClr>
          </a:solidFill>
          <a:ln>
            <a:solidFill>
              <a:srgbClr val="FF99FF"/>
            </a:solidFill>
          </a:ln>
        </p:spPr>
        <p:txBody>
          <a:bodyPr wrap="none" rtlCol="0">
            <a:spAutoFit/>
          </a:bodyPr>
          <a:lstStyle/>
          <a:p>
            <a:pPr defTabSz="868900" fontAlgn="auto">
              <a:spcBef>
                <a:spcPts val="0"/>
              </a:spcBef>
              <a:spcAft>
                <a:spcPts val="0"/>
              </a:spcAft>
            </a:pPr>
            <a:r>
              <a:rPr lang="da-DK" sz="1711" dirty="0">
                <a:solidFill>
                  <a:prstClr val="black"/>
                </a:solidFill>
                <a:latin typeface="Trebuchet MS" panose="020B0603020202020204"/>
                <a:ea typeface="+mn-ea"/>
              </a:rPr>
              <a:t>Practices</a:t>
            </a:r>
          </a:p>
        </p:txBody>
      </p:sp>
      <p:cxnSp>
        <p:nvCxnSpPr>
          <p:cNvPr id="35" name="Straight Arrow Connector 34">
            <a:extLst>
              <a:ext uri="{FF2B5EF4-FFF2-40B4-BE49-F238E27FC236}">
                <a16:creationId xmlns:a16="http://schemas.microsoft.com/office/drawing/2014/main" id="{ACE97D36-EE96-6A76-A598-A996A3F0BF5A}"/>
              </a:ext>
            </a:extLst>
          </p:cNvPr>
          <p:cNvCxnSpPr/>
          <p:nvPr/>
        </p:nvCxnSpPr>
        <p:spPr>
          <a:xfrm>
            <a:off x="6172390" y="2359504"/>
            <a:ext cx="259650" cy="27672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4" name="Picture 3" descr="Screen Shot 2015-09-10 at 10.46.18 AM.png">
            <a:extLst>
              <a:ext uri="{FF2B5EF4-FFF2-40B4-BE49-F238E27FC236}">
                <a16:creationId xmlns:a16="http://schemas.microsoft.com/office/drawing/2014/main" id="{B671D1BF-E09D-D53D-DF40-3D9A6B0D34A1}"/>
              </a:ext>
            </a:extLst>
          </p:cNvPr>
          <p:cNvPicPr>
            <a:picLocks noGrp="1" noChangeAspect="1"/>
          </p:cNvPicPr>
          <p:nvPr/>
        </p:nvPicPr>
        <p:blipFill rotWithShape="1">
          <a:blip r:embed="rId4" cstate="print">
            <a:extLst>
              <a:ext uri="{28A0092B-C50C-407E-A947-70E740481C1C}">
                <a14:useLocalDpi xmlns:a14="http://schemas.microsoft.com/office/drawing/2010/main" val="0"/>
              </a:ext>
            </a:extLst>
          </a:blip>
          <a:srcRect l="12235" t="14468" r="11912" b="6342"/>
          <a:stretch/>
        </p:blipFill>
        <p:spPr>
          <a:xfrm>
            <a:off x="7872593" y="1582377"/>
            <a:ext cx="2202503" cy="1468537"/>
          </a:xfrm>
          <a:prstGeom prst="rect">
            <a:avLst/>
          </a:prstGeom>
        </p:spPr>
      </p:pic>
    </p:spTree>
    <p:extLst>
      <p:ext uri="{BB962C8B-B14F-4D97-AF65-F5344CB8AC3E}">
        <p14:creationId xmlns:p14="http://schemas.microsoft.com/office/powerpoint/2010/main" val="25778514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8" grpId="0" animBg="1"/>
      <p:bldP spid="29" grpId="0" animBg="1"/>
      <p:bldP spid="3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449964-C655-9A42-83FE-9AE51D51E734}"/>
              </a:ext>
            </a:extLst>
          </p:cNvPr>
          <p:cNvSpPr>
            <a:spLocks noGrp="1"/>
          </p:cNvSpPr>
          <p:nvPr>
            <p:ph type="title"/>
          </p:nvPr>
        </p:nvSpPr>
        <p:spPr>
          <a:xfrm>
            <a:off x="1054646" y="-287634"/>
            <a:ext cx="12634067" cy="972716"/>
          </a:xfrm>
        </p:spPr>
        <p:txBody>
          <a:bodyPr>
            <a:normAutofit/>
          </a:bodyPr>
          <a:lstStyle/>
          <a:p>
            <a:r>
              <a:rPr lang="da-DK" sz="2400" b="1" dirty="0"/>
              <a:t>How do </a:t>
            </a:r>
            <a:r>
              <a:rPr lang="da-DK" sz="2400" b="1" dirty="0" err="1"/>
              <a:t>we</a:t>
            </a:r>
            <a:r>
              <a:rPr lang="da-DK" sz="2400" b="1" dirty="0"/>
              <a:t> go from grand and </a:t>
            </a:r>
            <a:r>
              <a:rPr lang="da-DK" sz="2400" b="1" dirty="0" err="1"/>
              <a:t>interrelated</a:t>
            </a:r>
            <a:r>
              <a:rPr lang="da-DK" sz="2400" b="1" dirty="0"/>
              <a:t>  </a:t>
            </a:r>
            <a:r>
              <a:rPr lang="da-DK" sz="2400" b="1" dirty="0" err="1"/>
              <a:t>socio-ecological</a:t>
            </a:r>
            <a:r>
              <a:rPr lang="da-DK" sz="2400" b="1" dirty="0"/>
              <a:t> </a:t>
            </a:r>
            <a:r>
              <a:rPr lang="da-DK" sz="2400" b="1" dirty="0" err="1"/>
              <a:t>challenges</a:t>
            </a:r>
            <a:r>
              <a:rPr lang="da-DK" sz="2400" b="1" dirty="0"/>
              <a:t>…</a:t>
            </a:r>
          </a:p>
        </p:txBody>
      </p:sp>
      <p:pic>
        <p:nvPicPr>
          <p:cNvPr id="4" name="Content Placeholder 3" descr="Urban_sprawl_as_seen_from_Tokyo_tower_towards_West.jpg">
            <a:extLst>
              <a:ext uri="{FF2B5EF4-FFF2-40B4-BE49-F238E27FC236}">
                <a16:creationId xmlns:a16="http://schemas.microsoft.com/office/drawing/2014/main" id="{E3BFCDB7-0F2D-4343-9D6B-31B046894ABB}"/>
              </a:ext>
            </a:extLst>
          </p:cNvPr>
          <p:cNvPicPr>
            <a:picLocks noGrp="1" noChangeAspect="1"/>
          </p:cNvPicPr>
          <p:nvPr>
            <p:ph idx="4294967295"/>
          </p:nvPr>
        </p:nvPicPr>
        <p:blipFill>
          <a:blip r:embed="rId3" cstate="print">
            <a:extLst>
              <a:ext uri="{28A0092B-C50C-407E-A947-70E740481C1C}">
                <a14:useLocalDpi xmlns:a14="http://schemas.microsoft.com/office/drawing/2010/main" val="0"/>
              </a:ext>
            </a:extLst>
          </a:blip>
          <a:stretch>
            <a:fillRect/>
          </a:stretch>
        </p:blipFill>
        <p:spPr>
          <a:xfrm>
            <a:off x="1310011" y="1124744"/>
            <a:ext cx="3008313" cy="2254250"/>
          </a:xfrm>
          <a:prstGeom prst="rect">
            <a:avLst/>
          </a:prstGeom>
        </p:spPr>
      </p:pic>
      <p:pic>
        <p:nvPicPr>
          <p:cNvPr id="6" name="Picture 2" descr="http://multimedia.pol.dk/archive/00657/Lyngbyvejen_under_v_657196a.jpg">
            <a:extLst>
              <a:ext uri="{FF2B5EF4-FFF2-40B4-BE49-F238E27FC236}">
                <a16:creationId xmlns:a16="http://schemas.microsoft.com/office/drawing/2014/main" id="{A7F08496-A5C2-1944-B30B-8F00692EA81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399462" y="1237425"/>
            <a:ext cx="3212353" cy="214156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AA438777-FFC2-704A-8F14-0C93B19B0E32}"/>
              </a:ext>
            </a:extLst>
          </p:cNvPr>
          <p:cNvPicPr>
            <a:picLocks noChangeAspect="1"/>
          </p:cNvPicPr>
          <p:nvPr/>
        </p:nvPicPr>
        <p:blipFill>
          <a:blip r:embed="rId5"/>
          <a:stretch>
            <a:fillRect/>
          </a:stretch>
        </p:blipFill>
        <p:spPr>
          <a:xfrm>
            <a:off x="1392087" y="3682081"/>
            <a:ext cx="3695007" cy="2771255"/>
          </a:xfrm>
          <a:prstGeom prst="rect">
            <a:avLst/>
          </a:prstGeom>
        </p:spPr>
      </p:pic>
      <p:pic>
        <p:nvPicPr>
          <p:cNvPr id="10" name="Picture 3" descr="F:\MyDocu\watpoll2004\00stt\03\CLASS4.JPG">
            <a:extLst>
              <a:ext uri="{FF2B5EF4-FFF2-40B4-BE49-F238E27FC236}">
                <a16:creationId xmlns:a16="http://schemas.microsoft.com/office/drawing/2014/main" id="{B252744C-90F7-5449-BA0D-63A9EF86E957}"/>
              </a:ext>
            </a:extLst>
          </p:cNvPr>
          <p:cNvPicPr>
            <a:picLocks noChangeAspect="1" noChangeArrowheads="1"/>
          </p:cNvPicPr>
          <p:nvPr/>
        </p:nvPicPr>
        <p:blipFill>
          <a:blip r:embed="rId6" cstate="print"/>
          <a:srcRect/>
          <a:stretch>
            <a:fillRect/>
          </a:stretch>
        </p:blipFill>
        <p:spPr bwMode="auto">
          <a:xfrm>
            <a:off x="4626703" y="1108924"/>
            <a:ext cx="3544855" cy="2285890"/>
          </a:xfrm>
          <a:prstGeom prst="rect">
            <a:avLst/>
          </a:prstGeom>
          <a:noFill/>
        </p:spPr>
      </p:pic>
      <p:pic>
        <p:nvPicPr>
          <p:cNvPr id="2050" name="Picture 2">
            <a:extLst>
              <a:ext uri="{FF2B5EF4-FFF2-40B4-BE49-F238E27FC236}">
                <a16:creationId xmlns:a16="http://schemas.microsoft.com/office/drawing/2014/main" id="{A8CAB311-FBC6-0216-14CF-F79EB59AA994}"/>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375126" y="3687956"/>
            <a:ext cx="5803348" cy="27674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57490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Title 11"/>
          <p:cNvSpPr>
            <a:spLocks noGrp="1"/>
          </p:cNvSpPr>
          <p:nvPr>
            <p:ph type="title"/>
          </p:nvPr>
        </p:nvSpPr>
        <p:spPr>
          <a:xfrm>
            <a:off x="1659932" y="404664"/>
            <a:ext cx="9404877" cy="397033"/>
          </a:xfrm>
        </p:spPr>
        <p:txBody>
          <a:bodyPr>
            <a:normAutofit fontScale="90000"/>
          </a:bodyPr>
          <a:lstStyle/>
          <a:p>
            <a:r>
              <a:rPr lang="da-DK" b="1" dirty="0"/>
              <a:t>…to </a:t>
            </a:r>
            <a:r>
              <a:rPr lang="en-US" b="1" dirty="0"/>
              <a:t>smart</a:t>
            </a:r>
            <a:r>
              <a:rPr lang="da-DK" b="1" dirty="0"/>
              <a:t> solutions for </a:t>
            </a:r>
            <a:r>
              <a:rPr lang="da-DK" b="1" dirty="0" err="1"/>
              <a:t>sustainability</a:t>
            </a:r>
            <a:r>
              <a:rPr lang="da-DK" b="1" dirty="0"/>
              <a:t> transition? </a:t>
            </a:r>
          </a:p>
        </p:txBody>
      </p:sp>
      <p:pic>
        <p:nvPicPr>
          <p:cNvPr id="4" name="Picture 3" descr="Screen Shot 2015-09-10 at 10.46.18 AM.png"/>
          <p:cNvPicPr>
            <a:picLocks noGrp="1" noChangeAspect="1"/>
          </p:cNvPicPr>
          <p:nvPr/>
        </p:nvPicPr>
        <p:blipFill rotWithShape="1">
          <a:blip r:embed="rId3" cstate="print">
            <a:extLst>
              <a:ext uri="{28A0092B-C50C-407E-A947-70E740481C1C}">
                <a14:useLocalDpi xmlns:a14="http://schemas.microsoft.com/office/drawing/2010/main" val="0"/>
              </a:ext>
            </a:extLst>
          </a:blip>
          <a:srcRect l="12235" t="14468" r="11912" b="6342"/>
          <a:stretch/>
        </p:blipFill>
        <p:spPr>
          <a:xfrm>
            <a:off x="1659932" y="1374327"/>
            <a:ext cx="4012526" cy="2675386"/>
          </a:xfrm>
          <a:prstGeom prst="rect">
            <a:avLst/>
          </a:prstGeom>
        </p:spPr>
      </p:pic>
      <p:pic>
        <p:nvPicPr>
          <p:cNvPr id="6" name="Picture 5" descr="http://gehlarchitects.files.wordpress.com/2012/04/avon-collage.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7376" t="6334" r="13386" b="7370"/>
          <a:stretch/>
        </p:blipFill>
        <p:spPr bwMode="auto">
          <a:xfrm>
            <a:off x="5840298" y="1352009"/>
            <a:ext cx="4826203" cy="269770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Grp="1"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4816853" y="5835047"/>
            <a:ext cx="1366529" cy="9080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Shape 155">
            <a:extLst>
              <a:ext uri="{FF2B5EF4-FFF2-40B4-BE49-F238E27FC236}">
                <a16:creationId xmlns:a16="http://schemas.microsoft.com/office/drawing/2014/main" id="{CABC73B4-F44F-F244-B22E-82D625C17D2C}"/>
              </a:ext>
            </a:extLst>
          </p:cNvPr>
          <p:cNvPicPr preferRelativeResize="0"/>
          <p:nvPr/>
        </p:nvPicPr>
        <p:blipFill>
          <a:blip r:embed="rId6"/>
          <a:stretch>
            <a:fillRect/>
          </a:stretch>
        </p:blipFill>
        <p:spPr>
          <a:xfrm>
            <a:off x="4175002" y="4246252"/>
            <a:ext cx="2725320" cy="2356327"/>
          </a:xfrm>
          <a:prstGeom prst="rect">
            <a:avLst/>
          </a:prstGeom>
          <a:noFill/>
          <a:ln>
            <a:noFill/>
          </a:ln>
        </p:spPr>
      </p:pic>
      <p:pic>
        <p:nvPicPr>
          <p:cNvPr id="1026" name="Picture 2" descr="Mayukwayukwa Refugee Camp: A Sustainable|Visualization">
            <a:extLst>
              <a:ext uri="{FF2B5EF4-FFF2-40B4-BE49-F238E27FC236}">
                <a16:creationId xmlns:a16="http://schemas.microsoft.com/office/drawing/2014/main" id="{D709E1EC-4569-6932-D450-A3F742AA418A}"/>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029471" y="4246252"/>
            <a:ext cx="4188969" cy="2356327"/>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Tech for a Greener Tomorrow: AI and Generative AI Propel Sustainability  Goals">
            <a:extLst>
              <a:ext uri="{FF2B5EF4-FFF2-40B4-BE49-F238E27FC236}">
                <a16:creationId xmlns:a16="http://schemas.microsoft.com/office/drawing/2014/main" id="{1F5B278E-4D8E-4BAC-F911-4DD3368F1EF6}"/>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654843" y="4246918"/>
            <a:ext cx="2355661" cy="2355661"/>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a:extLst>
              <a:ext uri="{FF2B5EF4-FFF2-40B4-BE49-F238E27FC236}">
                <a16:creationId xmlns:a16="http://schemas.microsoft.com/office/drawing/2014/main" id="{8FE49C30-E0D6-1D6E-0427-F9E51FABA8F4}"/>
              </a:ext>
            </a:extLst>
          </p:cNvPr>
          <p:cNvGrpSpPr/>
          <p:nvPr/>
        </p:nvGrpSpPr>
        <p:grpSpPr>
          <a:xfrm>
            <a:off x="2675912" y="1203838"/>
            <a:ext cx="7152074" cy="5539275"/>
            <a:chOff x="2480284" y="1355432"/>
            <a:chExt cx="8052706" cy="6236813"/>
          </a:xfrm>
        </p:grpSpPr>
        <p:graphicFrame>
          <p:nvGraphicFramePr>
            <p:cNvPr id="3" name="Object 15">
              <a:extLst>
                <a:ext uri="{FF2B5EF4-FFF2-40B4-BE49-F238E27FC236}">
                  <a16:creationId xmlns:a16="http://schemas.microsoft.com/office/drawing/2014/main" id="{E3F4F383-1A81-4BDB-0C09-07404C8A8335}"/>
                </a:ext>
              </a:extLst>
            </p:cNvPr>
            <p:cNvGraphicFramePr>
              <a:graphicFrameLocks noChangeAspect="1"/>
            </p:cNvGraphicFramePr>
            <p:nvPr/>
          </p:nvGraphicFramePr>
          <p:xfrm>
            <a:off x="4887547" y="3408218"/>
            <a:ext cx="5645443" cy="4184027"/>
          </p:xfrm>
          <a:graphic>
            <a:graphicData uri="http://schemas.openxmlformats.org/presentationml/2006/ole">
              <mc:AlternateContent xmlns:mc="http://schemas.openxmlformats.org/markup-compatibility/2006">
                <mc:Choice xmlns:v="urn:schemas-microsoft-com:vml" Requires="v">
                  <p:oleObj name="Drawing" r:id="rId9" imgW="5819760" imgH="4314960" progId="">
                    <p:embed/>
                  </p:oleObj>
                </mc:Choice>
                <mc:Fallback>
                  <p:oleObj name="Drawing" r:id="rId9" imgW="5819760" imgH="4314960" progId="">
                    <p:embed/>
                    <p:pic>
                      <p:nvPicPr>
                        <p:cNvPr id="3" name="Object 15">
                          <a:extLst>
                            <a:ext uri="{FF2B5EF4-FFF2-40B4-BE49-F238E27FC236}">
                              <a16:creationId xmlns:a16="http://schemas.microsoft.com/office/drawing/2014/main" id="{E3F4F383-1A81-4BDB-0C09-07404C8A833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887547" y="3408218"/>
                          <a:ext cx="5645443" cy="4184027"/>
                        </a:xfrm>
                        <a:prstGeom prst="rect">
                          <a:avLst/>
                        </a:prstGeom>
                        <a:noFill/>
                        <a:ln>
                          <a:noFill/>
                        </a:ln>
                        <a:effectLst/>
                      </p:spPr>
                    </p:pic>
                  </p:oleObj>
                </mc:Fallback>
              </mc:AlternateContent>
            </a:graphicData>
          </a:graphic>
        </p:graphicFrame>
        <p:sp>
          <p:nvSpPr>
            <p:cNvPr id="5" name="AutoShape 16">
              <a:extLst>
                <a:ext uri="{FF2B5EF4-FFF2-40B4-BE49-F238E27FC236}">
                  <a16:creationId xmlns:a16="http://schemas.microsoft.com/office/drawing/2014/main" id="{89AC75C1-19E7-4626-E717-8F266B2080C6}"/>
                </a:ext>
              </a:extLst>
            </p:cNvPr>
            <p:cNvSpPr>
              <a:spLocks noChangeArrowheads="1"/>
            </p:cNvSpPr>
            <p:nvPr/>
          </p:nvSpPr>
          <p:spPr bwMode="auto">
            <a:xfrm>
              <a:off x="2480284" y="1355432"/>
              <a:ext cx="3095625" cy="2232025"/>
            </a:xfrm>
            <a:prstGeom prst="cloudCallout">
              <a:avLst>
                <a:gd name="adj1" fmla="val 76894"/>
                <a:gd name="adj2" fmla="val 67639"/>
              </a:avLst>
            </a:prstGeom>
            <a:solidFill>
              <a:srgbClr val="92D050"/>
            </a:solidFill>
            <a:ln w="9525">
              <a:solidFill>
                <a:srgbClr val="000000"/>
              </a:solidFill>
              <a:round/>
              <a:headEnd/>
              <a:tailEnd/>
            </a:ln>
          </p:spPr>
          <p:txBody>
            <a:bodyPr/>
            <a:lstStyle/>
            <a:p>
              <a:pPr algn="ctr" defTabSz="868900" eaLnBrk="0" fontAlgn="auto" hangingPunct="0">
                <a:spcBef>
                  <a:spcPts val="0"/>
                </a:spcBef>
                <a:spcAft>
                  <a:spcPts val="0"/>
                </a:spcAft>
              </a:pPr>
              <a:r>
                <a:rPr lang="en-GB" sz="3198" dirty="0">
                  <a:solidFill>
                    <a:srgbClr val="CC0000"/>
                  </a:solidFill>
                  <a:latin typeface="Times"/>
                  <a:ea typeface="+mn-ea"/>
                  <a:cs typeface="Arial" pitchFamily="34" charset="0"/>
                </a:rPr>
                <a:t>  It is    complex!</a:t>
              </a:r>
            </a:p>
          </p:txBody>
        </p:sp>
      </p:grpSp>
    </p:spTree>
    <p:extLst>
      <p:ext uri="{BB962C8B-B14F-4D97-AF65-F5344CB8AC3E}">
        <p14:creationId xmlns:p14="http://schemas.microsoft.com/office/powerpoint/2010/main" val="18609349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19EA7A-A72C-BB72-AABC-142857B2CF8E}"/>
            </a:ext>
          </a:extLst>
        </p:cNvPr>
        <p:cNvGrpSpPr/>
        <p:nvPr/>
      </p:nvGrpSpPr>
      <p:grpSpPr>
        <a:xfrm>
          <a:off x="0" y="0"/>
          <a:ext cx="0" cy="0"/>
          <a:chOff x="0" y="0"/>
          <a:chExt cx="0" cy="0"/>
        </a:xfrm>
      </p:grpSpPr>
      <p:pic>
        <p:nvPicPr>
          <p:cNvPr id="7" name="Picture 4">
            <a:extLst>
              <a:ext uri="{FF2B5EF4-FFF2-40B4-BE49-F238E27FC236}">
                <a16:creationId xmlns:a16="http://schemas.microsoft.com/office/drawing/2014/main" id="{AC275E78-72B3-3A3F-700F-F164F0D93B7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899050" y="116632"/>
            <a:ext cx="3255507" cy="4092537"/>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5">
            <a:extLst>
              <a:ext uri="{FF2B5EF4-FFF2-40B4-BE49-F238E27FC236}">
                <a16:creationId xmlns:a16="http://schemas.microsoft.com/office/drawing/2014/main" id="{C7616986-B6B6-45DD-48ED-0230046A5E1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989" y="3235918"/>
            <a:ext cx="6311867" cy="3603104"/>
          </a:xfrm>
          <a:prstGeom prst="rect">
            <a:avLst/>
          </a:prstGeom>
          <a:noFill/>
          <a:extLst>
            <a:ext uri="{909E8E84-426E-40DD-AFC4-6F175D3DCCD1}">
              <a14:hiddenFill xmlns:a14="http://schemas.microsoft.com/office/drawing/2010/main">
                <a:solidFill>
                  <a:srgbClr val="FFFFFF"/>
                </a:solidFill>
              </a14:hiddenFill>
            </a:ext>
          </a:extLst>
        </p:spPr>
      </p:pic>
      <p:sp>
        <p:nvSpPr>
          <p:cNvPr id="3" name="Speech Bubble: Oval 2">
            <a:extLst>
              <a:ext uri="{FF2B5EF4-FFF2-40B4-BE49-F238E27FC236}">
                <a16:creationId xmlns:a16="http://schemas.microsoft.com/office/drawing/2014/main" id="{0910582D-710A-3DAA-6810-E105DB6C8964}"/>
              </a:ext>
            </a:extLst>
          </p:cNvPr>
          <p:cNvSpPr/>
          <p:nvPr/>
        </p:nvSpPr>
        <p:spPr bwMode="auto">
          <a:xfrm>
            <a:off x="3070870" y="528748"/>
            <a:ext cx="5256584" cy="3617323"/>
          </a:xfrm>
          <a:prstGeom prst="wedgeEllipseCallout">
            <a:avLst>
              <a:gd name="adj1" fmla="val -92064"/>
              <a:gd name="adj2" fmla="val 59976"/>
            </a:avLst>
          </a:prstGeom>
          <a:solidFill>
            <a:schemeClr val="accent3"/>
          </a:solidFill>
          <a:ln w="9525" cap="flat" cmpd="sng" algn="ctr">
            <a:solidFill>
              <a:srgbClr val="008737"/>
            </a:solidFill>
            <a:prstDash val="solid"/>
            <a:miter lim="800000"/>
            <a:headEnd type="none" w="med" len="med"/>
            <a:tailEnd type="none" w="med" len="me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432"/>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Verdana" pitchFamily="34" charset="0"/>
                <a:ea typeface="ＭＳ Ｐゴシック" pitchFamily="-80" charset="-128"/>
                <a:cs typeface="+mn-cs"/>
              </a:rPr>
              <a:t>To tackle complexity, </a:t>
            </a:r>
          </a:p>
          <a:p>
            <a:pPr marL="0" marR="0" lvl="0" indent="0" algn="ctr" defTabSz="914400" rtl="0" eaLnBrk="1" fontAlgn="base" latinLnBrk="0" hangingPunct="1">
              <a:lnSpc>
                <a:spcPct val="100000"/>
              </a:lnSpc>
              <a:spcBef>
                <a:spcPts val="432"/>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Verdana" pitchFamily="34" charset="0"/>
                <a:ea typeface="ＭＳ Ｐゴシック" pitchFamily="-80" charset="-128"/>
                <a:cs typeface="+mn-cs"/>
              </a:rPr>
              <a:t>we just need </a:t>
            </a:r>
            <a:r>
              <a:rPr kumimoji="0" lang="en-US" sz="2000" b="1" i="0" u="sng" strike="noStrike" kern="1200" cap="none" spc="0" normalizeH="0" baseline="0" noProof="0" dirty="0">
                <a:ln>
                  <a:noFill/>
                </a:ln>
                <a:solidFill>
                  <a:srgbClr val="000000"/>
                </a:solidFill>
                <a:effectLst/>
                <a:uLnTx/>
                <a:uFillTx/>
                <a:latin typeface="Verdana" pitchFamily="34" charset="0"/>
                <a:ea typeface="ＭＳ Ｐゴシック" pitchFamily="-80" charset="-128"/>
                <a:cs typeface="+mn-cs"/>
              </a:rPr>
              <a:t>knowledge-based, holistic and collaborative </a:t>
            </a:r>
            <a:r>
              <a:rPr kumimoji="0" lang="en-US" sz="2000" b="1" i="0" u="none" strike="noStrike" kern="1200" cap="none" spc="0" normalizeH="0" baseline="0" noProof="0" dirty="0">
                <a:ln>
                  <a:noFill/>
                </a:ln>
                <a:solidFill>
                  <a:srgbClr val="000000"/>
                </a:solidFill>
                <a:effectLst/>
                <a:uLnTx/>
                <a:uFillTx/>
                <a:latin typeface="Verdana" pitchFamily="34" charset="0"/>
                <a:ea typeface="ＭＳ Ｐゴシック" pitchFamily="-80" charset="-128"/>
                <a:cs typeface="+mn-cs"/>
              </a:rPr>
              <a:t>policy and planning processes!!!</a:t>
            </a:r>
          </a:p>
          <a:p>
            <a:pPr marL="0" marR="0" indent="0" algn="ctr" defTabSz="914400" rtl="0" eaLnBrk="1" fontAlgn="base" latinLnBrk="0" hangingPunct="1">
              <a:lnSpc>
                <a:spcPct val="100000"/>
              </a:lnSpc>
              <a:spcBef>
                <a:spcPts val="432"/>
              </a:spcBef>
              <a:spcAft>
                <a:spcPct val="0"/>
              </a:spcAft>
              <a:buClrTx/>
              <a:buSzTx/>
              <a:buFontTx/>
              <a:buNone/>
              <a:tabLst/>
            </a:pPr>
            <a:endParaRPr kumimoji="0" lang="da-DK" sz="1600" b="0" i="0" u="none" strike="noStrike" cap="none" normalizeH="0" baseline="0" dirty="0" err="1">
              <a:ln>
                <a:noFill/>
              </a:ln>
              <a:solidFill>
                <a:srgbClr val="FFFFFF"/>
              </a:solidFill>
              <a:effectLst/>
              <a:latin typeface="+mn-lt"/>
              <a:ea typeface="ＭＳ Ｐゴシック" pitchFamily="-80" charset="-128"/>
            </a:endParaRPr>
          </a:p>
        </p:txBody>
      </p:sp>
      <p:sp>
        <p:nvSpPr>
          <p:cNvPr id="8" name="AutoShape 5">
            <a:extLst>
              <a:ext uri="{FF2B5EF4-FFF2-40B4-BE49-F238E27FC236}">
                <a16:creationId xmlns:a16="http://schemas.microsoft.com/office/drawing/2014/main" id="{F322A40F-91D3-D3D4-B159-8C6F22CB053D}"/>
              </a:ext>
            </a:extLst>
          </p:cNvPr>
          <p:cNvSpPr>
            <a:spLocks noChangeArrowheads="1"/>
          </p:cNvSpPr>
          <p:nvPr/>
        </p:nvSpPr>
        <p:spPr bwMode="auto">
          <a:xfrm>
            <a:off x="4511030" y="2636912"/>
            <a:ext cx="5112568" cy="3442927"/>
          </a:xfrm>
          <a:prstGeom prst="cloudCallout">
            <a:avLst>
              <a:gd name="adj1" fmla="val 66700"/>
              <a:gd name="adj2" fmla="val -84470"/>
            </a:avLst>
          </a:prstGeom>
          <a:solidFill>
            <a:srgbClr val="FF0000"/>
          </a:solidFill>
          <a:ln w="9525">
            <a:solidFill>
              <a:schemeClr val="tx1"/>
            </a:solidFill>
            <a:round/>
            <a:headEnd/>
            <a:tailEnd/>
          </a:ln>
          <a:effectLst/>
        </p:spPr>
        <p:txBody>
          <a:bodyPr/>
          <a:lstStyle/>
          <a:p>
            <a:pPr algn="ctr"/>
            <a:r>
              <a:rPr lang="en-GB" altLang="da-DK" sz="3200" b="1" dirty="0"/>
              <a:t>Yes but….</a:t>
            </a:r>
          </a:p>
          <a:p>
            <a:pPr algn="ctr"/>
            <a:r>
              <a:rPr lang="en-GB" altLang="da-DK" sz="3200" b="1" dirty="0"/>
              <a:t>what and whose knowledge?</a:t>
            </a:r>
          </a:p>
        </p:txBody>
      </p:sp>
    </p:spTree>
    <p:extLst>
      <p:ext uri="{BB962C8B-B14F-4D97-AF65-F5344CB8AC3E}">
        <p14:creationId xmlns:p14="http://schemas.microsoft.com/office/powerpoint/2010/main" val="17080379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SDNEW" val="False"/>
</p:tagLst>
</file>

<file path=ppt/tags/tag10.xml><?xml version="1.0" encoding="utf-8"?>
<p:tagLst xmlns:a="http://schemas.openxmlformats.org/drawingml/2006/main" xmlns:r="http://schemas.openxmlformats.org/officeDocument/2006/relationships" xmlns:p="http://schemas.openxmlformats.org/presentationml/2006/main">
  <p:tag name="SHAPE_LOCKS" val="0"/>
</p:tagLst>
</file>

<file path=ppt/tags/tag11.xml><?xml version="1.0" encoding="utf-8"?>
<p:tagLst xmlns:a="http://schemas.openxmlformats.org/drawingml/2006/main" xmlns:r="http://schemas.openxmlformats.org/officeDocument/2006/relationships" xmlns:p="http://schemas.openxmlformats.org/presentationml/2006/main">
  <p:tag name="SHAPE_LOCKS" val="0"/>
</p:tagLst>
</file>

<file path=ppt/tags/tag12.xml><?xml version="1.0" encoding="utf-8"?>
<p:tagLst xmlns:a="http://schemas.openxmlformats.org/drawingml/2006/main" xmlns:r="http://schemas.openxmlformats.org/officeDocument/2006/relationships" xmlns:p="http://schemas.openxmlformats.org/presentationml/2006/main">
  <p:tag name="SHAPE_LOCKS" val="0"/>
</p:tagLst>
</file>

<file path=ppt/tags/tag13.xml><?xml version="1.0" encoding="utf-8"?>
<p:tagLst xmlns:a="http://schemas.openxmlformats.org/drawingml/2006/main" xmlns:r="http://schemas.openxmlformats.org/officeDocument/2006/relationships" xmlns:p="http://schemas.openxmlformats.org/presentationml/2006/main">
  <p:tag name="SHAPE_LOCKS" val="0"/>
</p:tagLst>
</file>

<file path=ppt/tags/tag14.xml><?xml version="1.0" encoding="utf-8"?>
<p:tagLst xmlns:a="http://schemas.openxmlformats.org/drawingml/2006/main" xmlns:r="http://schemas.openxmlformats.org/officeDocument/2006/relationships" xmlns:p="http://schemas.openxmlformats.org/presentationml/2006/main">
  <p:tag name="SHAPE_LOCKS" val="0"/>
</p:tagLst>
</file>

<file path=ppt/tags/tag15.xml><?xml version="1.0" encoding="utf-8"?>
<p:tagLst xmlns:a="http://schemas.openxmlformats.org/drawingml/2006/main" xmlns:r="http://schemas.openxmlformats.org/officeDocument/2006/relationships" xmlns:p="http://schemas.openxmlformats.org/presentationml/2006/main">
  <p:tag name="SHAPE_LOCKS" val="0"/>
</p:tagLst>
</file>

<file path=ppt/tags/tag16.xml><?xml version="1.0" encoding="utf-8"?>
<p:tagLst xmlns:a="http://schemas.openxmlformats.org/drawingml/2006/main" xmlns:r="http://schemas.openxmlformats.org/officeDocument/2006/relationships" xmlns:p="http://schemas.openxmlformats.org/presentationml/2006/main">
  <p:tag name="SHAPE_LOCKS" val="0"/>
</p:tagLst>
</file>

<file path=ppt/tags/tag17.xml><?xml version="1.0" encoding="utf-8"?>
<p:tagLst xmlns:a="http://schemas.openxmlformats.org/drawingml/2006/main" xmlns:r="http://schemas.openxmlformats.org/officeDocument/2006/relationships" xmlns:p="http://schemas.openxmlformats.org/presentationml/2006/main">
  <p:tag name="SHAPE_LOCKS" val="0"/>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HAPE_LOCKS" val="0"/>
</p:tagLst>
</file>

<file path=ppt/tags/tag3.xml><?xml version="1.0" encoding="utf-8"?>
<p:tagLst xmlns:a="http://schemas.openxmlformats.org/drawingml/2006/main" xmlns:r="http://schemas.openxmlformats.org/officeDocument/2006/relationships" xmlns:p="http://schemas.openxmlformats.org/presentationml/2006/main">
  <p:tag name="SHAPE_LOCKS" val="0"/>
</p:tagLst>
</file>

<file path=ppt/tags/tag4.xml><?xml version="1.0" encoding="utf-8"?>
<p:tagLst xmlns:a="http://schemas.openxmlformats.org/drawingml/2006/main" xmlns:r="http://schemas.openxmlformats.org/officeDocument/2006/relationships" xmlns:p="http://schemas.openxmlformats.org/presentationml/2006/main">
  <p:tag name="SHAPE_LOCKS" val="0"/>
</p:tagLst>
</file>

<file path=ppt/tags/tag5.xml><?xml version="1.0" encoding="utf-8"?>
<p:tagLst xmlns:a="http://schemas.openxmlformats.org/drawingml/2006/main" xmlns:r="http://schemas.openxmlformats.org/officeDocument/2006/relationships" xmlns:p="http://schemas.openxmlformats.org/presentationml/2006/main">
  <p:tag name="SHAPE_LOCKS" val="0"/>
</p:tagLst>
</file>

<file path=ppt/tags/tag6.xml><?xml version="1.0" encoding="utf-8"?>
<p:tagLst xmlns:a="http://schemas.openxmlformats.org/drawingml/2006/main" xmlns:r="http://schemas.openxmlformats.org/officeDocument/2006/relationships" xmlns:p="http://schemas.openxmlformats.org/presentationml/2006/main">
  <p:tag name="SHAPE_LOCKS" val="0"/>
</p:tagLst>
</file>

<file path=ppt/tags/tag7.xml><?xml version="1.0" encoding="utf-8"?>
<p:tagLst xmlns:a="http://schemas.openxmlformats.org/drawingml/2006/main" xmlns:r="http://schemas.openxmlformats.org/officeDocument/2006/relationships" xmlns:p="http://schemas.openxmlformats.org/presentationml/2006/main">
  <p:tag name="SHAPE_LOCKS" val="0"/>
</p:tagLst>
</file>

<file path=ppt/tags/tag8.xml><?xml version="1.0" encoding="utf-8"?>
<p:tagLst xmlns:a="http://schemas.openxmlformats.org/drawingml/2006/main" xmlns:r="http://schemas.openxmlformats.org/officeDocument/2006/relationships" xmlns:p="http://schemas.openxmlformats.org/presentationml/2006/main">
  <p:tag name="SHAPE_LOCKS" val="0"/>
</p:tagLst>
</file>

<file path=ppt/tags/tag9.xml><?xml version="1.0" encoding="utf-8"?>
<p:tagLst xmlns:a="http://schemas.openxmlformats.org/drawingml/2006/main" xmlns:r="http://schemas.openxmlformats.org/officeDocument/2006/relationships" xmlns:p="http://schemas.openxmlformats.org/presentationml/2006/main">
  <p:tag name="SHAPE_LOCKS" val="0"/>
</p:tagLst>
</file>

<file path=ppt/theme/theme1.xml><?xml version="1.0" encoding="utf-8"?>
<a:theme xmlns:a="http://schemas.openxmlformats.org/drawingml/2006/main" name="Blank">
  <a:themeElements>
    <a:clrScheme name="DTU">
      <a:dk1>
        <a:srgbClr val="000000"/>
      </a:dk1>
      <a:lt1>
        <a:srgbClr val="FFFFFF"/>
      </a:lt1>
      <a:dk2>
        <a:srgbClr val="990000"/>
      </a:dk2>
      <a:lt2>
        <a:srgbClr val="79238E"/>
      </a:lt2>
      <a:accent1>
        <a:srgbClr val="990000"/>
      </a:accent1>
      <a:accent2>
        <a:srgbClr val="2F3EEA"/>
      </a:accent2>
      <a:accent3>
        <a:srgbClr val="1FD082"/>
      </a:accent3>
      <a:accent4>
        <a:srgbClr val="171748"/>
      </a:accent4>
      <a:accent5>
        <a:srgbClr val="F6D04D"/>
      </a:accent5>
      <a:accent6>
        <a:srgbClr val="FC7634"/>
      </a:accent6>
      <a:hlink>
        <a:srgbClr val="2F3EEA"/>
      </a:hlink>
      <a:folHlink>
        <a:srgbClr val="990000"/>
      </a:folHlink>
    </a:clrScheme>
    <a:fontScheme name="DTU">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8737"/>
        </a:solidFill>
        <a:ln w="9525" cap="flat" cmpd="sng" algn="ctr">
          <a:solidFill>
            <a:srgbClr val="008737"/>
          </a:solidFill>
          <a:prstDash val="solid"/>
          <a:miter lim="800000"/>
          <a:headEnd type="none" w="med" len="med"/>
          <a:tailEnd type="none" w="med" len="med"/>
        </a:ln>
        <a:effectLst/>
      </a:spPr>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defPPr marL="0" marR="0" indent="0" algn="ctr" defTabSz="914400" rtl="0" eaLnBrk="1" fontAlgn="base" latinLnBrk="0" hangingPunct="1">
          <a:lnSpc>
            <a:spcPct val="100000"/>
          </a:lnSpc>
          <a:spcBef>
            <a:spcPts val="432"/>
          </a:spcBef>
          <a:spcAft>
            <a:spcPct val="0"/>
          </a:spcAft>
          <a:buClrTx/>
          <a:buSzTx/>
          <a:buFontTx/>
          <a:buNone/>
          <a:tabLst/>
          <a:defRPr kumimoji="0" sz="1600" b="0" i="0" u="none" strike="noStrike" cap="none" normalizeH="0" baseline="0" dirty="0" err="1" smtClean="0">
            <a:ln>
              <a:noFill/>
            </a:ln>
            <a:solidFill>
              <a:srgbClr val="FFFFFF"/>
            </a:solidFill>
            <a:effectLst/>
            <a:latin typeface="+mn-lt"/>
            <a:ea typeface="ＭＳ Ｐゴシック" pitchFamily="-80" charset="-128"/>
          </a:defRPr>
        </a:defPPr>
      </a:lstStyle>
    </a:spDef>
    <a:lnDef>
      <a:spPr bwMode="auto">
        <a:solidFill>
          <a:schemeClr val="accent1"/>
        </a:solidFill>
        <a:ln w="952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a:noFill/>
      </a:spPr>
      <a:bodyPr wrap="square" lIns="0" tIns="0" rIns="0" bIns="0" rtlCol="0">
        <a:spAutoFit/>
      </a:bodyPr>
      <a:lstStyle>
        <a:defPPr algn="l">
          <a:spcBef>
            <a:spcPts val="432"/>
          </a:spcBef>
          <a:defRPr dirty="0" err="1" smtClean="0">
            <a:latin typeface="+mn-lt"/>
          </a:defRPr>
        </a:defPPr>
      </a:lstStyle>
    </a:txDef>
  </a:objectDefaults>
  <a:extraClrSchemeLst/>
  <a:extLst>
    <a:ext uri="{05A4C25C-085E-4340-85A3-A5531E510DB2}">
      <thm15:themeFamily xmlns:thm15="http://schemas.microsoft.com/office/thememl/2012/main" name="1 DTU Template.potx" id="{DCBB0D47-5BC6-435C-9126-D3D343B0B928}" vid="{2DC669D5-2566-4482-AB47-A5699F5A4350}"/>
    </a:ext>
  </a:extLst>
</a:theme>
</file>

<file path=ppt/theme/theme2.xml><?xml version="1.0" encoding="utf-8"?>
<a:theme xmlns:a="http://schemas.openxmlformats.org/drawingml/2006/main" name="1_Blank">
  <a:themeElements>
    <a:clrScheme name="DTU">
      <a:dk1>
        <a:srgbClr val="000000"/>
      </a:dk1>
      <a:lt1>
        <a:srgbClr val="FFFFFF"/>
      </a:lt1>
      <a:dk2>
        <a:srgbClr val="990000"/>
      </a:dk2>
      <a:lt2>
        <a:srgbClr val="79238E"/>
      </a:lt2>
      <a:accent1>
        <a:srgbClr val="990000"/>
      </a:accent1>
      <a:accent2>
        <a:srgbClr val="2F3EEA"/>
      </a:accent2>
      <a:accent3>
        <a:srgbClr val="1FD082"/>
      </a:accent3>
      <a:accent4>
        <a:srgbClr val="171748"/>
      </a:accent4>
      <a:accent5>
        <a:srgbClr val="F6D04D"/>
      </a:accent5>
      <a:accent6>
        <a:srgbClr val="FC7634"/>
      </a:accent6>
      <a:hlink>
        <a:srgbClr val="2F3EEA"/>
      </a:hlink>
      <a:folHlink>
        <a:srgbClr val="990000"/>
      </a:folHlink>
    </a:clrScheme>
    <a:fontScheme name="DTU">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8737"/>
        </a:solidFill>
        <a:ln w="9525" cap="flat" cmpd="sng" algn="ctr">
          <a:solidFill>
            <a:srgbClr val="008737"/>
          </a:solidFill>
          <a:prstDash val="solid"/>
          <a:miter lim="800000"/>
          <a:headEnd type="none" w="med" len="med"/>
          <a:tailEnd type="none" w="med" len="med"/>
        </a:ln>
        <a:effectLst/>
      </a:spPr>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defPPr marL="0" marR="0" indent="0" algn="ctr" defTabSz="914400" rtl="0" eaLnBrk="1" fontAlgn="base" latinLnBrk="0" hangingPunct="1">
          <a:lnSpc>
            <a:spcPct val="100000"/>
          </a:lnSpc>
          <a:spcBef>
            <a:spcPts val="432"/>
          </a:spcBef>
          <a:spcAft>
            <a:spcPct val="0"/>
          </a:spcAft>
          <a:buClrTx/>
          <a:buSzTx/>
          <a:buFontTx/>
          <a:buNone/>
          <a:tabLst/>
          <a:defRPr kumimoji="0" sz="1600" b="0" i="0" u="none" strike="noStrike" cap="none" normalizeH="0" baseline="0" dirty="0" err="1" smtClean="0">
            <a:ln>
              <a:noFill/>
            </a:ln>
            <a:solidFill>
              <a:srgbClr val="FFFFFF"/>
            </a:solidFill>
            <a:effectLst/>
            <a:latin typeface="+mn-lt"/>
            <a:ea typeface="ＭＳ Ｐゴシック" pitchFamily="-80" charset="-128"/>
          </a:defRPr>
        </a:defPPr>
      </a:lstStyle>
    </a:spDef>
    <a:lnDef>
      <a:spPr bwMode="auto">
        <a:solidFill>
          <a:schemeClr val="accent1"/>
        </a:solidFill>
        <a:ln w="952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a:noFill/>
      </a:spPr>
      <a:bodyPr wrap="square" lIns="0" tIns="0" rIns="0" bIns="0" rtlCol="0">
        <a:spAutoFit/>
      </a:bodyPr>
      <a:lstStyle>
        <a:defPPr algn="l">
          <a:spcBef>
            <a:spcPts val="432"/>
          </a:spcBef>
          <a:defRPr dirty="0" err="1" smtClean="0">
            <a:latin typeface="+mn-lt"/>
          </a:defRPr>
        </a:defPPr>
      </a:lstStyle>
    </a:txDef>
  </a:objectDefaults>
  <a:extraClrSchemeLst/>
  <a:extLst>
    <a:ext uri="{05A4C25C-085E-4340-85A3-A5531E510DB2}">
      <thm15:themeFamily xmlns:thm15="http://schemas.microsoft.com/office/thememl/2012/main" name="1 DTU Template.potx" id="{DCBB0D47-5BC6-435C-9126-D3D343B0B928}" vid="{2DC669D5-2566-4482-AB47-A5699F5A4350}"/>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5.xml><?xml version="1.0" encoding="utf-8"?>
<a:theme xmlns:a="http://schemas.openxmlformats.org/drawingml/2006/main" name="2_Blank">
  <a:themeElements>
    <a:clrScheme name="DTU">
      <a:dk1>
        <a:srgbClr val="000000"/>
      </a:dk1>
      <a:lt1>
        <a:srgbClr val="FFFFFF"/>
      </a:lt1>
      <a:dk2>
        <a:srgbClr val="990000"/>
      </a:dk2>
      <a:lt2>
        <a:srgbClr val="79238E"/>
      </a:lt2>
      <a:accent1>
        <a:srgbClr val="990000"/>
      </a:accent1>
      <a:accent2>
        <a:srgbClr val="2F3EEA"/>
      </a:accent2>
      <a:accent3>
        <a:srgbClr val="1FD082"/>
      </a:accent3>
      <a:accent4>
        <a:srgbClr val="171748"/>
      </a:accent4>
      <a:accent5>
        <a:srgbClr val="F6D04D"/>
      </a:accent5>
      <a:accent6>
        <a:srgbClr val="FC7634"/>
      </a:accent6>
      <a:hlink>
        <a:srgbClr val="2F3EEA"/>
      </a:hlink>
      <a:folHlink>
        <a:srgbClr val="990000"/>
      </a:folHlink>
    </a:clrScheme>
    <a:fontScheme name="DTU">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8737"/>
        </a:solidFill>
        <a:ln w="9525" cap="flat" cmpd="sng" algn="ctr">
          <a:solidFill>
            <a:srgbClr val="008737"/>
          </a:solidFill>
          <a:prstDash val="solid"/>
          <a:miter lim="800000"/>
          <a:headEnd type="none" w="med" len="med"/>
          <a:tailEnd type="none" w="med" len="med"/>
        </a:ln>
        <a:effectLst/>
      </a:spPr>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defPPr marL="0" marR="0" indent="0" algn="ctr" defTabSz="914400" rtl="0" eaLnBrk="1" fontAlgn="base" latinLnBrk="0" hangingPunct="1">
          <a:lnSpc>
            <a:spcPct val="100000"/>
          </a:lnSpc>
          <a:spcBef>
            <a:spcPts val="432"/>
          </a:spcBef>
          <a:spcAft>
            <a:spcPct val="0"/>
          </a:spcAft>
          <a:buClrTx/>
          <a:buSzTx/>
          <a:buFontTx/>
          <a:buNone/>
          <a:tabLst/>
          <a:defRPr kumimoji="0" sz="1600" b="0" i="0" u="none" strike="noStrike" cap="none" normalizeH="0" baseline="0" dirty="0" err="1" smtClean="0">
            <a:ln>
              <a:noFill/>
            </a:ln>
            <a:solidFill>
              <a:srgbClr val="FFFFFF"/>
            </a:solidFill>
            <a:effectLst/>
            <a:latin typeface="+mn-lt"/>
            <a:ea typeface="ＭＳ Ｐゴシック" pitchFamily="-80" charset="-128"/>
          </a:defRPr>
        </a:defPPr>
      </a:lstStyle>
    </a:spDef>
    <a:lnDef>
      <a:spPr bwMode="auto">
        <a:solidFill>
          <a:schemeClr val="accent1"/>
        </a:solidFill>
        <a:ln w="952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a:noFill/>
      </a:spPr>
      <a:bodyPr wrap="square" lIns="0" tIns="0" rIns="0" bIns="0" rtlCol="0">
        <a:spAutoFit/>
      </a:bodyPr>
      <a:lstStyle>
        <a:defPPr algn="l">
          <a:spcBef>
            <a:spcPts val="432"/>
          </a:spcBef>
          <a:defRPr dirty="0" err="1" smtClean="0">
            <a:latin typeface="+mn-lt"/>
          </a:defRPr>
        </a:defPPr>
      </a:lstStyle>
    </a:txDef>
  </a:objectDefaults>
  <a:extraClrSchemeLst/>
  <a:extLst>
    <a:ext uri="{05A4C25C-085E-4340-85A3-A5531E510DB2}">
      <thm15:themeFamily xmlns:thm15="http://schemas.microsoft.com/office/thememl/2012/main" name="1 DTU Template.potx" id="{DCBB0D47-5BC6-435C-9126-D3D343B0B928}" vid="{2DC669D5-2566-4482-AB47-A5699F5A4350}"/>
    </a:ext>
  </a:extLst>
</a:theme>
</file>

<file path=ppt/theme/theme6.xml><?xml version="1.0" encoding="utf-8"?>
<a:theme xmlns:a="http://schemas.openxmlformats.org/drawingml/2006/main" name="3_Blank">
  <a:themeElements>
    <a:clrScheme name="DTU">
      <a:dk1>
        <a:srgbClr val="000000"/>
      </a:dk1>
      <a:lt1>
        <a:srgbClr val="FFFFFF"/>
      </a:lt1>
      <a:dk2>
        <a:srgbClr val="990000"/>
      </a:dk2>
      <a:lt2>
        <a:srgbClr val="79238E"/>
      </a:lt2>
      <a:accent1>
        <a:srgbClr val="990000"/>
      </a:accent1>
      <a:accent2>
        <a:srgbClr val="2F3EEA"/>
      </a:accent2>
      <a:accent3>
        <a:srgbClr val="1FD082"/>
      </a:accent3>
      <a:accent4>
        <a:srgbClr val="171748"/>
      </a:accent4>
      <a:accent5>
        <a:srgbClr val="F6D04D"/>
      </a:accent5>
      <a:accent6>
        <a:srgbClr val="FC7634"/>
      </a:accent6>
      <a:hlink>
        <a:srgbClr val="2F3EEA"/>
      </a:hlink>
      <a:folHlink>
        <a:srgbClr val="990000"/>
      </a:folHlink>
    </a:clrScheme>
    <a:fontScheme name="DTU">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8737"/>
        </a:solidFill>
        <a:ln w="9525" cap="flat" cmpd="sng" algn="ctr">
          <a:solidFill>
            <a:srgbClr val="008737"/>
          </a:solidFill>
          <a:prstDash val="solid"/>
          <a:miter lim="800000"/>
          <a:headEnd type="none" w="med" len="med"/>
          <a:tailEnd type="none" w="med" len="med"/>
        </a:ln>
        <a:effectLst/>
      </a:spPr>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defPPr marL="0" marR="0" indent="0" algn="ctr" defTabSz="914400" rtl="0" eaLnBrk="1" fontAlgn="base" latinLnBrk="0" hangingPunct="1">
          <a:lnSpc>
            <a:spcPct val="100000"/>
          </a:lnSpc>
          <a:spcBef>
            <a:spcPts val="432"/>
          </a:spcBef>
          <a:spcAft>
            <a:spcPct val="0"/>
          </a:spcAft>
          <a:buClrTx/>
          <a:buSzTx/>
          <a:buFontTx/>
          <a:buNone/>
          <a:tabLst/>
          <a:defRPr kumimoji="0" sz="1600" b="0" i="0" u="none" strike="noStrike" cap="none" normalizeH="0" baseline="0" dirty="0" err="1" smtClean="0">
            <a:ln>
              <a:noFill/>
            </a:ln>
            <a:solidFill>
              <a:srgbClr val="FFFFFF"/>
            </a:solidFill>
            <a:effectLst/>
            <a:latin typeface="+mn-lt"/>
            <a:ea typeface="ＭＳ Ｐゴシック" pitchFamily="-80" charset="-128"/>
          </a:defRPr>
        </a:defPPr>
      </a:lstStyle>
    </a:spDef>
    <a:lnDef>
      <a:spPr bwMode="auto">
        <a:solidFill>
          <a:schemeClr val="accent1"/>
        </a:solidFill>
        <a:ln w="952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a:noFill/>
      </a:spPr>
      <a:bodyPr wrap="square" lIns="0" tIns="0" rIns="0" bIns="0" rtlCol="0">
        <a:spAutoFit/>
      </a:bodyPr>
      <a:lstStyle>
        <a:defPPr algn="l">
          <a:spcBef>
            <a:spcPts val="432"/>
          </a:spcBef>
          <a:defRPr dirty="0" err="1" smtClean="0">
            <a:latin typeface="+mn-lt"/>
          </a:defRPr>
        </a:defPPr>
      </a:lstStyle>
    </a:txDef>
  </a:objectDefaults>
  <a:extraClrSchemeLst/>
  <a:extLst>
    <a:ext uri="{05A4C25C-085E-4340-85A3-A5531E510DB2}">
      <thm15:themeFamily xmlns:thm15="http://schemas.microsoft.com/office/thememl/2012/main" name="1 DTU Template.potx" id="{DCBB0D47-5BC6-435C-9126-D3D343B0B928}" vid="{2DC669D5-2566-4482-AB47-A5699F5A4350}"/>
    </a:ext>
  </a:ext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TemplafyTemplateConfiguration><![CDATA[{"elementsMetadata":[{"type":"shape","id":"8cf2e96c-c3c6-487e-ae6c-210f45769fae","elementConfiguration":{"binding":"UserProfile.Offices.Workarea_{{DocumentLanguage}}","disableUpdates":false,"type":"text"}},{"type":"shape","id":"c694f2bc-e91e-45f4-9377-10f9e301ba2b","elementConfiguration":{"format":"{{DateFormats.GeneralDate}}","binding":"Form.Date","disableUpdates":false,"type":"date"}},{"type":"shape","id":"fdd608ec-f9d0-4ee9-a283-7caeac1a3be2","elementConfiguration":{"binding":"Form.PresentationTitle","disableUpdates":false,"type":"text"}}],"transformationConfigurations":[{"language":"{{DocumentLanguage}}","disableUpdates":false,"type":"proofingLanguage"}],"templateName":"","templateDescription":"","enableDocumentContentUpdater":true,"version":"1.2"}]]></TemplafyTemplateConfiguration>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kument" ma:contentTypeID="0x010100E4871063B37D454D9DCEE1D27B613A4B" ma:contentTypeVersion="6" ma:contentTypeDescription="Opret et nyt dokument." ma:contentTypeScope="" ma:versionID="205422ab56457698ad1bf62636c32efe">
  <xsd:schema xmlns:xsd="http://www.w3.org/2001/XMLSchema" xmlns:xs="http://www.w3.org/2001/XMLSchema" xmlns:p="http://schemas.microsoft.com/office/2006/metadata/properties" xmlns:ns2="001ddd00-6aa7-46ae-937a-bfc7c8cbcb5d" targetNamespace="http://schemas.microsoft.com/office/2006/metadata/properties" ma:root="true" ma:fieldsID="760a58f8284a8fe2aa1ab9ef0f6b5a38" ns2:_="">
    <xsd:import namespace="001ddd00-6aa7-46ae-937a-bfc7c8cbcb5d"/>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01ddd00-6aa7-46ae-937a-bfc7c8cbcb5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TemplafyFormConfiguration><![CDATA[{"formFields":[{"required":false,"helpTexts":{"prefix":"","postfix":""},"spacing":{},"type":"datePicker","name":"Date","label":"Date","fullyQualifiedName":"Date"},{"required":false,"placeholder":"","lines":0,"helpTexts":{"prefix":"","postfix":""},"spacing":{},"type":"textBox","name":"PresentationTitle","label":"Presentation title","fullyQualifiedName":"PresentationTitle"}],"formDataEntries":[{"name":"Date","value":"dBnhrSpIaHEBLV40WbIGCQ=="}]}]]></TemplafyFormConfiguration>
</file>

<file path=customXml/itemProps1.xml><?xml version="1.0" encoding="utf-8"?>
<ds:datastoreItem xmlns:ds="http://schemas.openxmlformats.org/officeDocument/2006/customXml" ds:itemID="{1334258C-C3E7-4029-A615-C886A240FB15}">
  <ds:schemaRefs/>
</ds:datastoreItem>
</file>

<file path=customXml/itemProps2.xml><?xml version="1.0" encoding="utf-8"?>
<ds:datastoreItem xmlns:ds="http://schemas.openxmlformats.org/officeDocument/2006/customXml" ds:itemID="{2D465444-0493-4E88-B475-B1652458FCF8}">
  <ds:schemaRefs>
    <ds:schemaRef ds:uri="http://schemas.microsoft.com/office/2006/metadata/properties"/>
    <ds:schemaRef ds:uri="http://purl.org/dc/terms/"/>
    <ds:schemaRef ds:uri="http://schemas.openxmlformats.org/package/2006/metadata/core-properties"/>
    <ds:schemaRef ds:uri="6727f423-259e-4e61-b363-4802c1ebc137"/>
    <ds:schemaRef ds:uri="http://schemas.microsoft.com/office/2006/documentManagement/types"/>
    <ds:schemaRef ds:uri="http://schemas.microsoft.com/office/infopath/2007/PartnerControls"/>
    <ds:schemaRef ds:uri="http://purl.org/dc/elements/1.1/"/>
    <ds:schemaRef ds:uri="http://www.w3.org/XML/1998/namespace"/>
    <ds:schemaRef ds:uri="http://purl.org/dc/dcmitype/"/>
  </ds:schemaRefs>
</ds:datastoreItem>
</file>

<file path=customXml/itemProps3.xml><?xml version="1.0" encoding="utf-8"?>
<ds:datastoreItem xmlns:ds="http://schemas.openxmlformats.org/officeDocument/2006/customXml" ds:itemID="{F82FAAD1-2A8F-4266-9A3A-843D5451F988}">
  <ds:schemaRefs>
    <ds:schemaRef ds:uri="http://schemas.microsoft.com/sharepoint/v3/contenttype/forms"/>
  </ds:schemaRefs>
</ds:datastoreItem>
</file>

<file path=customXml/itemProps4.xml><?xml version="1.0" encoding="utf-8"?>
<ds:datastoreItem xmlns:ds="http://schemas.openxmlformats.org/officeDocument/2006/customXml" ds:itemID="{836F3C49-0C76-427D-A723-4B307D9C202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01ddd00-6aa7-46ae-937a-bfc7c8cbcb5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ABF51F55-B004-46D7-A679-5A180B2299D4}">
  <ds:schemaRefs/>
</ds:datastoreItem>
</file>

<file path=docProps/app.xml><?xml version="1.0" encoding="utf-8"?>
<Properties xmlns="http://schemas.openxmlformats.org/officeDocument/2006/extended-properties" xmlns:vt="http://schemas.openxmlformats.org/officeDocument/2006/docPropsVTypes">
  <Template>1 DTU Template</Template>
  <TotalTime>34899</TotalTime>
  <Words>5699</Words>
  <Application>Microsoft Office PowerPoint</Application>
  <PresentationFormat>Custom</PresentationFormat>
  <Paragraphs>541</Paragraphs>
  <Slides>26</Slides>
  <Notes>16</Notes>
  <HiddenSlides>0</HiddenSlides>
  <MMClips>0</MMClips>
  <ScaleCrop>false</ScaleCrop>
  <HeadingPairs>
    <vt:vector size="8" baseType="variant">
      <vt:variant>
        <vt:lpstr>Fonts Used</vt:lpstr>
      </vt:variant>
      <vt:variant>
        <vt:i4>12</vt:i4>
      </vt:variant>
      <vt:variant>
        <vt:lpstr>Theme</vt:lpstr>
      </vt:variant>
      <vt:variant>
        <vt:i4>6</vt:i4>
      </vt:variant>
      <vt:variant>
        <vt:lpstr>Embedded OLE Servers</vt:lpstr>
      </vt:variant>
      <vt:variant>
        <vt:i4>2</vt:i4>
      </vt:variant>
      <vt:variant>
        <vt:lpstr>Slide Titles</vt:lpstr>
      </vt:variant>
      <vt:variant>
        <vt:i4>26</vt:i4>
      </vt:variant>
    </vt:vector>
  </HeadingPairs>
  <TitlesOfParts>
    <vt:vector size="46" baseType="lpstr">
      <vt:lpstr>Arial</vt:lpstr>
      <vt:lpstr>Arial Narrow</vt:lpstr>
      <vt:lpstr>Calibri</vt:lpstr>
      <vt:lpstr>Calibri Light</vt:lpstr>
      <vt:lpstr>Circular Std Black</vt:lpstr>
      <vt:lpstr>Open Sans</vt:lpstr>
      <vt:lpstr>Times</vt:lpstr>
      <vt:lpstr>TRBXWA+Lato-Regular</vt:lpstr>
      <vt:lpstr>Trebuchet MS</vt:lpstr>
      <vt:lpstr>Verdana</vt:lpstr>
      <vt:lpstr>Wingdings</vt:lpstr>
      <vt:lpstr>Wingdings 3</vt:lpstr>
      <vt:lpstr>Blank</vt:lpstr>
      <vt:lpstr>1_Blank</vt:lpstr>
      <vt:lpstr>Office-tema</vt:lpstr>
      <vt:lpstr>Facet</vt:lpstr>
      <vt:lpstr>2_Blank</vt:lpstr>
      <vt:lpstr>3_Blank</vt:lpstr>
      <vt:lpstr>Drawing</vt:lpstr>
      <vt:lpstr>think-cell Slide</vt:lpstr>
      <vt:lpstr>Understanding the role of water data space imaginaries in shaping the twin (green and digital) transition for the water multiverse</vt:lpstr>
      <vt:lpstr>Transitioning into the “Anthropocene”  </vt:lpstr>
      <vt:lpstr>A complex path to Sustainability</vt:lpstr>
      <vt:lpstr>Critical Infrastructures and Regional Sustainability Transitions</vt:lpstr>
      <vt:lpstr>PowerPoint Presentation</vt:lpstr>
      <vt:lpstr>Smart transformations as part of an integrated regional strategy  </vt:lpstr>
      <vt:lpstr>How do we go from grand and interrelated  socio-ecological challenges…</vt:lpstr>
      <vt:lpstr>…to smart solutions for sustainability transition? </vt:lpstr>
      <vt:lpstr>PowerPoint Presentation</vt:lpstr>
      <vt:lpstr>PowerPoint Presentation</vt:lpstr>
      <vt:lpstr>The EU Data Strategy– enabling data-driven prosperity in EU </vt:lpstr>
      <vt:lpstr>European Data Strategy: Why needed?</vt:lpstr>
      <vt:lpstr>EU Data Spaces - 3 key socio economic goals</vt:lpstr>
      <vt:lpstr>The EU Data Strategy – an horizontal approach </vt:lpstr>
      <vt:lpstr> The Water Data Space Project</vt:lpstr>
      <vt:lpstr>PowerPoint Presentation</vt:lpstr>
      <vt:lpstr>Research design </vt:lpstr>
      <vt:lpstr>PowerPoint Presentation</vt:lpstr>
      <vt:lpstr>PowerPoint Presentation</vt:lpstr>
      <vt:lpstr>Case study research  </vt:lpstr>
      <vt:lpstr>Theoretical framework for the analysis   </vt:lpstr>
      <vt:lpstr>PowerPoint Presentation</vt:lpstr>
      <vt:lpstr>PowerPoint Presentation</vt:lpstr>
      <vt:lpstr>Preliminary conclusions: multiverse transition pathways </vt:lpstr>
      <vt:lpstr>Preliminary Conclusions: governing water data spaces </vt:lpstr>
      <vt:lpstr>Governance challenges regarding the Twin Water Transitions in between systemic and place-making dynamics</vt:lpstr>
    </vt:vector>
  </TitlesOfParts>
  <Company>DTU</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TU</dc:creator>
  <cp:lastModifiedBy>Chiara Fratini</cp:lastModifiedBy>
  <cp:revision>520</cp:revision>
  <dcterms:created xsi:type="dcterms:W3CDTF">2017-07-31T08:31:56Z</dcterms:created>
  <dcterms:modified xsi:type="dcterms:W3CDTF">2025-07-08T02:03: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dIsCodeFreeTemplate">
    <vt:lpwstr>True</vt:lpwstr>
  </property>
  <property fmtid="{D5CDD505-2E9C-101B-9397-08002B2CF9AE}" pid="3" name="TemplafyTimeStamp">
    <vt:lpwstr>2019-06-10T12:55:42.8581309Z</vt:lpwstr>
  </property>
  <property fmtid="{D5CDD505-2E9C-101B-9397-08002B2CF9AE}" pid="4" name="TemplafyTenantId">
    <vt:lpwstr>dtu</vt:lpwstr>
  </property>
  <property fmtid="{D5CDD505-2E9C-101B-9397-08002B2CF9AE}" pid="5" name="TemplafyTemplateId">
    <vt:lpwstr>636964369962321026</vt:lpwstr>
  </property>
  <property fmtid="{D5CDD505-2E9C-101B-9397-08002B2CF9AE}" pid="6" name="TemplafyUserProfileId">
    <vt:lpwstr>637943319152403716</vt:lpwstr>
  </property>
  <property fmtid="{D5CDD505-2E9C-101B-9397-08002B2CF9AE}" pid="7" name="TemplafyLanguageCode">
    <vt:lpwstr>da-DK</vt:lpwstr>
  </property>
  <property fmtid="{D5CDD505-2E9C-101B-9397-08002B2CF9AE}" pid="8" name="ContentTypeId">
    <vt:lpwstr>0x010100E4871063B37D454D9DCEE1D27B613A4B</vt:lpwstr>
  </property>
</Properties>
</file>